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925" r:id="rId4"/>
    <p:sldMasterId id="2147486966" r:id="rId5"/>
    <p:sldMasterId id="2147486989" r:id="rId6"/>
    <p:sldMasterId id="2147487145" r:id="rId7"/>
    <p:sldMasterId id="2147487244" r:id="rId8"/>
    <p:sldMasterId id="2147487296" r:id="rId9"/>
    <p:sldMasterId id="2147487608" r:id="rId10"/>
    <p:sldMasterId id="2147487698" r:id="rId11"/>
  </p:sldMasterIdLst>
  <p:notesMasterIdLst>
    <p:notesMasterId r:id="rId45"/>
  </p:notesMasterIdLst>
  <p:handoutMasterIdLst>
    <p:handoutMasterId r:id="rId46"/>
  </p:handoutMasterIdLst>
  <p:sldIdLst>
    <p:sldId id="256" r:id="rId12"/>
    <p:sldId id="359" r:id="rId13"/>
    <p:sldId id="360" r:id="rId14"/>
    <p:sldId id="361" r:id="rId15"/>
    <p:sldId id="1557" r:id="rId16"/>
    <p:sldId id="372" r:id="rId17"/>
    <p:sldId id="373" r:id="rId18"/>
    <p:sldId id="374" r:id="rId19"/>
    <p:sldId id="368" r:id="rId20"/>
    <p:sldId id="1559" r:id="rId21"/>
    <p:sldId id="1560" r:id="rId22"/>
    <p:sldId id="1561" r:id="rId23"/>
    <p:sldId id="362" r:id="rId24"/>
    <p:sldId id="363" r:id="rId25"/>
    <p:sldId id="364" r:id="rId26"/>
    <p:sldId id="369" r:id="rId27"/>
    <p:sldId id="375" r:id="rId28"/>
    <p:sldId id="1693" r:id="rId29"/>
    <p:sldId id="376" r:id="rId30"/>
    <p:sldId id="371" r:id="rId31"/>
    <p:sldId id="365" r:id="rId32"/>
    <p:sldId id="366" r:id="rId33"/>
    <p:sldId id="308" r:id="rId34"/>
    <p:sldId id="1566" r:id="rId35"/>
    <p:sldId id="1568" r:id="rId36"/>
    <p:sldId id="1569" r:id="rId37"/>
    <p:sldId id="1570" r:id="rId38"/>
    <p:sldId id="377" r:id="rId39"/>
    <p:sldId id="357" r:id="rId40"/>
    <p:sldId id="1575" r:id="rId41"/>
    <p:sldId id="1576" r:id="rId42"/>
    <p:sldId id="378" r:id="rId43"/>
    <p:sldId id="379" r:id="rId44"/>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9F5A176-25BC-4F56-A944-A51A1C5964AB}">
          <p14:sldIdLst>
            <p14:sldId id="256"/>
            <p14:sldId id="359"/>
          </p14:sldIdLst>
        </p14:section>
        <p14:section name="Lab Setup" id="{4F9131FF-1DCC-4CBB-A753-94327BECEEC5}">
          <p14:sldIdLst>
            <p14:sldId id="360"/>
          </p14:sldIdLst>
        </p14:section>
        <p14:section name="Hybrid Identity Overview" id="{3117BC55-8B64-4B3E-A6FC-DF4E2739770B}">
          <p14:sldIdLst>
            <p14:sldId id="361"/>
            <p14:sldId id="1557"/>
          </p14:sldIdLst>
        </p14:section>
        <p14:section name="ADDS" id="{8EF03843-EC09-4FC0-8B63-286386C2D275}">
          <p14:sldIdLst>
            <p14:sldId id="372"/>
            <p14:sldId id="373"/>
            <p14:sldId id="374"/>
          </p14:sldIdLst>
        </p14:section>
        <p14:section name="AAD" id="{377834D0-A3B6-4C38-A636-6D09B0784137}">
          <p14:sldIdLst>
            <p14:sldId id="368"/>
            <p14:sldId id="1559"/>
            <p14:sldId id="1560"/>
            <p14:sldId id="1561"/>
            <p14:sldId id="362"/>
            <p14:sldId id="363"/>
            <p14:sldId id="364"/>
          </p14:sldIdLst>
        </p14:section>
        <p14:section name="AAD-DS" id="{8F72D648-7555-4F59-BFFF-A6BEFBCDAAC7}">
          <p14:sldIdLst>
            <p14:sldId id="369"/>
            <p14:sldId id="375"/>
            <p14:sldId id="1693"/>
            <p14:sldId id="376"/>
          </p14:sldIdLst>
        </p14:section>
        <p14:section name="AD Connect" id="{F6EF5522-6E76-46FE-91EA-19BC25CBD40B}">
          <p14:sldIdLst>
            <p14:sldId id="371"/>
            <p14:sldId id="365"/>
            <p14:sldId id="366"/>
            <p14:sldId id="308"/>
            <p14:sldId id="1566"/>
            <p14:sldId id="1568"/>
            <p14:sldId id="1569"/>
            <p14:sldId id="1570"/>
          </p14:sldIdLst>
        </p14:section>
        <p14:section name="B2B" id="{DB42682E-27EB-4247-B9FC-B8A499D10CD5}">
          <p14:sldIdLst>
            <p14:sldId id="377"/>
            <p14:sldId id="357"/>
            <p14:sldId id="1575"/>
            <p14:sldId id="1576"/>
          </p14:sldIdLst>
        </p14:section>
        <p14:section name="Lab" id="{5B17BF40-E5B6-4939-A057-FDBF47174E76}">
          <p14:sldIdLst>
            <p14:sldId id="378"/>
            <p14:sldId id="379"/>
          </p14:sldIdLst>
        </p14:section>
      </p14:sectionLst>
    </p:ext>
    <p:ext uri="{EFAFB233-063F-42B5-8137-9DF3F51BA10A}">
      <p15:sldGuideLst xmlns:p15="http://schemas.microsoft.com/office/powerpoint/2012/main">
        <p15:guide id="1" orient="horz" pos="2160">
          <p15:clr>
            <a:srgbClr val="A4A3A4"/>
          </p15:clr>
        </p15:guide>
        <p15:guide id="2" pos="384" userDrawn="1">
          <p15:clr>
            <a:srgbClr val="A4A3A4"/>
          </p15:clr>
        </p15:guide>
        <p15:guide id="3" pos="96" userDrawn="1">
          <p15:clr>
            <a:srgbClr val="A4A3A4"/>
          </p15:clr>
        </p15:guide>
        <p15:guide id="4" pos="2304">
          <p15:clr>
            <a:srgbClr val="A4A3A4"/>
          </p15:clr>
        </p15:guide>
        <p15:guide id="5" pos="2781">
          <p15:clr>
            <a:srgbClr val="A4A3A4"/>
          </p15:clr>
        </p15:guide>
        <p15:guide id="6" pos="672" userDrawn="1">
          <p15:clr>
            <a:srgbClr val="A4A3A4"/>
          </p15:clr>
        </p15:guide>
        <p15:guide id="7" orient="horz" pos="4176" userDrawn="1">
          <p15:clr>
            <a:srgbClr val="A4A3A4"/>
          </p15:clr>
        </p15:guide>
        <p15:guide id="8" orient="horz" pos="3888" userDrawn="1">
          <p15:clr>
            <a:srgbClr val="A4A3A4"/>
          </p15:clr>
        </p15:guide>
        <p15:guide id="9" orient="horz" pos="3600" userDrawn="1">
          <p15:clr>
            <a:srgbClr val="A4A3A4"/>
          </p15:clr>
        </p15:guide>
        <p15:guide id="10" orient="horz" pos="1872" userDrawn="1">
          <p15:clr>
            <a:srgbClr val="A4A3A4"/>
          </p15:clr>
        </p15:guide>
        <p15:guide id="11" orient="horz" pos="3874">
          <p15:clr>
            <a:srgbClr val="A4A3A4"/>
          </p15:clr>
        </p15:guide>
        <p15:guide id="12" orient="horz" pos="2012">
          <p15:clr>
            <a:srgbClr val="A4A3A4"/>
          </p15:clr>
        </p15:guide>
        <p15:guide id="13" pos="297">
          <p15:clr>
            <a:srgbClr val="A4A3A4"/>
          </p15:clr>
        </p15:guide>
        <p15:guide id="15" pos="32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550" clrIdx="0"/>
  <p:cmAuthor id="2" name="Marsha Shoemaker" initials="MS" lastIdx="118" clrIdx="1">
    <p:extLst/>
  </p:cmAuthor>
  <p:cmAuthor id="3" name="Rob O'Dell" initials="RO" lastIdx="38" clrIdx="2">
    <p:extLst/>
  </p:cmAuthor>
  <p:cmAuthor id="4" name="Vladimir Petrosyan" initials="VP" lastIdx="99" clrIdx="3">
    <p:extLst/>
  </p:cmAuthor>
  <p:cmAuthor id="5" name="Jason Lee" initials="JL" lastIdx="0"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4A3"/>
    <a:srgbClr val="D83B01"/>
    <a:srgbClr val="DA3B01"/>
    <a:srgbClr val="00B294"/>
    <a:srgbClr val="FC7809"/>
    <a:srgbClr val="DA3104"/>
    <a:srgbClr val="00CAA9"/>
    <a:srgbClr val="001A45"/>
    <a:srgbClr val="001438"/>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EAC4AD-D648-43CC-AAE6-7D087C93DD43}" v="87" dt="2018-10-07T23:31:36.115"/>
    <p1510:client id="{FEDDE629-1F4D-448B-9D89-C6CC2104E869}" v="1" dt="2018-10-08T14:32:25.1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152" autoAdjust="0"/>
    <p:restoredTop sz="90271" autoAdjust="0"/>
  </p:normalViewPr>
  <p:slideViewPr>
    <p:cSldViewPr>
      <p:cViewPr varScale="1">
        <p:scale>
          <a:sx n="62" d="100"/>
          <a:sy n="62" d="100"/>
        </p:scale>
        <p:origin x="824" y="48"/>
      </p:cViewPr>
      <p:guideLst>
        <p:guide orient="horz" pos="2160"/>
        <p:guide pos="384"/>
        <p:guide pos="96"/>
        <p:guide pos="2304"/>
        <p:guide pos="2781"/>
        <p:guide pos="672"/>
        <p:guide orient="horz" pos="4176"/>
        <p:guide orient="horz" pos="3888"/>
        <p:guide orient="horz" pos="3600"/>
        <p:guide orient="horz" pos="1872"/>
        <p:guide orient="horz" pos="3874"/>
        <p:guide orient="horz" pos="2012"/>
        <p:guide pos="297"/>
        <p:guide pos="3240"/>
      </p:guideLst>
    </p:cSldViewPr>
  </p:slideViewPr>
  <p:notesTextViewPr>
    <p:cViewPr>
      <p:scale>
        <a:sx n="3" d="2"/>
        <a:sy n="3" d="2"/>
      </p:scale>
      <p:origin x="0" y="0"/>
    </p:cViewPr>
  </p:notesTextViewPr>
  <p:sorterViewPr>
    <p:cViewPr>
      <p:scale>
        <a:sx n="90" d="100"/>
        <a:sy n="90" d="100"/>
      </p:scale>
      <p:origin x="0" y="-5643"/>
    </p:cViewPr>
  </p:sorterViewPr>
  <p:notesViewPr>
    <p:cSldViewPr>
      <p:cViewPr varScale="1">
        <p:scale>
          <a:sx n="127" d="100"/>
          <a:sy n="127" d="100"/>
        </p:scale>
        <p:origin x="3680"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417833AE-687F-EF42-B4F7-879AC0DFDFE8}" type="datetimeFigureOut">
              <a:rPr lang="en-US" smtClean="0"/>
              <a:t>10/8/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5FC838DA-2F65-EE4F-9DF9-913E51548531}" type="slidenum">
              <a:rPr lang="en-US" smtClean="0"/>
              <a:t>‹#›</a:t>
            </a:fld>
            <a:endParaRPr lang="en-US"/>
          </a:p>
        </p:txBody>
      </p:sp>
    </p:spTree>
    <p:extLst>
      <p:ext uri="{BB962C8B-B14F-4D97-AF65-F5344CB8AC3E}">
        <p14:creationId xmlns:p14="http://schemas.microsoft.com/office/powerpoint/2010/main" val="515785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21BF93B8-050C-449E-9171-D55506C02354}" type="datetimeFigureOut">
              <a:rPr lang="en-US" smtClean="0"/>
              <a:t>10/8/2018</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87A2D2A7-FEDB-4FEC-BF57-39E9383DCE56}" type="slidenum">
              <a:rPr lang="en-US" smtClean="0"/>
              <a:t>‹#›</a:t>
            </a:fld>
            <a:endParaRPr lang="en-US" dirty="0"/>
          </a:p>
        </p:txBody>
      </p:sp>
    </p:spTree>
    <p:extLst>
      <p:ext uri="{BB962C8B-B14F-4D97-AF65-F5344CB8AC3E}">
        <p14:creationId xmlns:p14="http://schemas.microsoft.com/office/powerpoint/2010/main" val="1197919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66294"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66294"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E406097-0C26-43B7-B8F1-E5292E59F19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2018</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60941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Bef>
                <a:spcPts val="600"/>
              </a:spcBef>
            </a:pPr>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25042A-7F1D-F947-8AC5-1DC5194A3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27E00FDA-F31F-4EB3-A31C-66D6ECBCDE65}"/>
              </a:ext>
            </a:extLst>
          </p:cNvPr>
          <p:cNvSpPr>
            <a:spLocks noGrp="1"/>
          </p:cNvSpPr>
          <p:nvPr>
            <p:ph type="ftr" sz="quarter" idx="4"/>
          </p:nvPr>
        </p:nvSpPr>
        <p:spPr>
          <a:xfrm>
            <a:off x="0" y="8686800"/>
            <a:ext cx="5920740" cy="355964"/>
          </a:xfrm>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957247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52004" y="2771775"/>
            <a:ext cx="6153992" cy="3600450"/>
          </a:xfrm>
        </p:spPr>
        <p:txBody>
          <a:bodyPr vert="horz" lIns="91440" tIns="45720" rIns="91440" bIns="45720" rtlCol="0"/>
          <a:lstStyle/>
          <a:p>
            <a:pPr lvl="0">
              <a:lnSpc>
                <a:spcPct val="90000"/>
              </a:lnSpc>
              <a:spcBef>
                <a:spcPts val="600"/>
              </a:spcBef>
            </a:pPr>
            <a:endParaRPr lang="en-US" sz="1000" b="1" dirty="0">
              <a:solidFill>
                <a:prstClr val="black"/>
              </a:solidFill>
              <a:latin typeface="Segoe UI" panose="020B0502040204020203" pitchFamily="34" charset="0"/>
              <a:cs typeface="Segoe UI" panose="020B0502040204020203" pitchFamily="34" charset="0"/>
            </a:endParaRPr>
          </a:p>
          <a:p>
            <a:pPr lvl="0"/>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6">
            <a:extLst>
              <a:ext uri="{FF2B5EF4-FFF2-40B4-BE49-F238E27FC236}">
                <a16:creationId xmlns:a16="http://schemas.microsoft.com/office/drawing/2014/main" id="{F7FF6919-85E9-431F-AA25-9A39C5D09D0D}"/>
              </a:ext>
            </a:extLst>
          </p:cNvPr>
          <p:cNvSpPr txBox="1">
            <a:spLocks/>
          </p:cNvSpPr>
          <p:nvPr/>
        </p:nvSpPr>
        <p:spPr>
          <a:xfrm>
            <a:off x="3884613" y="8685213"/>
            <a:ext cx="2971800" cy="458787"/>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05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Rectangle 4">
            <a:extLst>
              <a:ext uri="{FF2B5EF4-FFF2-40B4-BE49-F238E27FC236}">
                <a16:creationId xmlns:a16="http://schemas.microsoft.com/office/drawing/2014/main" id="{2BDB19D8-CBB7-4B2E-9493-A0235A6239CC}"/>
              </a:ext>
            </a:extLst>
          </p:cNvPr>
          <p:cNvSpPr/>
          <p:nvPr/>
        </p:nvSpPr>
        <p:spPr>
          <a:xfrm>
            <a:off x="4446396" y="843505"/>
            <a:ext cx="2148613" cy="1323439"/>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AM for employees, partners, and customers</a:t>
            </a:r>
          </a:p>
        </p:txBody>
      </p:sp>
    </p:spTree>
    <p:extLst>
      <p:ext uri="{BB962C8B-B14F-4D97-AF65-F5344CB8AC3E}">
        <p14:creationId xmlns:p14="http://schemas.microsoft.com/office/powerpoint/2010/main" val="33727541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52004" y="2771775"/>
            <a:ext cx="6153992" cy="3600450"/>
          </a:xfrm>
        </p:spPr>
        <p:txBody>
          <a:bodyPr vert="horz" lIns="91440" tIns="45720" rIns="91440" bIns="45720" rtlCol="0"/>
          <a:lstStyle/>
          <a:p>
            <a:pPr>
              <a:spcBef>
                <a:spcPts val="600"/>
              </a:spcBef>
            </a:pPr>
            <a:endParaRPr lang="en-US" sz="1000" dirty="0">
              <a:latin typeface="Segoe UI" panose="020B0502040204020203" pitchFamily="34" charset="0"/>
              <a:cs typeface="Segoe UI" panose="020B0502040204020203" pitchFamily="34" charset="0"/>
            </a:endParaRPr>
          </a:p>
        </p:txBody>
      </p:sp>
      <p:sp>
        <p:nvSpPr>
          <p:cNvPr id="4" name="Slide Number Placeholder 6">
            <a:extLst>
              <a:ext uri="{FF2B5EF4-FFF2-40B4-BE49-F238E27FC236}">
                <a16:creationId xmlns:a16="http://schemas.microsoft.com/office/drawing/2014/main" id="{F7FF6919-85E9-431F-AA25-9A39C5D09D0D}"/>
              </a:ext>
            </a:extLst>
          </p:cNvPr>
          <p:cNvSpPr txBox="1">
            <a:spLocks/>
          </p:cNvSpPr>
          <p:nvPr/>
        </p:nvSpPr>
        <p:spPr>
          <a:xfrm>
            <a:off x="3884613" y="8685213"/>
            <a:ext cx="2971800" cy="458787"/>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05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B189BE42-AD6F-40FC-8E63-F028DB129152}"/>
              </a:ext>
            </a:extLst>
          </p:cNvPr>
          <p:cNvSpPr/>
          <p:nvPr/>
        </p:nvSpPr>
        <p:spPr>
          <a:xfrm>
            <a:off x="4446396" y="836974"/>
            <a:ext cx="2148613" cy="400110"/>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keypoint</a:t>
            </a: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Tree>
    <p:extLst>
      <p:ext uri="{BB962C8B-B14F-4D97-AF65-F5344CB8AC3E}">
        <p14:creationId xmlns:p14="http://schemas.microsoft.com/office/powerpoint/2010/main" val="2430418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13</a:t>
            </a:fld>
            <a:endParaRPr lang="en-US" dirty="0"/>
          </a:p>
        </p:txBody>
      </p:sp>
    </p:spTree>
    <p:extLst>
      <p:ext uri="{BB962C8B-B14F-4D97-AF65-F5344CB8AC3E}">
        <p14:creationId xmlns:p14="http://schemas.microsoft.com/office/powerpoint/2010/main" val="131096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14</a:t>
            </a:fld>
            <a:endParaRPr lang="en-US" dirty="0"/>
          </a:p>
        </p:txBody>
      </p:sp>
    </p:spTree>
    <p:extLst>
      <p:ext uri="{BB962C8B-B14F-4D97-AF65-F5344CB8AC3E}">
        <p14:creationId xmlns:p14="http://schemas.microsoft.com/office/powerpoint/2010/main" val="40453366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15</a:t>
            </a:fld>
            <a:endParaRPr lang="en-US" dirty="0"/>
          </a:p>
        </p:txBody>
      </p:sp>
    </p:spTree>
    <p:extLst>
      <p:ext uri="{BB962C8B-B14F-4D97-AF65-F5344CB8AC3E}">
        <p14:creationId xmlns:p14="http://schemas.microsoft.com/office/powerpoint/2010/main" val="17216792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8916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dirty="0"/>
          </a:p>
        </p:txBody>
      </p:sp>
    </p:spTree>
    <p:extLst>
      <p:ext uri="{BB962C8B-B14F-4D97-AF65-F5344CB8AC3E}">
        <p14:creationId xmlns:p14="http://schemas.microsoft.com/office/powerpoint/2010/main" val="39618912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10884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dirty="0"/>
          </a:p>
        </p:txBody>
      </p:sp>
    </p:spTree>
    <p:extLst>
      <p:ext uri="{BB962C8B-B14F-4D97-AF65-F5344CB8AC3E}">
        <p14:creationId xmlns:p14="http://schemas.microsoft.com/office/powerpoint/2010/main" val="3586518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79504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A2D2A7-FEDB-4FEC-BF57-39E9383DCE56}" type="slidenum">
              <a:rPr lang="en-US" smtClean="0"/>
              <a:t>20</a:t>
            </a:fld>
            <a:endParaRPr lang="en-US" dirty="0"/>
          </a:p>
        </p:txBody>
      </p:sp>
    </p:spTree>
    <p:extLst>
      <p:ext uri="{BB962C8B-B14F-4D97-AF65-F5344CB8AC3E}">
        <p14:creationId xmlns:p14="http://schemas.microsoft.com/office/powerpoint/2010/main" val="12758057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1</a:t>
            </a:fld>
            <a:endParaRPr lang="en-US" dirty="0"/>
          </a:p>
        </p:txBody>
      </p:sp>
    </p:spTree>
    <p:extLst>
      <p:ext uri="{BB962C8B-B14F-4D97-AF65-F5344CB8AC3E}">
        <p14:creationId xmlns:p14="http://schemas.microsoft.com/office/powerpoint/2010/main" val="13132748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dirty="0"/>
          </a:p>
        </p:txBody>
      </p:sp>
    </p:spTree>
    <p:extLst>
      <p:ext uri="{BB962C8B-B14F-4D97-AF65-F5344CB8AC3E}">
        <p14:creationId xmlns:p14="http://schemas.microsoft.com/office/powerpoint/2010/main" val="17407040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2018</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568705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42900" y="2771775"/>
            <a:ext cx="6172200" cy="3600450"/>
          </a:xfrm>
        </p:spPr>
        <p:txBody>
          <a:bodyPr/>
          <a:lstStyle/>
          <a:p>
            <a:pPr lvl="0">
              <a:spcBef>
                <a:spcPts val="600"/>
              </a:spcBef>
            </a:pPr>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8983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42900" y="2771775"/>
            <a:ext cx="6172200" cy="3600450"/>
          </a:xfrm>
        </p:spPr>
        <p:txBody>
          <a:bodyPr/>
          <a:lstStyle/>
          <a:p>
            <a:pPr lvl="0"/>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304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42900" y="2771775"/>
            <a:ext cx="6172200" cy="3600450"/>
          </a:xfrm>
        </p:spPr>
        <p:txBody>
          <a:bodyPr/>
          <a:lstStyle/>
          <a:p>
            <a:pPr lvl="0"/>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88082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42900" y="2771775"/>
            <a:ext cx="6172200" cy="3600450"/>
          </a:xfrm>
        </p:spPr>
        <p:txBody>
          <a:bodyPr/>
          <a:lstStyle/>
          <a:p>
            <a:pPr lvl="0"/>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22085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A2D2A7-FEDB-4FEC-BF57-39E9383DCE56}" type="slidenum">
              <a:rPr lang="en-US" smtClean="0"/>
              <a:t>28</a:t>
            </a:fld>
            <a:endParaRPr lang="en-US" dirty="0"/>
          </a:p>
        </p:txBody>
      </p:sp>
    </p:spTree>
    <p:extLst>
      <p:ext uri="{BB962C8B-B14F-4D97-AF65-F5344CB8AC3E}">
        <p14:creationId xmlns:p14="http://schemas.microsoft.com/office/powerpoint/2010/main" val="38024656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You can choose any type or combination of user accounts from a wide variety of identity providers.</a:t>
            </a:r>
          </a:p>
          <a:p>
            <a:pPr lvl="0"/>
            <a:r>
              <a:rPr lang="en-US" sz="1200" kern="1200" dirty="0">
                <a:solidFill>
                  <a:schemeClr val="tx1"/>
                </a:solidFill>
                <a:effectLst/>
                <a:latin typeface="+mn-lt"/>
                <a:ea typeface="+mn-ea"/>
                <a:cs typeface="+mn-cs"/>
              </a:rPr>
              <a:t>…and manage them using Azure Active Directory, and all of the features and services it provides.</a:t>
            </a:r>
          </a:p>
          <a:p>
            <a:pPr lvl="0"/>
            <a:r>
              <a:rPr lang="en-US" sz="1200" kern="1200" dirty="0">
                <a:solidFill>
                  <a:schemeClr val="tx1"/>
                </a:solidFill>
                <a:effectLst/>
                <a:latin typeface="+mn-lt"/>
                <a:ea typeface="+mn-ea"/>
                <a:cs typeface="+mn-cs"/>
              </a:rPr>
              <a:t>…and through Azure AD give any or all of those users access to the many Azure AD integrated app and on-premises apps that your organization owns or has licensed.</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AD Integrated apps section: Office365, SharePoint, Exchange, VS, Teams, and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 - These are the icons that come directly from the Azure Marketplace and what the IT admins would see.</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On-premises section: </a:t>
            </a:r>
            <a:r>
              <a:rPr lang="en-US" sz="1200" b="1" kern="1200" dirty="0">
                <a:solidFill>
                  <a:schemeClr val="tx1"/>
                </a:solidFill>
                <a:effectLst/>
                <a:latin typeface="+mn-lt"/>
                <a:ea typeface="+mn-ea"/>
                <a:cs typeface="+mn-cs"/>
              </a:rPr>
              <a:t>I played with best way to show this but there are improvements to be made. The must haves for this section are showing Line of Business (LOB) apps and SharePoin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3710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A2D2A7-FEDB-4FEC-BF57-39E9383DCE56}" type="slidenum">
              <a:rPr lang="en-US" smtClean="0"/>
              <a:t>3</a:t>
            </a:fld>
            <a:endParaRPr lang="en-US" dirty="0"/>
          </a:p>
        </p:txBody>
      </p:sp>
    </p:spTree>
    <p:extLst>
      <p:ext uri="{BB962C8B-B14F-4D97-AF65-F5344CB8AC3E}">
        <p14:creationId xmlns:p14="http://schemas.microsoft.com/office/powerpoint/2010/main" val="1874403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26111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12530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A2D2A7-FEDB-4FEC-BF57-39E9383DCE56}" type="slidenum">
              <a:rPr lang="en-US" smtClean="0"/>
              <a:t>32</a:t>
            </a:fld>
            <a:endParaRPr lang="en-US" dirty="0"/>
          </a:p>
        </p:txBody>
      </p:sp>
    </p:spTree>
    <p:extLst>
      <p:ext uri="{BB962C8B-B14F-4D97-AF65-F5344CB8AC3E}">
        <p14:creationId xmlns:p14="http://schemas.microsoft.com/office/powerpoint/2010/main" val="12834993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33</a:t>
            </a:fld>
            <a:endParaRPr lang="en-US" dirty="0"/>
          </a:p>
        </p:txBody>
      </p:sp>
    </p:spTree>
    <p:extLst>
      <p:ext uri="{BB962C8B-B14F-4D97-AF65-F5344CB8AC3E}">
        <p14:creationId xmlns:p14="http://schemas.microsoft.com/office/powerpoint/2010/main" val="12450301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A2D2A7-FEDB-4FEC-BF57-39E9383DCE56}" type="slidenum">
              <a:rPr lang="en-US" smtClean="0"/>
              <a:t>4</a:t>
            </a:fld>
            <a:endParaRPr lang="en-US" dirty="0"/>
          </a:p>
        </p:txBody>
      </p:sp>
    </p:spTree>
    <p:extLst>
      <p:ext uri="{BB962C8B-B14F-4D97-AF65-F5344CB8AC3E}">
        <p14:creationId xmlns:p14="http://schemas.microsoft.com/office/powerpoint/2010/main" val="156378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7FD452C-3976-4C22-91EC-4C063165F04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74600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7111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7</a:t>
            </a:fld>
            <a:endParaRPr lang="en-US" dirty="0"/>
          </a:p>
        </p:txBody>
      </p:sp>
    </p:spTree>
    <p:extLst>
      <p:ext uri="{BB962C8B-B14F-4D97-AF65-F5344CB8AC3E}">
        <p14:creationId xmlns:p14="http://schemas.microsoft.com/office/powerpoint/2010/main" val="13238608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8</a:t>
            </a:fld>
            <a:endParaRPr lang="en-US" dirty="0"/>
          </a:p>
        </p:txBody>
      </p:sp>
    </p:spTree>
    <p:extLst>
      <p:ext uri="{BB962C8B-B14F-4D97-AF65-F5344CB8AC3E}">
        <p14:creationId xmlns:p14="http://schemas.microsoft.com/office/powerpoint/2010/main" val="2197902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A2D2A7-FEDB-4FEC-BF57-39E9383DCE56}" type="slidenum">
              <a:rPr lang="en-US" smtClean="0"/>
              <a:t>9</a:t>
            </a:fld>
            <a:endParaRPr lang="en-US" dirty="0"/>
          </a:p>
        </p:txBody>
      </p:sp>
    </p:spTree>
    <p:extLst>
      <p:ext uri="{BB962C8B-B14F-4D97-AF65-F5344CB8AC3E}">
        <p14:creationId xmlns:p14="http://schemas.microsoft.com/office/powerpoint/2010/main" val="403307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4.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23.emf"/><Relationship Id="rId4" Type="http://schemas.openxmlformats.org/officeDocument/2006/relationships/oleObject" Target="../embeddings/oleObject3.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6.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image" Target="../media/image25.jpe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image" Target="../media/image27.jpe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image" Target="../media/image28.jpe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29.jpe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image" Target="../media/image30.jpe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image" Target="../media/image31.jpe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2.jpe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image" Target="../media/image33.jpe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image" Target="../media/image34.jpeg"/></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32.jpe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image" Target="../media/image35.jpeg"/></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36.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3.emf"/><Relationship Id="rId4" Type="http://schemas.openxmlformats.org/officeDocument/2006/relationships/oleObject" Target="../embeddings/oleObject1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23.emf"/><Relationship Id="rId4" Type="http://schemas.openxmlformats.org/officeDocument/2006/relationships/oleObject" Target="../embeddings/oleObject1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23.emf"/><Relationship Id="rId4" Type="http://schemas.openxmlformats.org/officeDocument/2006/relationships/oleObject" Target="../embeddings/oleObject1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23.emf"/><Relationship Id="rId4" Type="http://schemas.openxmlformats.org/officeDocument/2006/relationships/oleObject" Target="../embeddings/oleObject1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23.emf"/><Relationship Id="rId4" Type="http://schemas.openxmlformats.org/officeDocument/2006/relationships/oleObject" Target="../embeddings/oleObject20.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23.emf"/><Relationship Id="rId4" Type="http://schemas.openxmlformats.org/officeDocument/2006/relationships/oleObject" Target="../embeddings/oleObject2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23.emf"/><Relationship Id="rId4" Type="http://schemas.openxmlformats.org/officeDocument/2006/relationships/oleObject" Target="../embeddings/oleObject2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23.emf"/><Relationship Id="rId4" Type="http://schemas.openxmlformats.org/officeDocument/2006/relationships/oleObject" Target="../embeddings/oleObject2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23.emf"/><Relationship Id="rId4" Type="http://schemas.openxmlformats.org/officeDocument/2006/relationships/oleObject" Target="../embeddings/oleObject26.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37.jpe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37.jpe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38.jpe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38.jpe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jpe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39.jpe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39.jpe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40.jpe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40.jpe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41.jpe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1.jpe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42.jpe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42.jpeg"/><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43.jpe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43.jpeg"/><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23.emf"/><Relationship Id="rId5" Type="http://schemas.openxmlformats.org/officeDocument/2006/relationships/oleObject" Target="../embeddings/oleObject41.bin"/><Relationship Id="rId4" Type="http://schemas.openxmlformats.org/officeDocument/2006/relationships/image" Target="../media/image44.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3.emf"/><Relationship Id="rId5" Type="http://schemas.openxmlformats.org/officeDocument/2006/relationships/oleObject" Target="../embeddings/oleObject42.bin"/><Relationship Id="rId4" Type="http://schemas.openxmlformats.org/officeDocument/2006/relationships/image" Target="../media/image45.jpeg"/></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23.emf"/><Relationship Id="rId4" Type="http://schemas.openxmlformats.org/officeDocument/2006/relationships/oleObject" Target="../embeddings/oleObject43.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23.emf"/><Relationship Id="rId4" Type="http://schemas.openxmlformats.org/officeDocument/2006/relationships/oleObject" Target="../embeddings/oleObject44.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46.png"/><Relationship Id="rId5" Type="http://schemas.openxmlformats.org/officeDocument/2006/relationships/image" Target="../media/image23.emf"/><Relationship Id="rId4" Type="http://schemas.openxmlformats.org/officeDocument/2006/relationships/oleObject" Target="../embeddings/oleObject45.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23.emf"/><Relationship Id="rId5" Type="http://schemas.openxmlformats.org/officeDocument/2006/relationships/oleObject" Target="../embeddings/oleObject46.bin"/><Relationship Id="rId4" Type="http://schemas.openxmlformats.org/officeDocument/2006/relationships/image" Target="../media/image47.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jpe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75953" y="3225800"/>
            <a:ext cx="6171371" cy="1905000"/>
          </a:xfrm>
        </p:spPr>
        <p:txBody>
          <a:bodyPr/>
          <a:lstStyle>
            <a:lvl1pPr>
              <a:defRPr sz="5900"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0839" y="5002886"/>
            <a:ext cx="11653523" cy="489365"/>
          </a:xfrm>
        </p:spPr>
        <p:txBody>
          <a:bodyPr>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732685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315705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ogo Color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204763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5209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383127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t="21189" r="15525" b="7567"/>
          <a:stretch/>
        </p:blipFill>
        <p:spPr>
          <a:xfrm>
            <a:off x="0" y="0"/>
            <a:ext cx="12192000" cy="6858973"/>
          </a:xfrm>
          <a:prstGeom prst="rect">
            <a:avLst/>
          </a:prstGeom>
        </p:spPr>
      </p:pic>
      <p:pic>
        <p:nvPicPr>
          <p:cNvPr id="8"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95423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748864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l="36954" t="21189" r="15525" b="7567"/>
          <a:stretch/>
        </p:blipFill>
        <p:spPr>
          <a:xfrm>
            <a:off x="5333417" y="0"/>
            <a:ext cx="6858583" cy="6858973"/>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1" name="Picture 10"/>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62899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864493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429828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23767993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8982845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3966085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8443703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01196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15878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7291642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7743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4988077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06551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0091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57384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483679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features title and subhead">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513188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8569868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10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pic>
        <p:nvPicPr>
          <p:cNvPr id="5" name="Picture 4"/>
          <p:cNvPicPr>
            <a:picLocks noChangeAspect="1"/>
          </p:cNvPicPr>
          <p:nvPr userDrawn="1"/>
        </p:nvPicPr>
        <p:blipFill rotWithShape="1">
          <a:blip r:embed="rId7"/>
          <a:srcRect r="6890"/>
          <a:stretch/>
        </p:blipFill>
        <p:spPr>
          <a:xfrm>
            <a:off x="0" y="0"/>
            <a:ext cx="12192000" cy="6858000"/>
          </a:xfrm>
          <a:prstGeom prst="rect">
            <a:avLst/>
          </a:prstGeom>
        </p:spPr>
      </p:pic>
    </p:spTree>
    <p:extLst>
      <p:ext uri="{BB962C8B-B14F-4D97-AF65-F5344CB8AC3E}">
        <p14:creationId xmlns:p14="http://schemas.microsoft.com/office/powerpoint/2010/main" val="2480785943"/>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6_Red Tile Title">
    <p:bg>
      <p:bgPr>
        <a:solidFill>
          <a:srgbClr val="C00000"/>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a:stretch>
            <a:fillRect/>
          </a:stretch>
        </p:blipFill>
        <p:spPr>
          <a:xfrm>
            <a:off x="313" y="-312"/>
            <a:ext cx="12191377" cy="685862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5124"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1">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invGray">
          <a:xfrm>
            <a:off x="299198" y="315836"/>
            <a:ext cx="1601907" cy="589332"/>
          </a:xfrm>
          <a:prstGeom prst="rect">
            <a:avLst/>
          </a:prstGeom>
        </p:spPr>
      </p:pic>
    </p:spTree>
    <p:extLst>
      <p:ext uri="{BB962C8B-B14F-4D97-AF65-F5344CB8AC3E}">
        <p14:creationId xmlns:p14="http://schemas.microsoft.com/office/powerpoint/2010/main" val="3187817010"/>
      </p:ext>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7_Red Tile Title">
    <p:bg>
      <p:bgPr>
        <a:solidFill>
          <a:srgbClr val="C000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a:stretch>
            <a:fillRect/>
          </a:stretch>
        </p:blipFill>
        <p:spPr>
          <a:xfrm>
            <a:off x="1" y="2"/>
            <a:ext cx="12191377" cy="6858623"/>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6148"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2">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47320260"/>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7172"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50167435"/>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8196"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730656358"/>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10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2"/>
            <a:ext cx="12191377" cy="686261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9220"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677110537"/>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11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6204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0244"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254227438"/>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1268"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rgbClr val="002060">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113435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12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229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464022" y="2318277"/>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359987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Tree>
    <p:extLst>
      <p:ext uri="{BB962C8B-B14F-4D97-AF65-F5344CB8AC3E}">
        <p14:creationId xmlns:p14="http://schemas.microsoft.com/office/powerpoint/2010/main" val="196487797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3316"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124448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4340"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3">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64509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536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269240"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99912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6152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6388"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287610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741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r="-178"/>
          <a:stretch/>
        </p:blipFill>
        <p:spPr>
          <a:xfrm>
            <a:off x="0" y="-149424"/>
            <a:ext cx="12213788" cy="7007425"/>
          </a:xfrm>
          <a:prstGeom prst="rect">
            <a:avLst/>
          </a:prstGeom>
        </p:spPr>
      </p:pic>
      <p:sp>
        <p:nvSpPr>
          <p:cNvPr id="7" name="Rectangle 6"/>
          <p:cNvSpPr/>
          <p:nvPr userDrawn="1"/>
        </p:nvSpPr>
        <p:spPr bwMode="auto">
          <a:xfrm>
            <a:off x="269240"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153842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84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599969493"/>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94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991430951"/>
      </p:ext>
    </p:extLst>
  </p:cSld>
  <p:clrMapOvr>
    <a:masterClrMapping/>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04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57667221"/>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15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580988923"/>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25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4693877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Title with header">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69239" y="457200"/>
            <a:ext cx="11653523" cy="433965"/>
          </a:xfrm>
        </p:spPr>
        <p:txBody>
          <a:bodyPr>
            <a:spAutoFit/>
          </a:bodyPr>
          <a:lstStyle>
            <a:lvl1pPr marL="0" indent="0">
              <a:buNone/>
              <a:defRPr sz="1800" b="1" baseline="0">
                <a:solidFill>
                  <a:schemeClr val="bg1"/>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PAGE HEADER</a:t>
            </a:r>
          </a:p>
        </p:txBody>
      </p:sp>
    </p:spTree>
    <p:extLst>
      <p:ext uri="{BB962C8B-B14F-4D97-AF65-F5344CB8AC3E}">
        <p14:creationId xmlns:p14="http://schemas.microsoft.com/office/powerpoint/2010/main" val="26689180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35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37159605"/>
      </p:ext>
    </p:extLst>
  </p:cSld>
  <p:clrMapOvr>
    <a:masterClrMapping/>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458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2"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573713" y="6561765"/>
            <a:ext cx="3859607" cy="134483"/>
          </a:xfrm>
          <a:prstGeom prst="rect">
            <a:avLst/>
          </a:prstGeom>
        </p:spPr>
        <p:txBody>
          <a:bodyPr/>
          <a:lstStyle/>
          <a:p>
            <a:pPr>
              <a:defRPr/>
            </a:pPr>
            <a:r>
              <a:rPr>
                <a:solidFill>
                  <a:srgbClr val="505050"/>
                </a:solidFill>
              </a:rPr>
              <a:t>Microsoft Confidential</a:t>
            </a:r>
          </a:p>
        </p:txBody>
      </p:sp>
      <p:sp>
        <p:nvSpPr>
          <p:cNvPr id="4" name="Slide Number Placeholder 3"/>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
        <p:nvSpPr>
          <p:cNvPr id="8" name="Text Placeholder 7"/>
          <p:cNvSpPr>
            <a:spLocks noGrp="1"/>
          </p:cNvSpPr>
          <p:nvPr>
            <p:ph type="body" sz="quarter" idx="13" hasCustomPrompt="1"/>
          </p:nvPr>
        </p:nvSpPr>
        <p:spPr>
          <a:xfrm>
            <a:off x="591640" y="1337046"/>
            <a:ext cx="11005513" cy="4572050"/>
          </a:xfrm>
        </p:spPr>
        <p:txBody>
          <a:bodyPr lIns="0" tIns="0"/>
          <a:lstStyle>
            <a:lvl1pPr marL="228653" indent="-228653">
              <a:spcBef>
                <a:spcPts val="1175"/>
              </a:spcBef>
              <a:defRPr sz="2548">
                <a:latin typeface="+mn-lt"/>
              </a:defRPr>
            </a:lvl1pPr>
            <a:lvl2pPr marL="676626" indent="-228653">
              <a:spcBef>
                <a:spcPts val="1175"/>
              </a:spcBef>
              <a:buSzPct val="100000"/>
              <a:buFont typeface="Segoe UI" pitchFamily="34" charset="0"/>
              <a:buChar char="‐"/>
              <a:defRPr/>
            </a:lvl2pPr>
            <a:lvl3pPr marL="1124598" indent="-228653">
              <a:spcBef>
                <a:spcPts val="1175"/>
              </a:spcBef>
              <a:buFont typeface="Wingdings" pitchFamily="2" charset="2"/>
              <a:buChar char="§"/>
              <a:defRPr/>
            </a:lvl3pPr>
            <a:lvl4pPr marL="1567904" indent="-335979">
              <a:spcBef>
                <a:spcPts val="1175"/>
              </a:spcBef>
              <a:buFont typeface="+mj-lt"/>
              <a:buAutoNum type="arabicPeriod"/>
              <a:defRPr/>
            </a:lvl4pPr>
            <a:lvl5pPr marL="1906994" indent="-335979">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4844017"/>
      </p:ext>
    </p:extLst>
  </p:cSld>
  <p:clrMapOvr>
    <a:masterClrMapping/>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560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 name="Footer Placeholder 1"/>
          <p:cNvSpPr>
            <a:spLocks noGrp="1"/>
          </p:cNvSpPr>
          <p:nvPr>
            <p:ph type="ftr" sz="quarter" idx="10"/>
          </p:nvPr>
        </p:nvSpPr>
        <p:spPr>
          <a:xfrm>
            <a:off x="573713" y="6561765"/>
            <a:ext cx="3859607" cy="134483"/>
          </a:xfrm>
          <a:prstGeom prst="rect">
            <a:avLst/>
          </a:prstGeom>
        </p:spPr>
        <p:txBody>
          <a:bodyPr/>
          <a:lstStyle/>
          <a:p>
            <a:pPr>
              <a:defRPr/>
            </a:pPr>
            <a:r>
              <a:rPr>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785982837"/>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662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tx2"/>
                </a:solidFill>
                <a:latin typeface="+mj-lt"/>
              </a:defRPr>
            </a:lvl1pPr>
            <a:lvl2pPr marL="335948" indent="0">
              <a:buFontTx/>
              <a:buNone/>
              <a:defRPr sz="2352">
                <a:latin typeface="Segoe Pro Light"/>
              </a:defRPr>
            </a:lvl2pPr>
            <a:lvl3pPr marL="559911" indent="0">
              <a:buFontTx/>
              <a:buNone/>
              <a:defRPr sz="2352">
                <a:latin typeface="Segoe Pro Light"/>
              </a:defRPr>
            </a:lvl3pPr>
            <a:lvl4pPr marL="783875" indent="0">
              <a:buFontTx/>
              <a:buNone/>
              <a:defRPr sz="2352">
                <a:latin typeface="Segoe Pro Light"/>
              </a:defRPr>
            </a:lvl4pPr>
            <a:lvl5pPr marL="1007839" indent="0">
              <a:buFontTx/>
              <a:buNone/>
              <a:defRPr sz="2352">
                <a:latin typeface="Segoe Pro Light"/>
              </a:defRPr>
            </a:lvl5pPr>
          </a:lstStyle>
          <a:p>
            <a:pPr lvl="0"/>
            <a:r>
              <a:rPr lang="en-US"/>
              <a:t>Edit Master text styles</a:t>
            </a:r>
          </a:p>
        </p:txBody>
      </p:sp>
      <p:sp>
        <p:nvSpPr>
          <p:cNvPr id="12" name="Text Placeholder 4"/>
          <p:cNvSpPr>
            <a:spLocks noGrp="1"/>
          </p:cNvSpPr>
          <p:nvPr>
            <p:ph type="body" sz="quarter" idx="11"/>
          </p:nvPr>
        </p:nvSpPr>
        <p:spPr>
          <a:xfrm>
            <a:off x="269241" y="348575"/>
            <a:ext cx="8067798" cy="617619"/>
          </a:xfrm>
        </p:spPr>
        <p:txBody>
          <a:bodyPr lIns="146304" tIns="109728" rIns="146304" bIns="109728" anchor="t" anchorCtr="0"/>
          <a:lstStyle>
            <a:lvl1pPr marL="0" indent="0">
              <a:lnSpc>
                <a:spcPts val="3527"/>
              </a:lnSpc>
              <a:buFontTx/>
              <a:buNone/>
              <a:defRPr sz="3527">
                <a:solidFill>
                  <a:schemeClr val="accent1"/>
                </a:solidFill>
                <a:latin typeface="+mj-lt"/>
              </a:defRPr>
            </a:lvl1pPr>
            <a:lvl2pPr marL="335948" indent="0">
              <a:buFontTx/>
              <a:buNone/>
              <a:defRPr sz="3527">
                <a:latin typeface="Segoe Pro Light"/>
              </a:defRPr>
            </a:lvl2pPr>
            <a:lvl3pPr marL="559911" indent="0">
              <a:buFontTx/>
              <a:buNone/>
              <a:defRPr sz="3527">
                <a:latin typeface="Segoe Pro Light"/>
              </a:defRPr>
            </a:lvl3pPr>
            <a:lvl4pPr marL="783875" indent="0">
              <a:buFontTx/>
              <a:buNone/>
              <a:defRPr sz="3527">
                <a:latin typeface="Segoe Pro Light"/>
              </a:defRPr>
            </a:lvl4pPr>
            <a:lvl5pPr marL="1007839" indent="0">
              <a:buFontTx/>
              <a:buNone/>
              <a:defRPr sz="3527">
                <a:latin typeface="Segoe Pro Light"/>
              </a:defRPr>
            </a:lvl5pPr>
          </a:lstStyle>
          <a:p>
            <a:pPr lvl="0"/>
            <a:r>
              <a:rPr lang="en-US"/>
              <a:t>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Edit Master text styles</a:t>
            </a:r>
          </a:p>
        </p:txBody>
      </p:sp>
      <p:sp>
        <p:nvSpPr>
          <p:cNvPr id="32" name="Text Placeholder 11"/>
          <p:cNvSpPr>
            <a:spLocks noGrp="1" noChangeAspect="1"/>
          </p:cNvSpPr>
          <p:nvPr>
            <p:ph type="body" sz="quarter" idx="21"/>
          </p:nvPr>
        </p:nvSpPr>
        <p:spPr>
          <a:xfrm>
            <a:off x="612627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Edit Master text styles</a:t>
            </a:r>
          </a:p>
        </p:txBody>
      </p:sp>
      <p:sp>
        <p:nvSpPr>
          <p:cNvPr id="33" name="Text Placeholder 11"/>
          <p:cNvSpPr>
            <a:spLocks noGrp="1" noChangeAspect="1"/>
          </p:cNvSpPr>
          <p:nvPr>
            <p:ph type="body" sz="quarter" idx="22"/>
          </p:nvPr>
        </p:nvSpPr>
        <p:spPr>
          <a:xfrm>
            <a:off x="905479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Edit Master text styles</a:t>
            </a:r>
          </a:p>
        </p:txBody>
      </p:sp>
      <p:sp>
        <p:nvSpPr>
          <p:cNvPr id="6" name="Footer Placeholder 5"/>
          <p:cNvSpPr>
            <a:spLocks noGrp="1"/>
          </p:cNvSpPr>
          <p:nvPr>
            <p:ph type="ftr" sz="quarter" idx="23"/>
          </p:nvPr>
        </p:nvSpPr>
        <p:spPr>
          <a:xfrm>
            <a:off x="573713" y="6561765"/>
            <a:ext cx="3859607" cy="134483"/>
          </a:xfrm>
          <a:prstGeom prst="rect">
            <a:avLst/>
          </a:prstGeom>
        </p:spPr>
        <p:txBody>
          <a:bodyPr/>
          <a:lstStyle/>
          <a:p>
            <a:pPr>
              <a:defRPr/>
            </a:pPr>
            <a:r>
              <a:rPr>
                <a:solidFill>
                  <a:srgbClr val="505050"/>
                </a:solidFill>
              </a:rPr>
              <a:t>Microsoft Confidential</a:t>
            </a:r>
            <a:endParaRPr dirty="0">
              <a:solidFill>
                <a:srgbClr val="505050"/>
              </a:solidFill>
            </a:endParaRPr>
          </a:p>
        </p:txBody>
      </p:sp>
      <p:sp>
        <p:nvSpPr>
          <p:cNvPr id="7" name="Slide Number Placeholder 6"/>
          <p:cNvSpPr>
            <a:spLocks noGrp="1"/>
          </p:cNvSpPr>
          <p:nvPr>
            <p:ph type="sldNum" sz="quarter" idx="24"/>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343523540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7652"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4" y="368327"/>
            <a:ext cx="6274790" cy="448271"/>
          </a:xfrm>
        </p:spPr>
        <p:txBody>
          <a:bodyPr lIns="182880" tIns="146304" rIns="182880" bIns="146304" anchor="ctr" anchorCtr="0"/>
          <a:lstStyle>
            <a:lvl1pPr marL="0" indent="0">
              <a:lnSpc>
                <a:spcPts val="2744"/>
              </a:lnSpc>
              <a:spcBef>
                <a:spcPts val="0"/>
              </a:spcBef>
              <a:buFontTx/>
              <a:buNone/>
              <a:defRPr sz="2352">
                <a:solidFill>
                  <a:schemeClr val="accent1"/>
                </a:solidFill>
                <a:latin typeface="+mj-lt"/>
              </a:defRPr>
            </a:lvl1pPr>
            <a:lvl2pPr marL="335948" indent="0">
              <a:buFontTx/>
              <a:buNone/>
              <a:defRPr sz="2352">
                <a:latin typeface="Segoe Pro Light"/>
              </a:defRPr>
            </a:lvl2pPr>
            <a:lvl3pPr marL="559911" indent="0">
              <a:buFontTx/>
              <a:buNone/>
              <a:defRPr sz="2352">
                <a:latin typeface="Segoe Pro Light"/>
              </a:defRPr>
            </a:lvl3pPr>
            <a:lvl4pPr marL="783875" indent="0">
              <a:buFontTx/>
              <a:buNone/>
              <a:defRPr sz="2352">
                <a:latin typeface="Segoe Pro Light"/>
              </a:defRPr>
            </a:lvl4pPr>
            <a:lvl5pPr marL="1007839" indent="0">
              <a:buFontTx/>
              <a:buNone/>
              <a:defRPr sz="2352">
                <a:latin typeface="Segoe Pro Light"/>
              </a:defRPr>
            </a:lvl5pPr>
          </a:lstStyle>
          <a:p>
            <a:pPr lvl="0"/>
            <a:r>
              <a:rPr lang="en-US"/>
              <a:t>Edit Master text styles</a:t>
            </a:r>
          </a:p>
        </p:txBody>
      </p:sp>
      <p:sp>
        <p:nvSpPr>
          <p:cNvPr id="27" name="Text Placeholder 26"/>
          <p:cNvSpPr>
            <a:spLocks noGrp="1"/>
          </p:cNvSpPr>
          <p:nvPr>
            <p:ph type="body" sz="quarter" idx="29" hasCustomPrompt="1"/>
          </p:nvPr>
        </p:nvSpPr>
        <p:spPr>
          <a:xfrm>
            <a:off x="538225" y="1070596"/>
            <a:ext cx="268927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5" y="3877270"/>
            <a:ext cx="2689274" cy="2510690"/>
          </a:xfrm>
        </p:spPr>
        <p:txBody>
          <a:bodyPr lIns="182880" tIns="146304" bIns="146304">
            <a:noAutofit/>
          </a:bodyPr>
          <a:lstStyle>
            <a:lvl1pPr marL="0" indent="0">
              <a:lnSpc>
                <a:spcPct val="90000"/>
              </a:lnSpc>
              <a:spcBef>
                <a:spcPts val="294"/>
              </a:spcBef>
              <a:spcAft>
                <a:spcPts val="588"/>
              </a:spcAft>
              <a:buFontTx/>
              <a:buNone/>
              <a:defRPr sz="1175" b="0">
                <a:solidFill>
                  <a:schemeClr val="tx2"/>
                </a:solidFill>
                <a:latin typeface="+mn-lt"/>
                <a:cs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mn-lt"/>
                <a:cs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mn-lt"/>
                <a:cs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76366"/>
            <a:ext cx="3859607" cy="134483"/>
          </a:xfrm>
          <a:prstGeom prst="rect">
            <a:avLst/>
          </a:prstGeom>
        </p:spPr>
        <p:txBody>
          <a:bodyPr/>
          <a:lstStyle>
            <a:lvl1pPr>
              <a:defRPr>
                <a:solidFill>
                  <a:srgbClr val="505050"/>
                </a:solidFill>
              </a:defRPr>
            </a:lvl1pPr>
          </a:lstStyle>
          <a:p>
            <a:pPr>
              <a:defRPr/>
            </a:pPr>
            <a:r>
              <a:t>Microsoft Confidential</a:t>
            </a:r>
          </a:p>
        </p:txBody>
      </p:sp>
      <p:sp>
        <p:nvSpPr>
          <p:cNvPr id="4" name="Slide Number Placeholder 3"/>
          <p:cNvSpPr>
            <a:spLocks noGrp="1"/>
          </p:cNvSpPr>
          <p:nvPr>
            <p:ph type="sldNum" sz="quarter" idx="44"/>
          </p:nvPr>
        </p:nvSpPr>
        <p:spPr>
          <a:xfrm>
            <a:off x="11367167" y="6576366"/>
            <a:ext cx="555596" cy="134483"/>
          </a:xfrm>
        </p:spPr>
        <p:txBody>
          <a:bodyPr/>
          <a:lstStyle>
            <a:lvl1pPr>
              <a:defRPr>
                <a:solidFill>
                  <a:srgbClr val="505050"/>
                </a:solidFill>
              </a:defRPr>
            </a:lvl1pPr>
          </a:lstStyle>
          <a:p>
            <a:pPr defTabSz="914367">
              <a:defRPr/>
            </a:pPr>
            <a:fld id="{27258FFF-F925-446B-8502-81C933981705}" type="slidenum">
              <a:rPr smtClean="0"/>
              <a:pPr defTabSz="914367">
                <a:defRPr/>
              </a:pPr>
              <a:t>‹#›</a:t>
            </a:fld>
            <a:endParaRPr/>
          </a:p>
        </p:txBody>
      </p:sp>
    </p:spTree>
    <p:extLst>
      <p:ext uri="{BB962C8B-B14F-4D97-AF65-F5344CB8AC3E}">
        <p14:creationId xmlns:p14="http://schemas.microsoft.com/office/powerpoint/2010/main" val="1206390601"/>
      </p:ext>
    </p:extLst>
  </p:cSld>
  <p:clrMapOvr>
    <a:masterClrMapping/>
  </p:clrMapOvr>
  <p:transition spd="med">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867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573713" y="6561765"/>
            <a:ext cx="3859607" cy="134483"/>
          </a:xfrm>
          <a:prstGeom prst="rect">
            <a:avLst/>
          </a:prstGeom>
        </p:spPr>
        <p:txBody>
          <a:bodyPr/>
          <a:lstStyle/>
          <a:p>
            <a:pPr>
              <a:defRPr/>
            </a:pPr>
            <a:r>
              <a:rPr>
                <a:solidFill>
                  <a:srgbClr val="505050"/>
                </a:solidFill>
              </a:rPr>
              <a:t>Microsoft Confidential</a:t>
            </a:r>
          </a:p>
        </p:txBody>
      </p:sp>
      <p:sp>
        <p:nvSpPr>
          <p:cNvPr id="4" name="Slide Number Placeholder 3"/>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3362176906"/>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9700"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8" y="-18678"/>
            <a:ext cx="6213505" cy="6876678"/>
          </a:xfrm>
          <a:prstGeom prst="rect">
            <a:avLst/>
          </a:prstGeom>
        </p:spPr>
      </p:pic>
      <p:sp>
        <p:nvSpPr>
          <p:cNvPr id="2" name="Title 1"/>
          <p:cNvSpPr>
            <a:spLocks noGrp="1"/>
          </p:cNvSpPr>
          <p:nvPr>
            <p:ph type="ctrTitle"/>
          </p:nvPr>
        </p:nvSpPr>
        <p:spPr>
          <a:xfrm>
            <a:off x="601732" y="1930722"/>
            <a:ext cx="4980989" cy="615553"/>
          </a:xfrm>
        </p:spPr>
        <p:txBody>
          <a:bodyPr/>
          <a:lstStyle>
            <a:lvl1pPr>
              <a:defRPr sz="399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6" name="Footer Placeholder 5"/>
          <p:cNvSpPr>
            <a:spLocks noGrp="1"/>
          </p:cNvSpPr>
          <p:nvPr>
            <p:ph type="ftr" sz="quarter" idx="10"/>
          </p:nvPr>
        </p:nvSpPr>
        <p:spPr>
          <a:xfrm>
            <a:off x="573713" y="6561765"/>
            <a:ext cx="3859607" cy="134483"/>
          </a:xfrm>
          <a:prstGeom prst="rect">
            <a:avLst/>
          </a:prstGeom>
        </p:spPr>
        <p:txBody>
          <a:bodyPr/>
          <a:lstStyle/>
          <a:p>
            <a:pPr>
              <a:defRPr/>
            </a:pPr>
            <a:r>
              <a:rPr>
                <a:solidFill>
                  <a:srgbClr val="505050"/>
                </a:solidFill>
              </a:rPr>
              <a:t>Microsoft Confidential</a:t>
            </a:r>
            <a:endParaRPr dirty="0">
              <a:solidFill>
                <a:srgbClr val="505050"/>
              </a:solidFill>
            </a:endParaRPr>
          </a:p>
        </p:txBody>
      </p:sp>
      <p:sp>
        <p:nvSpPr>
          <p:cNvPr id="7" name="Slide Number Placeholder 6"/>
          <p:cNvSpPr>
            <a:spLocks noGrp="1"/>
          </p:cNvSpPr>
          <p:nvPr>
            <p:ph type="sldNum" sz="quarter" idx="11"/>
          </p:nvPr>
        </p:nvSpPr>
        <p:spPr/>
        <p:txBody>
          <a:bodyPr/>
          <a:lstStyle>
            <a:lvl1pPr>
              <a:defRPr>
                <a:solidFill>
                  <a:schemeClr val="bg1"/>
                </a:solidFill>
              </a:defRPr>
            </a:lvl1pPr>
          </a:lstStyle>
          <a:p>
            <a:pPr defTabSz="914367">
              <a:defRPr/>
            </a:pPr>
            <a:fld id="{27258FFF-F925-446B-8502-81C933981705}" type="slidenum">
              <a:rPr lang="en-IN" smtClean="0">
                <a:solidFill>
                  <a:srgbClr val="FFFFFF"/>
                </a:solidFill>
              </a:rPr>
              <a:pPr defTabSz="914367">
                <a:defRPr/>
              </a:pPr>
              <a:t>‹#›</a:t>
            </a:fld>
            <a:endParaRPr lang="en-IN">
              <a:solidFill>
                <a:srgbClr val="FFFFFF"/>
              </a:solidFill>
            </a:endParaRPr>
          </a:p>
        </p:txBody>
      </p:sp>
    </p:spTree>
    <p:extLst>
      <p:ext uri="{BB962C8B-B14F-4D97-AF65-F5344CB8AC3E}">
        <p14:creationId xmlns:p14="http://schemas.microsoft.com/office/powerpoint/2010/main" val="1232572937"/>
      </p:ext>
    </p:extLst>
  </p:cSld>
  <p:clrMapOvr>
    <a:masterClrMapping/>
  </p:clrMapOvr>
  <p:transition spd="med">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072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 y="2"/>
            <a:ext cx="6213505" cy="6876678"/>
          </a:xfrm>
          <a:prstGeom prst="rect">
            <a:avLst/>
          </a:prstGeom>
        </p:spPr>
      </p:pic>
      <p:sp>
        <p:nvSpPr>
          <p:cNvPr id="2" name="Title 1"/>
          <p:cNvSpPr>
            <a:spLocks noGrp="1"/>
          </p:cNvSpPr>
          <p:nvPr>
            <p:ph type="ctrTitle"/>
          </p:nvPr>
        </p:nvSpPr>
        <p:spPr>
          <a:xfrm>
            <a:off x="6815237" y="1930722"/>
            <a:ext cx="4980989" cy="615553"/>
          </a:xfrm>
        </p:spPr>
        <p:txBody>
          <a:bodyPr/>
          <a:lstStyle>
            <a:lvl1pPr>
              <a:defRPr sz="399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5" name="Footer Placeholder 4"/>
          <p:cNvSpPr>
            <a:spLocks noGrp="1"/>
          </p:cNvSpPr>
          <p:nvPr>
            <p:ph type="ftr" sz="quarter" idx="10"/>
          </p:nvPr>
        </p:nvSpPr>
        <p:spPr>
          <a:xfrm>
            <a:off x="573713" y="6561765"/>
            <a:ext cx="3859607" cy="134483"/>
          </a:xfrm>
          <a:prstGeom prst="rect">
            <a:avLst/>
          </a:prstGeom>
        </p:spPr>
        <p:txBody>
          <a:bodyPr/>
          <a:lstStyle>
            <a:lvl1pPr>
              <a:defRPr>
                <a:solidFill>
                  <a:schemeClr val="bg1"/>
                </a:solidFill>
              </a:defRPr>
            </a:lvl1pPr>
          </a:lstStyle>
          <a:p>
            <a:pPr>
              <a:defRPr/>
            </a:pPr>
            <a:r>
              <a:rPr lang="en-IN">
                <a:solidFill>
                  <a:srgbClr val="FFFFFF"/>
                </a:solidFill>
              </a:rPr>
              <a:t>Microsoft Confidential</a:t>
            </a:r>
            <a:endParaRPr lang="en-IN" dirty="0">
              <a:solidFill>
                <a:srgbClr val="FFFFFF"/>
              </a:solidFill>
            </a:endParaRPr>
          </a:p>
        </p:txBody>
      </p:sp>
      <p:sp>
        <p:nvSpPr>
          <p:cNvPr id="6" name="Slide Number Placeholder 5"/>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3245786678"/>
      </p:ext>
    </p:extLst>
  </p:cSld>
  <p:clrMapOvr>
    <a:masterClrMapping/>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174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4" name="Picture 1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5978499" y="0"/>
            <a:ext cx="6213503" cy="6850064"/>
          </a:xfrm>
          <a:prstGeom prst="rect">
            <a:avLst/>
          </a:prstGeom>
        </p:spPr>
      </p:pic>
      <p:sp>
        <p:nvSpPr>
          <p:cNvPr id="6" name="Rectangle 5"/>
          <p:cNvSpPr/>
          <p:nvPr/>
        </p:nvSpPr>
        <p:spPr bwMode="white">
          <a:xfrm>
            <a:off x="-9527" y="0"/>
            <a:ext cx="598802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2370559176"/>
      </p:ext>
    </p:extLst>
  </p:cSld>
  <p:clrMapOvr>
    <a:masterClrMapping/>
  </p:clrMapOvr>
  <p:transition spd="med">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277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213504" cy="6858000"/>
          </a:xfrm>
          <a:prstGeom prst="rect">
            <a:avLst/>
          </a:prstGeom>
        </p:spPr>
      </p:pic>
      <p:sp>
        <p:nvSpPr>
          <p:cNvPr id="6" name="Rectangle 5"/>
          <p:cNvSpPr/>
          <p:nvPr/>
        </p:nvSpPr>
        <p:spPr bwMode="white">
          <a:xfrm>
            <a:off x="6203979"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562275595"/>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028"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3571923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3796"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6" y="-10795"/>
            <a:ext cx="6213504" cy="6868795"/>
          </a:xfrm>
          <a:prstGeom prst="rect">
            <a:avLst/>
          </a:prstGeom>
        </p:spPr>
      </p:pic>
      <p:sp>
        <p:nvSpPr>
          <p:cNvPr id="6" name="Rectangle 5"/>
          <p:cNvSpPr/>
          <p:nvPr/>
        </p:nvSpPr>
        <p:spPr bwMode="white">
          <a:xfrm>
            <a:off x="-9527" y="0"/>
            <a:ext cx="59880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496737104"/>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482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2858"/>
            <a:ext cx="6213504" cy="6860858"/>
          </a:xfrm>
          <a:prstGeom prst="rect">
            <a:avLst/>
          </a:prstGeom>
        </p:spPr>
      </p:pic>
      <p:sp>
        <p:nvSpPr>
          <p:cNvPr id="6" name="Rectangle 5"/>
          <p:cNvSpPr/>
          <p:nvPr/>
        </p:nvSpPr>
        <p:spPr bwMode="white">
          <a:xfrm>
            <a:off x="6203979" y="0"/>
            <a:ext cx="5988023"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3844871952"/>
      </p:ext>
    </p:extLst>
  </p:cSld>
  <p:clrMapOvr>
    <a:masterClrMapping/>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4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5844"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6" y="0"/>
            <a:ext cx="6213504" cy="6858000"/>
          </a:xfrm>
          <a:prstGeom prst="rect">
            <a:avLst/>
          </a:prstGeom>
        </p:spPr>
      </p:pic>
      <p:sp>
        <p:nvSpPr>
          <p:cNvPr id="6" name="Rectangle 5"/>
          <p:cNvSpPr/>
          <p:nvPr/>
        </p:nvSpPr>
        <p:spPr bwMode="white">
          <a:xfrm>
            <a:off x="-9527" y="0"/>
            <a:ext cx="598802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820219255"/>
      </p:ext>
    </p:extLst>
  </p:cSld>
  <p:clrMapOvr>
    <a:masterClrMapping/>
  </p:clrMapOvr>
  <p:transition spd="med">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5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686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0" y="0"/>
            <a:ext cx="6213504" cy="6858000"/>
          </a:xfrm>
          <a:prstGeom prst="rect">
            <a:avLst/>
          </a:prstGeom>
        </p:spPr>
      </p:pic>
      <p:sp>
        <p:nvSpPr>
          <p:cNvPr id="6" name="Rectangle 5"/>
          <p:cNvSpPr/>
          <p:nvPr/>
        </p:nvSpPr>
        <p:spPr bwMode="white">
          <a:xfrm>
            <a:off x="6203979" y="0"/>
            <a:ext cx="5988023"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lang="en-IN">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2436896031"/>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6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789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8" y="1"/>
            <a:ext cx="6213503" cy="6857485"/>
          </a:xfrm>
          <a:prstGeom prst="rect">
            <a:avLst/>
          </a:prstGeom>
        </p:spPr>
      </p:pic>
      <p:sp>
        <p:nvSpPr>
          <p:cNvPr id="6" name="Rectangle 5"/>
          <p:cNvSpPr/>
          <p:nvPr/>
        </p:nvSpPr>
        <p:spPr bwMode="white">
          <a:xfrm>
            <a:off x="-9527" y="0"/>
            <a:ext cx="5988024"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4191727772"/>
      </p:ext>
    </p:extLst>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7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891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 y="517"/>
            <a:ext cx="6213503" cy="6857485"/>
          </a:xfrm>
          <a:prstGeom prst="rect">
            <a:avLst/>
          </a:prstGeom>
        </p:spPr>
      </p:pic>
      <p:sp>
        <p:nvSpPr>
          <p:cNvPr id="6" name="Rectangle 5"/>
          <p:cNvSpPr/>
          <p:nvPr/>
        </p:nvSpPr>
        <p:spPr bwMode="white">
          <a:xfrm>
            <a:off x="6203979" y="0"/>
            <a:ext cx="5988023"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796104534"/>
      </p:ext>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8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9940"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7" y="0"/>
            <a:ext cx="6213504" cy="6858000"/>
          </a:xfrm>
          <a:prstGeom prst="rect">
            <a:avLst/>
          </a:prstGeom>
        </p:spPr>
      </p:pic>
      <p:sp>
        <p:nvSpPr>
          <p:cNvPr id="6" name="Rectangle 5"/>
          <p:cNvSpPr/>
          <p:nvPr/>
        </p:nvSpPr>
        <p:spPr bwMode="white">
          <a:xfrm>
            <a:off x="-9527" y="0"/>
            <a:ext cx="5988024"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229979970"/>
      </p:ext>
    </p:extLst>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9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096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9527" y="0"/>
            <a:ext cx="6213504" cy="6858000"/>
          </a:xfrm>
          <a:prstGeom prst="rect">
            <a:avLst/>
          </a:prstGeom>
        </p:spPr>
      </p:pic>
      <p:sp>
        <p:nvSpPr>
          <p:cNvPr id="6" name="Rectangle 5"/>
          <p:cNvSpPr/>
          <p:nvPr/>
        </p:nvSpPr>
        <p:spPr bwMode="white">
          <a:xfrm>
            <a:off x="6203979" y="0"/>
            <a:ext cx="5988023"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2789595745"/>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0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1988"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8" y="0"/>
            <a:ext cx="6213503" cy="6858000"/>
          </a:xfrm>
          <a:prstGeom prst="rect">
            <a:avLst/>
          </a:prstGeom>
        </p:spPr>
      </p:pic>
      <p:sp>
        <p:nvSpPr>
          <p:cNvPr id="6" name="Rectangle 5"/>
          <p:cNvSpPr/>
          <p:nvPr userDrawn="1"/>
        </p:nvSpPr>
        <p:spPr bwMode="white">
          <a:xfrm>
            <a:off x="-9527" y="0"/>
            <a:ext cx="5988024" cy="685800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770602111"/>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301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9522" y="0"/>
            <a:ext cx="6213503" cy="6858000"/>
          </a:xfrm>
          <a:prstGeom prst="rect">
            <a:avLst/>
          </a:prstGeom>
        </p:spPr>
      </p:pic>
      <p:sp>
        <p:nvSpPr>
          <p:cNvPr id="6" name="Rectangle 5"/>
          <p:cNvSpPr/>
          <p:nvPr/>
        </p:nvSpPr>
        <p:spPr bwMode="white">
          <a:xfrm>
            <a:off x="6203979" y="0"/>
            <a:ext cx="5988023"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03378114"/>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95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44pt Title Onl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stretch>
            <a:fillRect/>
          </a:stretch>
        </p:blipFill>
        <p:spPr>
          <a:xfrm>
            <a:off x="1" y="3"/>
            <a:ext cx="12191377" cy="6868077"/>
          </a:xfrm>
          <a:prstGeom prst="rect">
            <a:avLst/>
          </a:prstGeom>
        </p:spPr>
      </p:pic>
      <p:sp>
        <p:nvSpPr>
          <p:cNvPr id="6" name="Rectangle 5"/>
          <p:cNvSpPr/>
          <p:nvPr userDrawn="1"/>
        </p:nvSpPr>
        <p:spPr>
          <a:xfrm>
            <a:off x="1" y="-1"/>
            <a:ext cx="12192000" cy="2751794"/>
          </a:xfrm>
          <a:prstGeom prst="rect">
            <a:avLst/>
          </a:prstGeom>
          <a:gradFill>
            <a:gsLst>
              <a:gs pos="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17">
              <a:defRPr/>
            </a:pPr>
            <a:endParaRPr lang="en-US" sz="1764">
              <a:solidFill>
                <a:srgbClr val="FFFFFF"/>
              </a:solidFill>
            </a:endParaRPr>
          </a:p>
        </p:txBody>
      </p:sp>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4036"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573713" y="6561765"/>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854407355"/>
      </p:ext>
    </p:extLst>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44pt Title Only">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flipH="1">
            <a:off x="1" y="3"/>
            <a:ext cx="12192000" cy="6857999"/>
          </a:xfrm>
          <a:prstGeom prst="rect">
            <a:avLst/>
          </a:prstGeom>
        </p:spPr>
      </p:pic>
      <p:sp>
        <p:nvSpPr>
          <p:cNvPr id="10" name="Rectangle 29"/>
          <p:cNvSpPr/>
          <p:nvPr userDrawn="1"/>
        </p:nvSpPr>
        <p:spPr bwMode="auto">
          <a:xfrm>
            <a:off x="5231" y="-22778"/>
            <a:ext cx="6810339" cy="6880779"/>
          </a:xfrm>
          <a:prstGeom prst="rect">
            <a:avLst/>
          </a:prstGeom>
          <a:gradFill flip="none" rotWithShape="1">
            <a:gsLst>
              <a:gs pos="30000">
                <a:schemeClr val="bg1">
                  <a:lumMod val="85000"/>
                  <a:alpha val="8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506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573713" y="6561765"/>
            <a:ext cx="3859607" cy="134483"/>
          </a:xfrm>
          <a:prstGeom prst="rect">
            <a:avLst/>
          </a:prstGeom>
        </p:spPr>
        <p:txBody>
          <a:bodyPr/>
          <a:lstStyle>
            <a:lvl1pPr>
              <a:defRPr>
                <a:solidFill>
                  <a:schemeClr val="tx2"/>
                </a:solidFill>
              </a:defRPr>
            </a:lvl1pPr>
          </a:lstStyle>
          <a:p>
            <a:pPr>
              <a:defRPr/>
            </a:pPr>
            <a:r>
              <a:rPr>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tx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265899715"/>
      </p:ext>
    </p:extLst>
  </p:cSld>
  <p:clrMapOvr>
    <a:masterClrMapping/>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60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7"/>
            <a:ext cx="11007659" cy="1686801"/>
          </a:xfrm>
        </p:spPr>
        <p:txBody>
          <a:bodyPr/>
          <a:lstStyle>
            <a:lvl1pPr>
              <a:defRPr sz="8623">
                <a:solidFill>
                  <a:schemeClr val="bg1"/>
                </a:solidFill>
              </a:defRPr>
            </a:lvl1pPr>
          </a:lstStyle>
          <a:p>
            <a:r>
              <a:rPr lang="en-US" dirty="0"/>
              <a:t>Title</a:t>
            </a:r>
          </a:p>
        </p:txBody>
      </p:sp>
    </p:spTree>
    <p:extLst>
      <p:ext uri="{BB962C8B-B14F-4D97-AF65-F5344CB8AC3E}">
        <p14:creationId xmlns:p14="http://schemas.microsoft.com/office/powerpoint/2010/main" val="2362728893"/>
      </p:ext>
    </p:extLst>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710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4" y="2100817"/>
            <a:ext cx="11007659" cy="1686801"/>
          </a:xfrm>
        </p:spPr>
        <p:txBody>
          <a:bodyPr/>
          <a:lstStyle>
            <a:lvl1pPr>
              <a:defRPr sz="8623">
                <a:solidFill>
                  <a:schemeClr val="bg1"/>
                </a:solidFill>
              </a:defRPr>
            </a:lvl1pPr>
          </a:lstStyle>
          <a:p>
            <a:r>
              <a:rPr lang="en-US" dirty="0"/>
              <a:t>Title</a:t>
            </a:r>
          </a:p>
        </p:txBody>
      </p:sp>
    </p:spTree>
    <p:extLst>
      <p:ext uri="{BB962C8B-B14F-4D97-AF65-F5344CB8AC3E}">
        <p14:creationId xmlns:p14="http://schemas.microsoft.com/office/powerpoint/2010/main" val="1248040789"/>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813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622114"/>
            <a:ext cx="11007659" cy="1703429"/>
          </a:xfrm>
        </p:spPr>
        <p:txBody>
          <a:bodyPr anchor="ctr"/>
          <a:lstStyle>
            <a:lvl1pPr>
              <a:defRPr sz="5879">
                <a:solidFill>
                  <a:schemeClr val="tx2"/>
                </a:solidFill>
              </a:defRPr>
            </a:lvl1pPr>
          </a:lstStyle>
          <a:p>
            <a:r>
              <a:rPr lang="en-US"/>
              <a:t>Thank you</a:t>
            </a:r>
          </a:p>
        </p:txBody>
      </p:sp>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0997" y="482865"/>
            <a:ext cx="1225864" cy="261495"/>
          </a:xfrm>
          <a:prstGeom prst="rect">
            <a:avLst/>
          </a:prstGeom>
        </p:spPr>
      </p:pic>
    </p:spTree>
    <p:extLst>
      <p:ext uri="{BB962C8B-B14F-4D97-AF65-F5344CB8AC3E}">
        <p14:creationId xmlns:p14="http://schemas.microsoft.com/office/powerpoint/2010/main" val="3172258849"/>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0" y="2676701"/>
            <a:ext cx="4089742" cy="150459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91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6" y="1558"/>
                        <a:ext cx="1557" cy="1556"/>
                      </a:xfrm>
                      <a:prstGeom prst="rect">
                        <a:avLst/>
                      </a:prstGeom>
                    </p:spPr>
                  </p:pic>
                </p:oleObj>
              </mc:Fallback>
            </mc:AlternateContent>
          </a:graphicData>
        </a:graphic>
      </p:graphicFrame>
    </p:spTree>
    <p:extLst>
      <p:ext uri="{BB962C8B-B14F-4D97-AF65-F5344CB8AC3E}">
        <p14:creationId xmlns:p14="http://schemas.microsoft.com/office/powerpoint/2010/main" val="148663437"/>
      </p:ext>
    </p:extLst>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075884"/>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573713" y="6561765"/>
            <a:ext cx="3859607" cy="134483"/>
          </a:xfrm>
          <a:prstGeom prst="rect">
            <a:avLst/>
          </a:prstGeom>
        </p:spPr>
        <p:txBody>
          <a:bodyPr/>
          <a:lstStyle/>
          <a:p>
            <a:pPr>
              <a:defRPr/>
            </a:pPr>
            <a:r>
              <a:rPr>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dirty="0">
              <a:solidFill>
                <a:srgbClr val="505050"/>
              </a:solidFill>
            </a:endParaRPr>
          </a:p>
        </p:txBody>
      </p:sp>
    </p:spTree>
    <p:extLst>
      <p:ext uri="{BB962C8B-B14F-4D97-AF65-F5344CB8AC3E}">
        <p14:creationId xmlns:p14="http://schemas.microsoft.com/office/powerpoint/2010/main" val="2733982251"/>
      </p:ext>
    </p:extLst>
  </p:cSld>
  <p:clrMapOvr>
    <a:masterClrMapping/>
  </p:clrMapOvr>
  <p:transition spd="slow">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521583"/>
            <a:ext cx="762000" cy="291836"/>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2" y="6477874"/>
            <a:ext cx="8381998" cy="380127"/>
          </a:xfrm>
          <a:prstGeom prst="rect">
            <a:avLst/>
          </a:prstGeom>
        </p:spPr>
        <p:txBody>
          <a:bodyPr/>
          <a:lstStyle/>
          <a:p>
            <a:pPr defTabSz="913507">
              <a:defRPr/>
            </a:pPr>
            <a:endParaRPr dirty="0">
              <a:solidFill>
                <a:srgbClr val="505050"/>
              </a:solidFill>
            </a:endParaRPr>
          </a:p>
        </p:txBody>
      </p:sp>
      <p:sp>
        <p:nvSpPr>
          <p:cNvPr id="3" name="Slide Number Placeholder 2"/>
          <p:cNvSpPr>
            <a:spLocks noGrp="1"/>
          </p:cNvSpPr>
          <p:nvPr>
            <p:ph type="sldNum" sz="quarter" idx="16"/>
          </p:nvPr>
        </p:nvSpPr>
        <p:spPr>
          <a:xfrm>
            <a:off x="11430002" y="6477877"/>
            <a:ext cx="761998" cy="380126"/>
          </a:xfrm>
          <a:prstGeom prst="rect">
            <a:avLst/>
          </a:prstGeom>
        </p:spPr>
        <p:txBody>
          <a:bodyPr/>
          <a:lstStyle/>
          <a:p>
            <a:pPr defTabSz="913507">
              <a:defRPr/>
            </a:pPr>
            <a:fld id="{FAADACFB-7C71-4E89-89D2-7BBA40B7BFA9}" type="slidenum">
              <a:rPr>
                <a:solidFill>
                  <a:srgbClr val="505050"/>
                </a:solidFill>
              </a:rPr>
              <a:pPr defTabSz="913507">
                <a:defRPr/>
              </a:pPr>
              <a:t>‹#›</a:t>
            </a:fld>
            <a:endParaRPr dirty="0">
              <a:solidFill>
                <a:srgbClr val="505050"/>
              </a:solidFill>
            </a:endParaRPr>
          </a:p>
        </p:txBody>
      </p:sp>
    </p:spTree>
    <p:extLst>
      <p:ext uri="{BB962C8B-B14F-4D97-AF65-F5344CB8AC3E}">
        <p14:creationId xmlns:p14="http://schemas.microsoft.com/office/powerpoint/2010/main" val="3312659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450081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defRPr/>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12210" y="27027"/>
            <a:ext cx="2852970" cy="2751138"/>
          </a:xfrm>
          <a:prstGeom prst="rect">
            <a:avLst/>
          </a:prstGeom>
        </p:spPr>
        <p:txBody>
          <a:bodyPr anchor="b" anchorCtr="0">
            <a:noAutofit/>
          </a:bodyPr>
          <a:lstStyle>
            <a:lvl1pPr marL="0" indent="0">
              <a:lnSpc>
                <a:spcPts val="3799"/>
              </a:lnSpc>
              <a:spcBef>
                <a:spcPts val="0"/>
              </a:spcBef>
              <a:buNone/>
              <a:defRPr sz="3599" b="0" cap="none" baseline="0">
                <a:gradFill>
                  <a:gsLst>
                    <a:gs pos="100000">
                      <a:schemeClr val="bg1"/>
                    </a:gs>
                    <a:gs pos="0">
                      <a:schemeClr val="bg1"/>
                    </a:gs>
                  </a:gsLst>
                  <a:lin ang="5400000" scaled="0"/>
                </a:gradFill>
                <a:latin typeface="+mj-lt"/>
              </a:defRPr>
            </a:lvl1pPr>
            <a:lvl2pPr marL="607671" indent="0">
              <a:buNone/>
              <a:defRPr sz="2692" b="1"/>
            </a:lvl2pPr>
            <a:lvl3pPr marL="1215342" indent="0">
              <a:buNone/>
              <a:defRPr sz="2393" b="1"/>
            </a:lvl3pPr>
            <a:lvl4pPr marL="1823013" indent="0">
              <a:buNone/>
              <a:defRPr sz="2093" b="1"/>
            </a:lvl4pPr>
            <a:lvl5pPr marL="2430683" indent="0">
              <a:buNone/>
              <a:defRPr sz="2093" b="1"/>
            </a:lvl5pPr>
            <a:lvl6pPr marL="3038356" indent="0">
              <a:buNone/>
              <a:defRPr sz="2093" b="1"/>
            </a:lvl6pPr>
            <a:lvl7pPr marL="3646026" indent="0">
              <a:buNone/>
              <a:defRPr sz="2093" b="1"/>
            </a:lvl7pPr>
            <a:lvl8pPr marL="4253696" indent="0">
              <a:buNone/>
              <a:defRPr sz="2093" b="1"/>
            </a:lvl8pPr>
            <a:lvl9pPr marL="4861367" indent="0">
              <a:buNone/>
              <a:defRPr sz="2093" b="1"/>
            </a:lvl9pPr>
          </a:lstStyle>
          <a:p>
            <a:pPr lvl="0"/>
            <a:r>
              <a:rPr lang="en-US" dirty="0"/>
              <a:t>Click to edit Master text styles.</a:t>
            </a:r>
          </a:p>
        </p:txBody>
      </p:sp>
      <p:sp>
        <p:nvSpPr>
          <p:cNvPr id="7" name="Text Placeholder 6"/>
          <p:cNvSpPr>
            <a:spLocks noGrp="1"/>
          </p:cNvSpPr>
          <p:nvPr>
            <p:ph type="body" sz="quarter" idx="10"/>
          </p:nvPr>
        </p:nvSpPr>
        <p:spPr>
          <a:xfrm>
            <a:off x="533063" y="3054086"/>
            <a:ext cx="2866630" cy="3575317"/>
          </a:xfrm>
        </p:spPr>
        <p:txBody>
          <a:bodyPr/>
          <a:lstStyle>
            <a:lvl1pPr marL="0" indent="0">
              <a:lnSpc>
                <a:spcPts val="2199"/>
              </a:lnSpc>
              <a:spcBef>
                <a:spcPts val="0"/>
              </a:spcBef>
              <a:spcAft>
                <a:spcPts val="1200"/>
              </a:spcAft>
              <a:buNone/>
              <a:defRPr sz="2099" spc="0" baseline="0">
                <a:solidFill>
                  <a:schemeClr val="bg1"/>
                </a:solidFill>
                <a:latin typeface="+mj-lt"/>
              </a:defRPr>
            </a:lvl1pPr>
            <a:lvl2pPr marL="0" indent="0">
              <a:lnSpc>
                <a:spcPts val="2199"/>
              </a:lnSpc>
              <a:spcBef>
                <a:spcPts val="0"/>
              </a:spcBef>
              <a:spcAft>
                <a:spcPts val="1200"/>
              </a:spcAft>
              <a:buNone/>
              <a:defRPr sz="2099" spc="0" baseline="0">
                <a:solidFill>
                  <a:schemeClr val="bg1"/>
                </a:solidFill>
                <a:latin typeface="+mj-lt"/>
              </a:defRPr>
            </a:lvl2pPr>
            <a:lvl3pPr marL="0" indent="0">
              <a:lnSpc>
                <a:spcPts val="2199"/>
              </a:lnSpc>
              <a:spcBef>
                <a:spcPts val="0"/>
              </a:spcBef>
              <a:spcAft>
                <a:spcPts val="1200"/>
              </a:spcAft>
              <a:buNone/>
              <a:defRPr sz="2099" spc="0" baseline="0">
                <a:solidFill>
                  <a:schemeClr val="bg1"/>
                </a:solidFill>
                <a:latin typeface="+mj-lt"/>
              </a:defRPr>
            </a:lvl3pPr>
            <a:lvl4pPr marL="0" indent="0">
              <a:lnSpc>
                <a:spcPts val="2199"/>
              </a:lnSpc>
              <a:spcBef>
                <a:spcPts val="0"/>
              </a:spcBef>
              <a:spcAft>
                <a:spcPts val="1200"/>
              </a:spcAft>
              <a:buNone/>
              <a:defRPr sz="2099" spc="0" baseline="0">
                <a:solidFill>
                  <a:schemeClr val="bg1"/>
                </a:solidFill>
                <a:latin typeface="+mj-lt"/>
              </a:defRPr>
            </a:lvl4pPr>
            <a:lvl5pPr marL="0" indent="0">
              <a:lnSpc>
                <a:spcPts val="2199"/>
              </a:lnSpc>
              <a:spcBef>
                <a:spcPts val="0"/>
              </a:spcBef>
              <a:spcAft>
                <a:spcPts val="1200"/>
              </a:spcAft>
              <a:buNone/>
              <a:defRPr sz="2099" spc="0" baseline="0">
                <a:solidFill>
                  <a:schemeClr val="bg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870444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10697" y="2441489"/>
            <a:ext cx="5370606" cy="1975031"/>
          </a:xfrm>
          <a:prstGeom prst="rect">
            <a:avLst/>
          </a:prstGeom>
        </p:spPr>
      </p:pic>
    </p:spTree>
    <p:extLst>
      <p:ext uri="{BB962C8B-B14F-4D97-AF65-F5344CB8AC3E}">
        <p14:creationId xmlns:p14="http://schemas.microsoft.com/office/powerpoint/2010/main" val="197757046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ctrTitle"/>
          </p:nvPr>
        </p:nvSpPr>
        <p:spPr>
          <a:xfrm>
            <a:off x="375953" y="3225800"/>
            <a:ext cx="6171371" cy="1905000"/>
          </a:xfrm>
        </p:spPr>
        <p:txBody>
          <a:bodyPr/>
          <a:lstStyle>
            <a:lvl1pPr>
              <a:defRPr sz="5900"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0839" y="5002886"/>
            <a:ext cx="11653523" cy="489365"/>
          </a:xfrm>
        </p:spPr>
        <p:txBody>
          <a:bodyPr>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1645394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8" y="2816940"/>
            <a:ext cx="11034444" cy="2387600"/>
          </a:xfrm>
        </p:spPr>
        <p:txBody>
          <a:bodyPr anchor="b">
            <a:noAutofit/>
          </a:bodyPr>
          <a:lstStyle>
            <a:lvl1pPr algn="l">
              <a:defRPr sz="23881">
                <a:solidFill>
                  <a:schemeClr val="bg1"/>
                </a:solidFill>
              </a:defRPr>
            </a:lvl1pPr>
          </a:lstStyle>
          <a:p>
            <a:r>
              <a:rPr lang="en-US" dirty="0"/>
              <a:t>web</a:t>
            </a:r>
          </a:p>
        </p:txBody>
      </p:sp>
    </p:spTree>
    <p:extLst>
      <p:ext uri="{BB962C8B-B14F-4D97-AF65-F5344CB8AC3E}">
        <p14:creationId xmlns:p14="http://schemas.microsoft.com/office/powerpoint/2010/main" val="10644690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18800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4" y="5912755"/>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2" y="649720"/>
            <a:ext cx="10255939" cy="5104275"/>
          </a:xfrm>
          <a:prstGeom prst="rect">
            <a:avLst/>
          </a:prstGeom>
        </p:spPr>
      </p:pic>
    </p:spTree>
    <p:extLst>
      <p:ext uri="{BB962C8B-B14F-4D97-AF65-F5344CB8AC3E}">
        <p14:creationId xmlns:p14="http://schemas.microsoft.com/office/powerpoint/2010/main" val="2189127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8" y="1366954"/>
            <a:ext cx="7231699" cy="3599141"/>
          </a:xfrm>
          <a:prstGeom prst="rect">
            <a:avLst/>
          </a:prstGeom>
        </p:spPr>
      </p:pic>
    </p:spTree>
    <p:extLst>
      <p:ext uri="{BB962C8B-B14F-4D97-AF65-F5344CB8AC3E}">
        <p14:creationId xmlns:p14="http://schemas.microsoft.com/office/powerpoint/2010/main" val="30682047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spTree>
    <p:extLst>
      <p:ext uri="{BB962C8B-B14F-4D97-AF65-F5344CB8AC3E}">
        <p14:creationId xmlns:p14="http://schemas.microsoft.com/office/powerpoint/2010/main" val="3708222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25970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918999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95513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876803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23439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71661391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105819028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4568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16501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69240" y="4163528"/>
            <a:ext cx="11655840" cy="2403404"/>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4028712"/>
          </a:xfrm>
          <a:prstGeom prst="rect">
            <a:avLst/>
          </a:prstGeom>
        </p:spPr>
      </p:pic>
      <p:sp>
        <p:nvSpPr>
          <p:cNvPr id="8" name="Rectangle 7"/>
          <p:cNvSpPr/>
          <p:nvPr userDrawn="1"/>
        </p:nvSpPr>
        <p:spPr bwMode="auto">
          <a:xfrm>
            <a:off x="0" y="0"/>
            <a:ext cx="12192000" cy="6857999"/>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68928" y="289512"/>
            <a:ext cx="11655078" cy="899665"/>
          </a:xfrm>
        </p:spPr>
        <p:txBody>
          <a:bodyPr/>
          <a:lstStyle/>
          <a:p>
            <a:pPr algn="l"/>
            <a:r>
              <a:rPr lang="en-US"/>
              <a:t>Click to edit Master title style</a:t>
            </a:r>
          </a:p>
        </p:txBody>
      </p:sp>
    </p:spTree>
    <p:extLst>
      <p:ext uri="{BB962C8B-B14F-4D97-AF65-F5344CB8AC3E}">
        <p14:creationId xmlns:p14="http://schemas.microsoft.com/office/powerpoint/2010/main" val="131153862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21731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call to action">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6377841" y="2582816"/>
            <a:ext cx="5544920" cy="2196380"/>
          </a:xfrm>
          <a:prstGeom prst="rect">
            <a:avLst/>
          </a:prstGeom>
        </p:spPr>
      </p:pic>
      <p:sp>
        <p:nvSpPr>
          <p:cNvPr id="5" name="Title 1"/>
          <p:cNvSpPr>
            <a:spLocks noGrp="1"/>
          </p:cNvSpPr>
          <p:nvPr>
            <p:ph type="title" hasCustomPrompt="1"/>
          </p:nvPr>
        </p:nvSpPr>
        <p:spPr>
          <a:xfrm>
            <a:off x="1127584" y="2360204"/>
            <a:ext cx="5109427" cy="1014459"/>
          </a:xfrm>
          <a:noFill/>
        </p:spPr>
        <p:txBody>
          <a:bodyPr lIns="0" tIns="91440" rIns="146304" bIns="91440" anchor="t" anchorCtr="0"/>
          <a:lstStyle>
            <a:lvl1pPr>
              <a:defRPr sz="6078" spc="-98" baseline="0">
                <a:solidFill>
                  <a:schemeClr val="tx1"/>
                </a:solidFill>
              </a:defRPr>
            </a:lvl1pPr>
          </a:lstStyle>
          <a:p>
            <a:r>
              <a:rPr lang="en-US"/>
              <a:t>Lorem ipsum</a:t>
            </a:r>
          </a:p>
        </p:txBody>
      </p:sp>
      <p:sp>
        <p:nvSpPr>
          <p:cNvPr id="9" name="Text Placeholder 2"/>
          <p:cNvSpPr>
            <a:spLocks noGrp="1"/>
          </p:cNvSpPr>
          <p:nvPr>
            <p:ph type="body" sz="quarter" idx="10"/>
          </p:nvPr>
        </p:nvSpPr>
        <p:spPr>
          <a:xfrm>
            <a:off x="1127521" y="3394811"/>
            <a:ext cx="5109487" cy="619144"/>
          </a:xfrm>
        </p:spPr>
        <p:txBody>
          <a:bodyPr/>
          <a:lstStyle>
            <a:lvl1pPr marL="0" indent="0">
              <a:spcBef>
                <a:spcPts val="980"/>
              </a:spcBef>
              <a:spcAft>
                <a:spcPts val="980"/>
              </a:spcAft>
              <a:buNone/>
              <a:defRPr sz="3137"/>
            </a:lvl1pPr>
          </a:lstStyle>
          <a:p>
            <a:pPr lvl="0"/>
            <a:r>
              <a:rPr lang="en-US"/>
              <a:t>Edit Master text styles</a:t>
            </a:r>
          </a:p>
        </p:txBody>
      </p:sp>
      <p:pic>
        <p:nvPicPr>
          <p:cNvPr id="3" name="Picture 2"/>
          <p:cNvPicPr>
            <a:picLocks noChangeAspect="1"/>
          </p:cNvPicPr>
          <p:nvPr userDrawn="1"/>
        </p:nvPicPr>
        <p:blipFill>
          <a:blip r:embed="rId3"/>
          <a:stretch>
            <a:fillRect/>
          </a:stretch>
        </p:blipFill>
        <p:spPr>
          <a:xfrm>
            <a:off x="269145" y="2545263"/>
            <a:ext cx="658053" cy="658146"/>
          </a:xfrm>
          <a:prstGeom prst="rect">
            <a:avLst/>
          </a:prstGeom>
        </p:spPr>
      </p:pic>
    </p:spTree>
    <p:extLst>
      <p:ext uri="{BB962C8B-B14F-4D97-AF65-F5344CB8AC3E}">
        <p14:creationId xmlns:p14="http://schemas.microsoft.com/office/powerpoint/2010/main" val="28699768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478956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575722-6849-4574-AFAF-7C56991A9A4E}"/>
              </a:ext>
            </a:extLst>
          </p:cNvPr>
          <p:cNvPicPr>
            <a:picLocks noChangeAspect="1"/>
          </p:cNvPicPr>
          <p:nvPr userDrawn="1"/>
        </p:nvPicPr>
        <p:blipFill>
          <a:blip r:embed="rId2"/>
          <a:stretch>
            <a:fillRect/>
          </a:stretch>
        </p:blipFill>
        <p:spPr>
          <a:xfrm>
            <a:off x="1" y="2976"/>
            <a:ext cx="12434711" cy="6988574"/>
          </a:xfrm>
          <a:prstGeom prst="rect">
            <a:avLst/>
          </a:prstGeom>
        </p:spPr>
      </p:pic>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3"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2982009"/>
            <a:ext cx="7171337" cy="1792326"/>
          </a:xfrm>
          <a:noFill/>
        </p:spPr>
        <p:txBody>
          <a:bodyPr lIns="164592" tIns="109728" rIns="164592" bIns="109728">
            <a:noAutofit/>
          </a:bodyPr>
          <a:lstStyle>
            <a:lvl1pPr marL="0" indent="0">
              <a:spcBef>
                <a:spcPts val="0"/>
              </a:spcBef>
              <a:buNone/>
              <a:defRPr sz="3136" spc="0" baseline="0">
                <a:solidFill>
                  <a:schemeClr val="bg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59450" y="459964"/>
            <a:ext cx="1415272" cy="304828"/>
          </a:xfrm>
          <a:prstGeom prst="rect">
            <a:avLst/>
          </a:prstGeom>
        </p:spPr>
      </p:pic>
    </p:spTree>
    <p:extLst>
      <p:ext uri="{BB962C8B-B14F-4D97-AF65-F5344CB8AC3E}">
        <p14:creationId xmlns:p14="http://schemas.microsoft.com/office/powerpoint/2010/main" val="2628809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503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90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92589393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25201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876801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769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428831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47296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29389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0054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9792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78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104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97383270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85800"/>
            <a:ext cx="11655078" cy="899665"/>
          </a:xfrm>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3833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
        <p:nvSpPr>
          <p:cNvPr id="4" name="Text Placeholder 5"/>
          <p:cNvSpPr>
            <a:spLocks noGrp="1"/>
          </p:cNvSpPr>
          <p:nvPr>
            <p:ph type="body" sz="quarter" idx="11"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3019445777"/>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3" y="289512"/>
            <a:ext cx="6904778" cy="899665"/>
          </a:xfrm>
        </p:spPr>
        <p:txBody>
          <a:bodyPr/>
          <a:lstStyle>
            <a:lvl1pPr>
              <a:defRPr sz="3920"/>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p:txBody>
      </p:sp>
      <p:pic>
        <p:nvPicPr>
          <p:cNvPr id="8" name="Picture 7">
            <a:extLst>
              <a:ext uri="{FF2B5EF4-FFF2-40B4-BE49-F238E27FC236}">
                <a16:creationId xmlns:a16="http://schemas.microsoft.com/office/drawing/2014/main" id="{30F88B75-04AF-43D4-9441-5B2209611F0F}"/>
              </a:ext>
            </a:extLst>
          </p:cNvPr>
          <p:cNvPicPr>
            <a:picLocks noChangeAspect="1"/>
          </p:cNvPicPr>
          <p:nvPr userDrawn="1"/>
        </p:nvPicPr>
        <p:blipFill>
          <a:blip r:embed="rId2"/>
          <a:stretch>
            <a:fillRect/>
          </a:stretch>
        </p:blipFill>
        <p:spPr>
          <a:xfrm>
            <a:off x="0" y="0"/>
            <a:ext cx="4831080" cy="6858000"/>
          </a:xfrm>
          <a:prstGeom prst="rect">
            <a:avLst/>
          </a:prstGeom>
        </p:spPr>
      </p:pic>
    </p:spTree>
    <p:extLst>
      <p:ext uri="{BB962C8B-B14F-4D97-AF65-F5344CB8AC3E}">
        <p14:creationId xmlns:p14="http://schemas.microsoft.com/office/powerpoint/2010/main" val="230315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053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958445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73384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56589908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51663340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46588335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207869073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48226714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47712269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429377858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474839"/>
            <a:ext cx="12192000" cy="538316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52547809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029764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563477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features title and subhead">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689304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Tree>
    <p:extLst>
      <p:ext uri="{BB962C8B-B14F-4D97-AF65-F5344CB8AC3E}">
        <p14:creationId xmlns:p14="http://schemas.microsoft.com/office/powerpoint/2010/main" val="34390534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42250464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Title with header">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69239" y="457200"/>
            <a:ext cx="11653523" cy="433965"/>
          </a:xfrm>
        </p:spPr>
        <p:txBody>
          <a:bodyPr>
            <a:spAutoFit/>
          </a:bodyPr>
          <a:lstStyle>
            <a:lvl1pPr marL="0" indent="0">
              <a:buNone/>
              <a:defRPr sz="1800" b="1" baseline="0">
                <a:solidFill>
                  <a:schemeClr val="bg1"/>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PAGE HEADER</a:t>
            </a:r>
          </a:p>
        </p:txBody>
      </p:sp>
    </p:spTree>
    <p:extLst>
      <p:ext uri="{BB962C8B-B14F-4D97-AF65-F5344CB8AC3E}">
        <p14:creationId xmlns:p14="http://schemas.microsoft.com/office/powerpoint/2010/main" val="382161111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Slide 9 ">
    <p:spTree>
      <p:nvGrpSpPr>
        <p:cNvPr id="1" name=""/>
        <p:cNvGrpSpPr/>
        <p:nvPr/>
      </p:nvGrpSpPr>
      <p:grpSpPr>
        <a:xfrm>
          <a:off x="0" y="0"/>
          <a:ext cx="0" cy="0"/>
          <a:chOff x="0" y="0"/>
          <a:chExt cx="0" cy="0"/>
        </a:xfrm>
      </p:grpSpPr>
      <p:pic>
        <p:nvPicPr>
          <p:cNvPr id="7" name="Picture Placeholder 5"/>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0"/>
            <a:ext cx="12193728" cy="6858000"/>
          </a:xfrm>
          <a:prstGeom prst="rect">
            <a:avLst/>
          </a:prstGeom>
        </p:spPr>
      </p:pic>
      <p:sp>
        <p:nvSpPr>
          <p:cNvPr id="8" name="Rectangle 7"/>
          <p:cNvSpPr/>
          <p:nvPr userDrawn="1"/>
        </p:nvSpPr>
        <p:spPr bwMode="auto">
          <a:xfrm>
            <a:off x="0" y="0"/>
            <a:ext cx="12192000" cy="1995421"/>
          </a:xfrm>
          <a:prstGeom prst="rect">
            <a:avLst/>
          </a:prstGeom>
          <a:gradFill flip="none" rotWithShape="1">
            <a:gsLst>
              <a:gs pos="1000">
                <a:schemeClr val="tx2">
                  <a:alpha val="0"/>
                </a:schemeClr>
              </a:gs>
              <a:gs pos="100000">
                <a:schemeClr val="tx2">
                  <a:alpha val="66000"/>
                </a:schemeClr>
              </a:gs>
            </a:gsLst>
            <a:lin ang="16200000" scaled="0"/>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ctrTitle"/>
          </p:nvPr>
        </p:nvSpPr>
        <p:spPr>
          <a:xfrm>
            <a:off x="375953" y="3422398"/>
            <a:ext cx="6171371" cy="2488894"/>
          </a:xfrm>
        </p:spPr>
        <p:txBody>
          <a:bodyPr/>
          <a:lstStyle>
            <a:lvl1pPr>
              <a:defRPr sz="5900"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75955" y="5754632"/>
            <a:ext cx="5720046" cy="430887"/>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a:t>Click to edit Master subtitle style</a:t>
            </a:r>
            <a:endParaRPr lang="en-US" dirty="0"/>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789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360643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8"/>
            <a:ext cx="11231365" cy="1403205"/>
          </a:xfrm>
        </p:spPr>
        <p:txBody>
          <a:bodyPr/>
          <a:lstStyle>
            <a:lvl1pPr marL="0" indent="0">
              <a:buNone/>
              <a:defRPr sz="8798"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12899" y="3219171"/>
            <a:ext cx="7515594" cy="544765"/>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423257132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114098"/>
            <a:ext cx="11653523" cy="461665"/>
          </a:xfrm>
        </p:spPr>
        <p:txBody>
          <a:bodyPr>
            <a:spAutoFit/>
          </a:bodyPr>
          <a:lstStyle>
            <a:lvl1pPr marL="0" indent="0">
              <a:buNone/>
              <a:defRPr sz="2000" b="1">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0737030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04628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39" y="13198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68719383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1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052"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83497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636523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4" y="1927277"/>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243509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85800"/>
            <a:ext cx="11655078" cy="899665"/>
          </a:xfrm>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3833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
        <p:nvSpPr>
          <p:cNvPr id="4" name="Text Placeholder 5"/>
          <p:cNvSpPr>
            <a:spLocks noGrp="1"/>
          </p:cNvSpPr>
          <p:nvPr>
            <p:ph type="body" sz="quarter" idx="11"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404763313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2" y="3441247"/>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8118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4555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904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7315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13965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1922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70479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14297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3245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36305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59597365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918561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6548" cy="1158793"/>
          </a:xfrm>
          <a:noFill/>
        </p:spPr>
        <p:txBody>
          <a:bodyPr wrap="square" tIns="91440" bIns="91440" anchor="t" anchorCtr="0">
            <a:spAutoFit/>
          </a:bodyPr>
          <a:lstStyle>
            <a:lvl1pPr>
              <a:defRPr sz="7056"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067822" cy="724246"/>
          </a:xfrm>
          <a:noFill/>
        </p:spPr>
        <p:txBody>
          <a:bodyPr wrap="square" lIns="182880" tIns="146304" rIns="182880" bIns="146304">
            <a:spAutoFit/>
          </a:bodyPr>
          <a:lstStyle>
            <a:lvl1pPr marL="0" indent="0">
              <a:spcBef>
                <a:spcPts val="0"/>
              </a:spcBef>
              <a:buNone/>
              <a:defRPr sz="3136"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12701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7822" cy="1158793"/>
          </a:xfrm>
          <a:noFill/>
        </p:spPr>
        <p:txBody>
          <a:bodyPr wrap="square" tIns="91440" bIns="91440" anchor="t" anchorCtr="0">
            <a:spAutoFit/>
          </a:bodyPr>
          <a:lstStyle>
            <a:lvl1pPr>
              <a:defRPr sz="7056"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766150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39053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482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83068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64912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842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79606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798210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62278482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43045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3" y="672855"/>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2"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dirty="0"/>
              <a:t>CHAPTER TITLE BREADCRUM</a:t>
            </a:r>
          </a:p>
        </p:txBody>
      </p:sp>
    </p:spTree>
    <p:extLst>
      <p:ext uri="{BB962C8B-B14F-4D97-AF65-F5344CB8AC3E}">
        <p14:creationId xmlns:p14="http://schemas.microsoft.com/office/powerpoint/2010/main" val="411181616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2" y="672854"/>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1"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HAPTER TITLE BREADCRUM</a:t>
            </a:r>
          </a:p>
        </p:txBody>
      </p:sp>
    </p:spTree>
    <p:extLst>
      <p:ext uri="{BB962C8B-B14F-4D97-AF65-F5344CB8AC3E}">
        <p14:creationId xmlns:p14="http://schemas.microsoft.com/office/powerpoint/2010/main" val="380166569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2" y="672854"/>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1"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1" y="1307188"/>
            <a:ext cx="11653523" cy="489365"/>
          </a:xfrm>
        </p:spPr>
        <p:txBody>
          <a:bodyPr>
            <a:spAutoFit/>
          </a:bodyPr>
          <a:lstStyle>
            <a:lvl1pPr marL="0" indent="0">
              <a:buNone/>
              <a:defRPr sz="2200" b="0">
                <a:solidFill>
                  <a:schemeClr val="accent2"/>
                </a:soli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Subhead</a:t>
            </a:r>
          </a:p>
        </p:txBody>
      </p:sp>
    </p:spTree>
    <p:extLst>
      <p:ext uri="{BB962C8B-B14F-4D97-AF65-F5344CB8AC3E}">
        <p14:creationId xmlns:p14="http://schemas.microsoft.com/office/powerpoint/2010/main" val="203940563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69239" y="6558796"/>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66" y="6558796"/>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5" y="348573"/>
            <a:ext cx="6274973" cy="670440"/>
          </a:xfrm>
        </p:spPr>
        <p:txBody>
          <a:bodyPr lIns="146304" tIns="109728" rIns="146304" bIns="109728" anchor="t" anchorCtr="0"/>
          <a:lstStyle>
            <a:lvl1pPr marL="0" indent="0">
              <a:lnSpc>
                <a:spcPts val="3525"/>
              </a:lnSpc>
              <a:buFontTx/>
              <a:buNone/>
              <a:defRPr sz="3525">
                <a:solidFill>
                  <a:schemeClr val="tx2"/>
                </a:solidFill>
                <a:latin typeface="+mj-lt"/>
              </a:defRPr>
            </a:lvl1pPr>
            <a:lvl2pPr marL="335855" indent="0">
              <a:buFontTx/>
              <a:buNone/>
              <a:defRPr sz="3525">
                <a:latin typeface="Segoe Pro Light"/>
              </a:defRPr>
            </a:lvl2pPr>
            <a:lvl3pPr marL="559757" indent="0">
              <a:buFontTx/>
              <a:buNone/>
              <a:defRPr sz="3525">
                <a:latin typeface="Segoe Pro Light"/>
              </a:defRPr>
            </a:lvl3pPr>
            <a:lvl4pPr marL="783661" indent="0">
              <a:buFontTx/>
              <a:buNone/>
              <a:defRPr sz="3525">
                <a:latin typeface="Segoe Pro Light"/>
              </a:defRPr>
            </a:lvl4pPr>
            <a:lvl5pPr marL="1007560" indent="0">
              <a:buFontTx/>
              <a:buNone/>
              <a:defRPr sz="3525">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69244" y="2084176"/>
            <a:ext cx="3137515" cy="1279325"/>
          </a:xfrm>
        </p:spPr>
        <p:txBody>
          <a:bodyPr/>
          <a:lstStyle>
            <a:lvl1pPr marL="0" indent="0">
              <a:lnSpc>
                <a:spcPct val="100000"/>
              </a:lnSpc>
              <a:spcBef>
                <a:spcPts val="0"/>
              </a:spcBef>
              <a:spcAft>
                <a:spcPts val="2941"/>
              </a:spcAft>
              <a:buNone/>
              <a:defRPr sz="1765">
                <a:latin typeface="+mn-lt"/>
              </a:defRPr>
            </a:lvl1pPr>
            <a:lvl2pPr marL="3110" indent="0">
              <a:lnSpc>
                <a:spcPts val="1418"/>
              </a:lnSpc>
              <a:spcBef>
                <a:spcPts val="0"/>
              </a:spcBef>
              <a:spcAft>
                <a:spcPts val="1172"/>
              </a:spcAft>
              <a:buNone/>
              <a:defRPr sz="1270"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659544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07321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1" y="1189177"/>
            <a:ext cx="11653523" cy="2067233"/>
          </a:xfrm>
        </p:spPr>
        <p:txBody>
          <a:bodyPr/>
          <a:lstStyle>
            <a:lvl1pPr marL="0" indent="0">
              <a:buNone/>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2" y="289514"/>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6882975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75953" y="3225800"/>
            <a:ext cx="7929846" cy="1905000"/>
          </a:xfrm>
        </p:spPr>
        <p:txBody>
          <a:bodyPr/>
          <a:lstStyle>
            <a:lvl1pPr>
              <a:defRPr sz="5900"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0838" y="5002886"/>
            <a:ext cx="7934961" cy="489365"/>
          </a:xfrm>
        </p:spPr>
        <p:txBody>
          <a:bodyPr wrap="square">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18927760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7" name="Picture Placeholder 5"/>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0"/>
            <a:ext cx="12193728" cy="6858000"/>
          </a:xfrm>
          <a:prstGeom prst="rect">
            <a:avLst/>
          </a:prstGeom>
        </p:spPr>
      </p:pic>
      <p:sp>
        <p:nvSpPr>
          <p:cNvPr id="8" name="Rectangle 7"/>
          <p:cNvSpPr/>
          <p:nvPr userDrawn="1"/>
        </p:nvSpPr>
        <p:spPr bwMode="auto">
          <a:xfrm>
            <a:off x="0" y="0"/>
            <a:ext cx="12192000" cy="1995421"/>
          </a:xfrm>
          <a:prstGeom prst="rect">
            <a:avLst/>
          </a:prstGeom>
          <a:gradFill flip="none" rotWithShape="1">
            <a:gsLst>
              <a:gs pos="1000">
                <a:schemeClr val="tx2">
                  <a:alpha val="0"/>
                </a:schemeClr>
              </a:gs>
              <a:gs pos="100000">
                <a:schemeClr val="tx2">
                  <a:alpha val="66000"/>
                </a:schemeClr>
              </a:gs>
            </a:gsLst>
            <a:lin ang="16200000" scaled="0"/>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8"/>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p:nvPr>
        </p:nvSpPr>
        <p:spPr>
          <a:xfrm>
            <a:off x="375953" y="3225800"/>
            <a:ext cx="7929846" cy="1905000"/>
          </a:xfrm>
        </p:spPr>
        <p:txBody>
          <a:bodyPr/>
          <a:lstStyle>
            <a:lvl1pPr>
              <a:defRPr sz="5900" baseline="0">
                <a:solidFill>
                  <a:schemeClr val="bg1"/>
                </a:solidFill>
              </a:defRPr>
            </a:lvl1pPr>
          </a:lstStyle>
          <a:p>
            <a:r>
              <a:rPr lang="en-US" dirty="0"/>
              <a:t>Click to edit Master title style</a:t>
            </a:r>
          </a:p>
        </p:txBody>
      </p:sp>
      <p:sp>
        <p:nvSpPr>
          <p:cNvPr id="11"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sp>
        <p:nvSpPr>
          <p:cNvPr id="14" name="Text Placeholder 3"/>
          <p:cNvSpPr>
            <a:spLocks noGrp="1"/>
          </p:cNvSpPr>
          <p:nvPr>
            <p:ph type="body" sz="quarter" idx="10" hasCustomPrompt="1"/>
          </p:nvPr>
        </p:nvSpPr>
        <p:spPr>
          <a:xfrm>
            <a:off x="370838" y="5002886"/>
            <a:ext cx="7934961" cy="489365"/>
          </a:xfrm>
        </p:spPr>
        <p:txBody>
          <a:bodyPr wrap="square">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9053786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9 ">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3278" y="0"/>
            <a:ext cx="12218556" cy="6858000"/>
          </a:xfrm>
          <a:prstGeom prst="rect">
            <a:avLst/>
          </a:prstGeom>
        </p:spPr>
      </p:pic>
      <p:pic>
        <p:nvPicPr>
          <p:cNvPr id="17"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auto">
          <a:xfrm>
            <a:off x="515135" y="527776"/>
            <a:ext cx="1229472" cy="2628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ctrTitle"/>
          </p:nvPr>
        </p:nvSpPr>
        <p:spPr>
          <a:xfrm>
            <a:off x="375953" y="3225800"/>
            <a:ext cx="7929846" cy="1905000"/>
          </a:xfrm>
        </p:spPr>
        <p:txBody>
          <a:bodyPr/>
          <a:lstStyle>
            <a:lvl1pPr>
              <a:defRPr sz="5900" baseline="0">
                <a:solidFill>
                  <a:schemeClr val="bg1"/>
                </a:solidFill>
              </a:defRPr>
            </a:lvl1pPr>
          </a:lstStyle>
          <a:p>
            <a:r>
              <a:rPr lang="en-US" dirty="0"/>
              <a:t>Click to edit Master title style</a:t>
            </a:r>
          </a:p>
        </p:txBody>
      </p:sp>
      <p:sp>
        <p:nvSpPr>
          <p:cNvPr id="9"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sp>
        <p:nvSpPr>
          <p:cNvPr id="10" name="Text Placeholder 3"/>
          <p:cNvSpPr>
            <a:spLocks noGrp="1"/>
          </p:cNvSpPr>
          <p:nvPr>
            <p:ph type="body" sz="quarter" idx="10" hasCustomPrompt="1"/>
          </p:nvPr>
        </p:nvSpPr>
        <p:spPr>
          <a:xfrm>
            <a:off x="370838" y="5002886"/>
            <a:ext cx="7934961" cy="489365"/>
          </a:xfrm>
        </p:spPr>
        <p:txBody>
          <a:bodyPr wrap="square">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4270482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85914959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586" y="2075"/>
            <a:ext cx="12192000" cy="68633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2047688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931817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198403141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73848"/>
            <a:ext cx="11655078" cy="899665"/>
          </a:xfrm>
        </p:spPr>
        <p:txBody>
          <a:bodyPr/>
          <a:lstStyle/>
          <a:p>
            <a:r>
              <a:rPr lang="en-US"/>
              <a:t>Click to edit Master title style</a:t>
            </a:r>
            <a:endParaRPr lang="en-US" dirty="0"/>
          </a:p>
        </p:txBody>
      </p:sp>
      <p:sp>
        <p:nvSpPr>
          <p:cNvPr id="5" name="Text Placeholder 3"/>
          <p:cNvSpPr>
            <a:spLocks noGrp="1"/>
          </p:cNvSpPr>
          <p:nvPr>
            <p:ph type="body" sz="quarter" idx="10" hasCustomPrompt="1"/>
          </p:nvPr>
        </p:nvSpPr>
        <p:spPr>
          <a:xfrm>
            <a:off x="269239" y="13833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
        <p:nvSpPr>
          <p:cNvPr id="4" name="Text Placeholder 5"/>
          <p:cNvSpPr>
            <a:spLocks noGrp="1"/>
          </p:cNvSpPr>
          <p:nvPr>
            <p:ph type="body" sz="quarter" idx="11"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225907169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agrams Accent color 1">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262789566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agrams with breadcrumb + subhead Accent color 1">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22336437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agrams slide with subhead Accent color 1">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138356320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agrams with subhead Accent color 1">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223993715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agrams with content Accent color 1">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38" y="1981200"/>
            <a:ext cx="11653523" cy="1884298"/>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275186951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diagrams slide ">
    <p:spTree>
      <p:nvGrpSpPr>
        <p:cNvPr id="1" name=""/>
        <p:cNvGrpSpPr/>
        <p:nvPr/>
      </p:nvGrpSpPr>
      <p:grpSpPr>
        <a:xfrm>
          <a:off x="0" y="0"/>
          <a:ext cx="0" cy="0"/>
          <a:chOff x="0" y="0"/>
          <a:chExt cx="0" cy="0"/>
        </a:xfrm>
      </p:grpSpPr>
      <p:sp>
        <p:nvSpPr>
          <p:cNvPr id="4" name="Rectangle 3"/>
          <p:cNvSpPr/>
          <p:nvPr userDrawn="1"/>
        </p:nvSpPr>
        <p:spPr bwMode="auto">
          <a:xfrm>
            <a:off x="6400800" y="0"/>
            <a:ext cx="5791200"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189178"/>
            <a:ext cx="6130741"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6131559"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4980395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08434612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diagrams slide ">
    <p:spTree>
      <p:nvGrpSpPr>
        <p:cNvPr id="1" name=""/>
        <p:cNvGrpSpPr/>
        <p:nvPr/>
      </p:nvGrpSpPr>
      <p:grpSpPr>
        <a:xfrm>
          <a:off x="0" y="0"/>
          <a:ext cx="0" cy="0"/>
          <a:chOff x="0" y="0"/>
          <a:chExt cx="0" cy="0"/>
        </a:xfrm>
      </p:grpSpPr>
      <p:sp>
        <p:nvSpPr>
          <p:cNvPr id="4" name="Rectangle 3"/>
          <p:cNvSpPr/>
          <p:nvPr userDrawn="1"/>
        </p:nvSpPr>
        <p:spPr bwMode="auto">
          <a:xfrm>
            <a:off x="4724400" y="0"/>
            <a:ext cx="7467600"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755891"/>
            <a:ext cx="4454565"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4455159" cy="1463087"/>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460385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diagrams slide ">
    <p:spTree>
      <p:nvGrpSpPr>
        <p:cNvPr id="1" name=""/>
        <p:cNvGrpSpPr/>
        <p:nvPr/>
      </p:nvGrpSpPr>
      <p:grpSpPr>
        <a:xfrm>
          <a:off x="0" y="0"/>
          <a:ext cx="0" cy="0"/>
          <a:chOff x="0" y="0"/>
          <a:chExt cx="0" cy="0"/>
        </a:xfrm>
      </p:grpSpPr>
      <p:sp>
        <p:nvSpPr>
          <p:cNvPr id="4" name="Rectangle 3"/>
          <p:cNvSpPr/>
          <p:nvPr userDrawn="1"/>
        </p:nvSpPr>
        <p:spPr bwMode="auto">
          <a:xfrm>
            <a:off x="3048000" y="0"/>
            <a:ext cx="9144000"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1" y="289513"/>
            <a:ext cx="2702559" cy="2606087"/>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2609307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8_diagrams slide ">
    <p:spTree>
      <p:nvGrpSpPr>
        <p:cNvPr id="1" name=""/>
        <p:cNvGrpSpPr/>
        <p:nvPr/>
      </p:nvGrpSpPr>
      <p:grpSpPr>
        <a:xfrm>
          <a:off x="0" y="0"/>
          <a:ext cx="0" cy="0"/>
          <a:chOff x="0" y="0"/>
          <a:chExt cx="0" cy="0"/>
        </a:xfrm>
      </p:grpSpPr>
      <p:sp>
        <p:nvSpPr>
          <p:cNvPr id="6" name="Rectangle 5"/>
          <p:cNvSpPr/>
          <p:nvPr userDrawn="1"/>
        </p:nvSpPr>
        <p:spPr bwMode="auto">
          <a:xfrm>
            <a:off x="0" y="0"/>
            <a:ext cx="6400800"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189178"/>
            <a:ext cx="5978361" cy="1869020"/>
          </a:xfrm>
        </p:spPr>
        <p:txBody>
          <a:bodyPr/>
          <a:lstStyle>
            <a:lvl1pPr marL="0" indent="0">
              <a:buNone/>
              <a:defRPr>
                <a:solidFill>
                  <a:schemeClr val="bg1"/>
                </a:solidFill>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5979159" cy="899665"/>
          </a:xfrm>
        </p:spPr>
        <p:txBody>
          <a:bodyPr/>
          <a:lstStyle>
            <a:lvl1pPr>
              <a:defRPr sz="4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190680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9_diagrams slide ">
    <p:spTree>
      <p:nvGrpSpPr>
        <p:cNvPr id="1" name=""/>
        <p:cNvGrpSpPr/>
        <p:nvPr/>
      </p:nvGrpSpPr>
      <p:grpSpPr>
        <a:xfrm>
          <a:off x="0" y="0"/>
          <a:ext cx="0" cy="0"/>
          <a:chOff x="0" y="0"/>
          <a:chExt cx="0" cy="0"/>
        </a:xfrm>
      </p:grpSpPr>
      <p:sp>
        <p:nvSpPr>
          <p:cNvPr id="6" name="Rectangle 5"/>
          <p:cNvSpPr/>
          <p:nvPr userDrawn="1"/>
        </p:nvSpPr>
        <p:spPr bwMode="auto">
          <a:xfrm>
            <a:off x="0" y="0"/>
            <a:ext cx="4723805"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1" y="1755891"/>
            <a:ext cx="4378960" cy="1869020"/>
          </a:xfrm>
        </p:spPr>
        <p:txBody>
          <a:bodyPr/>
          <a:lstStyle>
            <a:lvl1pPr marL="0" indent="0">
              <a:buNone/>
              <a:defRPr>
                <a:solidFill>
                  <a:schemeClr val="bg1"/>
                </a:solidFill>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2" y="289513"/>
            <a:ext cx="4379544" cy="1463087"/>
          </a:xfrm>
        </p:spPr>
        <p:txBody>
          <a:bodyPr/>
          <a:lstStyle>
            <a:lvl1pPr>
              <a:defRPr sz="4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8866602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0_diagrams slide ">
    <p:spTree>
      <p:nvGrpSpPr>
        <p:cNvPr id="1" name=""/>
        <p:cNvGrpSpPr/>
        <p:nvPr/>
      </p:nvGrpSpPr>
      <p:grpSpPr>
        <a:xfrm>
          <a:off x="0" y="0"/>
          <a:ext cx="0" cy="0"/>
          <a:chOff x="0" y="0"/>
          <a:chExt cx="0" cy="0"/>
        </a:xfrm>
      </p:grpSpPr>
      <p:sp>
        <p:nvSpPr>
          <p:cNvPr id="4" name="Rectangle 3"/>
          <p:cNvSpPr/>
          <p:nvPr userDrawn="1"/>
        </p:nvSpPr>
        <p:spPr bwMode="auto">
          <a:xfrm>
            <a:off x="0" y="0"/>
            <a:ext cx="3017520"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1" y="289513"/>
            <a:ext cx="2702559" cy="2606087"/>
          </a:xfrm>
        </p:spPr>
        <p:txBody>
          <a:bodyPr/>
          <a:lstStyle>
            <a:lvl1pPr>
              <a:defRPr sz="4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6679375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with header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69239" y="457200"/>
            <a:ext cx="11653523" cy="433965"/>
          </a:xfrm>
        </p:spPr>
        <p:txBody>
          <a:bodyPr>
            <a:spAutoFit/>
          </a:bodyPr>
          <a:lstStyle>
            <a:lvl1pPr marL="0" indent="0">
              <a:buNone/>
              <a:defRPr sz="1800" b="1" baseline="0">
                <a:solidFill>
                  <a:schemeClr val="bg1"/>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PAGE HEADER</a:t>
            </a:r>
          </a:p>
        </p:txBody>
      </p:sp>
    </p:spTree>
    <p:extLst>
      <p:ext uri="{BB962C8B-B14F-4D97-AF65-F5344CB8AC3E}">
        <p14:creationId xmlns:p14="http://schemas.microsoft.com/office/powerpoint/2010/main" val="355761369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Tree>
    <p:extLst>
      <p:ext uri="{BB962C8B-B14F-4D97-AF65-F5344CB8AC3E}">
        <p14:creationId xmlns:p14="http://schemas.microsoft.com/office/powerpoint/2010/main" val="197226012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09052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eatures with breadcrumb 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96481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26089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69542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eatures no breadcrumb Accent color 2">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4002019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eatures title and subhead Accent color 2">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1910562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agrams slide Accent color 2">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38" y="1981200"/>
            <a:ext cx="11653523" cy="1884298"/>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206224013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diagrams slide ">
    <p:spTree>
      <p:nvGrpSpPr>
        <p:cNvPr id="1" name=""/>
        <p:cNvGrpSpPr/>
        <p:nvPr/>
      </p:nvGrpSpPr>
      <p:grpSpPr>
        <a:xfrm>
          <a:off x="0" y="0"/>
          <a:ext cx="0" cy="0"/>
          <a:chOff x="0" y="0"/>
          <a:chExt cx="0" cy="0"/>
        </a:xfrm>
      </p:grpSpPr>
      <p:sp>
        <p:nvSpPr>
          <p:cNvPr id="4" name="Rectangle 3"/>
          <p:cNvSpPr/>
          <p:nvPr userDrawn="1"/>
        </p:nvSpPr>
        <p:spPr bwMode="auto">
          <a:xfrm>
            <a:off x="6400800" y="0"/>
            <a:ext cx="5791200"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189178"/>
            <a:ext cx="11653523"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73513887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diagrams slide ">
    <p:spTree>
      <p:nvGrpSpPr>
        <p:cNvPr id="1" name=""/>
        <p:cNvGrpSpPr/>
        <p:nvPr/>
      </p:nvGrpSpPr>
      <p:grpSpPr>
        <a:xfrm>
          <a:off x="0" y="0"/>
          <a:ext cx="0" cy="0"/>
          <a:chOff x="0" y="0"/>
          <a:chExt cx="0" cy="0"/>
        </a:xfrm>
      </p:grpSpPr>
      <p:sp>
        <p:nvSpPr>
          <p:cNvPr id="4" name="Rectangle 3"/>
          <p:cNvSpPr/>
          <p:nvPr userDrawn="1"/>
        </p:nvSpPr>
        <p:spPr bwMode="auto">
          <a:xfrm>
            <a:off x="4724400" y="0"/>
            <a:ext cx="7467600"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189178"/>
            <a:ext cx="11653523"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39181325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_diagrams slide ">
    <p:spTree>
      <p:nvGrpSpPr>
        <p:cNvPr id="1" name=""/>
        <p:cNvGrpSpPr/>
        <p:nvPr/>
      </p:nvGrpSpPr>
      <p:grpSpPr>
        <a:xfrm>
          <a:off x="0" y="0"/>
          <a:ext cx="0" cy="0"/>
          <a:chOff x="0" y="0"/>
          <a:chExt cx="0" cy="0"/>
        </a:xfrm>
      </p:grpSpPr>
      <p:sp>
        <p:nvSpPr>
          <p:cNvPr id="4" name="Rectangle 3"/>
          <p:cNvSpPr/>
          <p:nvPr userDrawn="1"/>
        </p:nvSpPr>
        <p:spPr bwMode="auto">
          <a:xfrm>
            <a:off x="3048000" y="0"/>
            <a:ext cx="9144000"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1" y="289513"/>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58143393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with header 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69239" y="457200"/>
            <a:ext cx="11653523" cy="433965"/>
          </a:xfrm>
        </p:spPr>
        <p:txBody>
          <a:bodyPr>
            <a:spAutoFit/>
          </a:bodyPr>
          <a:lstStyle>
            <a:lvl1pPr marL="0" indent="0">
              <a:buNone/>
              <a:defRPr sz="1800" b="1" baseline="0">
                <a:solidFill>
                  <a:schemeClr val="bg1"/>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PAGE HEADER</a:t>
            </a:r>
          </a:p>
        </p:txBody>
      </p:sp>
    </p:spTree>
    <p:extLst>
      <p:ext uri="{BB962C8B-B14F-4D97-AF65-F5344CB8AC3E}">
        <p14:creationId xmlns:p14="http://schemas.microsoft.com/office/powerpoint/2010/main" val="163307334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Tree>
    <p:extLst>
      <p:ext uri="{BB962C8B-B14F-4D97-AF65-F5344CB8AC3E}">
        <p14:creationId xmlns:p14="http://schemas.microsoft.com/office/powerpoint/2010/main" val="26302537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16086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ogo Color 2">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100234916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theme" Target="../theme/theme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image" Target="../media/image18.emf"/><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theme" Target="../theme/theme5.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slideLayout" Target="../slideLayouts/slideLayout159.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42" Type="http://schemas.openxmlformats.org/officeDocument/2006/relationships/slideLayout" Target="../slideLayouts/slideLayout162.xml"/><Relationship Id="rId47" Type="http://schemas.openxmlformats.org/officeDocument/2006/relationships/slideLayout" Target="../slideLayouts/slideLayout167.xml"/><Relationship Id="rId50" Type="http://schemas.openxmlformats.org/officeDocument/2006/relationships/slideLayout" Target="../slideLayouts/slideLayout170.xml"/><Relationship Id="rId55" Type="http://schemas.openxmlformats.org/officeDocument/2006/relationships/oleObject" Target="../embeddings/oleObject2.bin"/><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 Id="rId46" Type="http://schemas.openxmlformats.org/officeDocument/2006/relationships/slideLayout" Target="../slideLayouts/slideLayout166.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41" Type="http://schemas.openxmlformats.org/officeDocument/2006/relationships/slideLayout" Target="../slideLayouts/slideLayout161.xml"/><Relationship Id="rId54" Type="http://schemas.openxmlformats.org/officeDocument/2006/relationships/tags" Target="../tags/tag3.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slideLayout" Target="../slideLayouts/slideLayout160.xml"/><Relationship Id="rId45" Type="http://schemas.openxmlformats.org/officeDocument/2006/relationships/slideLayout" Target="../slideLayouts/slideLayout165.xml"/><Relationship Id="rId53" Type="http://schemas.openxmlformats.org/officeDocument/2006/relationships/vmlDrawing" Target="../drawings/vmlDrawing3.v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49" Type="http://schemas.openxmlformats.org/officeDocument/2006/relationships/slideLayout" Target="../slideLayouts/slideLayout169.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4" Type="http://schemas.openxmlformats.org/officeDocument/2006/relationships/slideLayout" Target="../slideLayouts/slideLayout164.xml"/><Relationship Id="rId52" Type="http://schemas.openxmlformats.org/officeDocument/2006/relationships/theme" Target="../theme/theme6.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43" Type="http://schemas.openxmlformats.org/officeDocument/2006/relationships/slideLayout" Target="../slideLayouts/slideLayout163.xml"/><Relationship Id="rId48" Type="http://schemas.openxmlformats.org/officeDocument/2006/relationships/slideLayout" Target="../slideLayouts/slideLayout168.xml"/><Relationship Id="rId56" Type="http://schemas.openxmlformats.org/officeDocument/2006/relationships/image" Target="../media/image23.emf"/><Relationship Id="rId8" Type="http://schemas.openxmlformats.org/officeDocument/2006/relationships/slideLayout" Target="../slideLayouts/slideLayout128.xml"/><Relationship Id="rId51" Type="http://schemas.openxmlformats.org/officeDocument/2006/relationships/slideLayout" Target="../slideLayouts/slideLayout171.xml"/><Relationship Id="rId3" Type="http://schemas.openxmlformats.org/officeDocument/2006/relationships/slideLayout" Target="../slideLayouts/slideLayout12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image" Target="../media/image49.png"/><Relationship Id="rId2" Type="http://schemas.openxmlformats.org/officeDocument/2006/relationships/slideLayout" Target="../slideLayouts/slideLayout173.xml"/><Relationship Id="rId16" Type="http://schemas.openxmlformats.org/officeDocument/2006/relationships/theme" Target="../theme/theme7.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theme" Target="../theme/theme8.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2593151840"/>
      </p:ext>
    </p:extLst>
  </p:cSld>
  <p:clrMap bg1="lt1" tx1="dk1" bg2="lt2" tx2="dk2" accent1="accent1" accent2="accent2" accent3="accent3" accent4="accent4" accent5="accent5" accent6="accent6" hlink="hlink" folHlink="folHlink"/>
  <p:sldLayoutIdLst>
    <p:sldLayoutId id="2147486926" r:id="rId1"/>
    <p:sldLayoutId id="2147486927" r:id="rId2"/>
    <p:sldLayoutId id="2147486928" r:id="rId3"/>
    <p:sldLayoutId id="2147486929" r:id="rId4"/>
    <p:sldLayoutId id="2147486930" r:id="rId5"/>
    <p:sldLayoutId id="2147486931" r:id="rId6"/>
    <p:sldLayoutId id="2147486932" r:id="rId7"/>
    <p:sldLayoutId id="2147486933" r:id="rId8"/>
    <p:sldLayoutId id="2147486934" r:id="rId9"/>
    <p:sldLayoutId id="2147486935" r:id="rId10"/>
    <p:sldLayoutId id="2147486936" r:id="rId11"/>
    <p:sldLayoutId id="2147486937" r:id="rId12"/>
    <p:sldLayoutId id="2147486938" r:id="rId13"/>
    <p:sldLayoutId id="2147486939" r:id="rId14"/>
    <p:sldLayoutId id="2147487694" r:id="rId15"/>
    <p:sldLayoutId id="2147487720" r:id="rId16"/>
  </p:sldLayoutIdLst>
  <p:transition>
    <p:fade/>
  </p:transition>
  <p:txStyles>
    <p:title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3123185279"/>
      </p:ext>
    </p:extLst>
  </p:cSld>
  <p:clrMap bg1="lt1" tx1="dk1" bg2="lt2" tx2="dk2" accent1="accent1" accent2="accent2" accent3="accent3" accent4="accent4" accent5="accent5" accent6="accent6" hlink="hlink" folHlink="folHlink"/>
  <p:sldLayoutIdLst>
    <p:sldLayoutId id="2147486967" r:id="rId1"/>
    <p:sldLayoutId id="2147486968" r:id="rId2"/>
    <p:sldLayoutId id="2147486969" r:id="rId3"/>
    <p:sldLayoutId id="2147486970" r:id="rId4"/>
    <p:sldLayoutId id="2147486971" r:id="rId5"/>
    <p:sldLayoutId id="2147486972" r:id="rId6"/>
    <p:sldLayoutId id="2147486973" r:id="rId7"/>
    <p:sldLayoutId id="2147486974" r:id="rId8"/>
    <p:sldLayoutId id="2147486975" r:id="rId9"/>
    <p:sldLayoutId id="2147486976" r:id="rId10"/>
    <p:sldLayoutId id="2147486977" r:id="rId11"/>
    <p:sldLayoutId id="2147486978" r:id="rId12"/>
    <p:sldLayoutId id="2147486979" r:id="rId13"/>
    <p:sldLayoutId id="2147486980" r:id="rId14"/>
    <p:sldLayoutId id="2147486981" r:id="rId15"/>
    <p:sldLayoutId id="2147486982" r:id="rId16"/>
    <p:sldLayoutId id="2147486983" r:id="rId17"/>
    <p:sldLayoutId id="2147486984" r:id="rId18"/>
    <p:sldLayoutId id="2147486985" r:id="rId19"/>
    <p:sldLayoutId id="2147487089" r:id="rId20"/>
    <p:sldLayoutId id="2147487695" r:id="rId21"/>
    <p:sldLayoutId id="2147487697" r:id="rId22"/>
  </p:sldLayoutIdLst>
  <p:transition>
    <p:fade/>
  </p:transition>
  <p:txStyles>
    <p:title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2" y="-8231"/>
            <a:ext cx="936855" cy="5662635"/>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3927"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3927"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3927"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3927"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14192"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marL="0" algn="l" defTabSz="914192"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11494720"/>
      </p:ext>
    </p:extLst>
  </p:cSld>
  <p:clrMap bg1="lt1" tx1="dk1" bg2="lt2" tx2="dk2" accent1="accent1" accent2="accent2" accent3="accent3" accent4="accent4" accent5="accent5" accent6="accent6" hlink="hlink" folHlink="folHlink"/>
  <p:sldLayoutIdLst>
    <p:sldLayoutId id="2147486990" r:id="rId1"/>
    <p:sldLayoutId id="2147486991" r:id="rId2"/>
    <p:sldLayoutId id="2147486992" r:id="rId3"/>
    <p:sldLayoutId id="2147486993" r:id="rId4"/>
    <p:sldLayoutId id="2147486994" r:id="rId5"/>
    <p:sldLayoutId id="2147486995" r:id="rId6"/>
    <p:sldLayoutId id="2147486996" r:id="rId7"/>
    <p:sldLayoutId id="2147486997" r:id="rId8"/>
    <p:sldLayoutId id="2147486998" r:id="rId9"/>
    <p:sldLayoutId id="2147486999" r:id="rId10"/>
    <p:sldLayoutId id="2147487000" r:id="rId11"/>
    <p:sldLayoutId id="2147487001" r:id="rId12"/>
    <p:sldLayoutId id="2147487002" r:id="rId13"/>
    <p:sldLayoutId id="2147487003" r:id="rId14"/>
    <p:sldLayoutId id="2147487004" r:id="rId15"/>
    <p:sldLayoutId id="2147487005" r:id="rId16"/>
    <p:sldLayoutId id="2147487006" r:id="rId17"/>
    <p:sldLayoutId id="2147487007" r:id="rId18"/>
    <p:sldLayoutId id="2147487008" r:id="rId19"/>
    <p:sldLayoutId id="2147487009" r:id="rId20"/>
    <p:sldLayoutId id="2147487010" r:id="rId21"/>
    <p:sldLayoutId id="2147487011" r:id="rId22"/>
    <p:sldLayoutId id="2147487012" r:id="rId23"/>
    <p:sldLayoutId id="2147487013" r:id="rId24"/>
    <p:sldLayoutId id="2147487014" r:id="rId25"/>
    <p:sldLayoutId id="2147487015" r:id="rId26"/>
    <p:sldLayoutId id="2147487016" r:id="rId27"/>
    <p:sldLayoutId id="2147487017" r:id="rId2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dirty="0"/>
              <a:t>Click to edit Master text styles</a:t>
            </a:r>
          </a:p>
        </p:txBody>
      </p:sp>
      <p:sp>
        <p:nvSpPr>
          <p:cNvPr id="3" name="MSIPCMContentMarking" descr="{&quot;HashCode&quot;:231139426,&quot;Placement&quot;:&quot;Footer&quot;}">
            <a:extLst>
              <a:ext uri="{FF2B5EF4-FFF2-40B4-BE49-F238E27FC236}">
                <a16:creationId xmlns:a16="http://schemas.microsoft.com/office/drawing/2014/main" id="{6ACA3897-E0F9-457E-92D1-9505763E5558}"/>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990444954"/>
      </p:ext>
    </p:extLst>
  </p:cSld>
  <p:clrMap bg1="lt1" tx1="dk1" bg2="lt2" tx2="dk2" accent1="accent1" accent2="accent2" accent3="accent3" accent4="accent4" accent5="accent5" accent6="accent6" hlink="hlink" folHlink="folHlink"/>
  <p:sldLayoutIdLst>
    <p:sldLayoutId id="2147487146" r:id="rId1"/>
    <p:sldLayoutId id="2147487147" r:id="rId2"/>
    <p:sldLayoutId id="2147487148" r:id="rId3"/>
    <p:sldLayoutId id="2147487149" r:id="rId4"/>
    <p:sldLayoutId id="2147487150" r:id="rId5"/>
    <p:sldLayoutId id="2147487151" r:id="rId6"/>
    <p:sldLayoutId id="2147487152" r:id="rId7"/>
    <p:sldLayoutId id="2147487153" r:id="rId8"/>
    <p:sldLayoutId id="2147487154" r:id="rId9"/>
    <p:sldLayoutId id="2147487155" r:id="rId10"/>
    <p:sldLayoutId id="2147487156" r:id="rId11"/>
    <p:sldLayoutId id="2147487157" r:id="rId12"/>
    <p:sldLayoutId id="2147487158" r:id="rId13"/>
    <p:sldLayoutId id="2147487159" r:id="rId14"/>
    <p:sldLayoutId id="2147487160" r:id="rId15"/>
    <p:sldLayoutId id="2147487161" r:id="rId16"/>
    <p:sldLayoutId id="2147487162" r:id="rId17"/>
    <p:sldLayoutId id="2147487163" r:id="rId18"/>
    <p:sldLayoutId id="2147487164" r:id="rId19"/>
    <p:sldLayoutId id="2147487165" r:id="rId20"/>
    <p:sldLayoutId id="2147487166" r:id="rId21"/>
    <p:sldLayoutId id="2147487167" r:id="rId22"/>
    <p:sldLayoutId id="2147487168" r:id="rId23"/>
    <p:sldLayoutId id="2147487169" r:id="rId24"/>
    <p:sldLayoutId id="2147487170" r:id="rId25"/>
    <p:sldLayoutId id="2147487171" r:id="rId26"/>
    <p:sldLayoutId id="2147487172" r:id="rId27"/>
    <p:sldLayoutId id="2147487173" r:id="rId28"/>
    <p:sldLayoutId id="2147487174" r:id="rId29"/>
    <p:sldLayoutId id="2147487175" r:id="rId30"/>
    <p:sldLayoutId id="2147487176" r:id="rId31"/>
    <p:sldLayoutId id="2147487177" r:id="rId32"/>
    <p:sldLayoutId id="2147487178" r:id="rId33"/>
    <p:sldLayoutId id="2147487179" r:id="rId34"/>
    <p:sldLayoutId id="2147487180" r:id="rId35"/>
  </p:sldLayoutIdLst>
  <p:transition>
    <p:fade/>
  </p:transition>
  <p:txStyles>
    <p:titleStyle>
      <a:lvl1pPr algn="l" defTabSz="913505" rtl="0" eaLnBrk="1" fontAlgn="base" hangingPunct="1">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3207039"/>
      </p:ext>
    </p:extLst>
  </p:cSld>
  <p:clrMap bg1="dk1" tx1="lt1" bg2="dk2" tx2="lt2" accent1="accent1" accent2="accent2" accent3="accent3" accent4="accent4" accent5="accent5" accent6="accent6" hlink="hlink" folHlink="folHlink"/>
  <p:sldLayoutIdLst>
    <p:sldLayoutId id="2147487245" r:id="rId1"/>
    <p:sldLayoutId id="2147487246" r:id="rId2"/>
    <p:sldLayoutId id="2147487247" r:id="rId3"/>
    <p:sldLayoutId id="2147487248" r:id="rId4"/>
    <p:sldLayoutId id="2147487249" r:id="rId5"/>
    <p:sldLayoutId id="2147487250" r:id="rId6"/>
    <p:sldLayoutId id="2147487251" r:id="rId7"/>
    <p:sldLayoutId id="2147487252" r:id="rId8"/>
    <p:sldLayoutId id="2147487253" r:id="rId9"/>
    <p:sldLayoutId id="2147487254" r:id="rId10"/>
    <p:sldLayoutId id="2147487255" r:id="rId11"/>
    <p:sldLayoutId id="2147487256" r:id="rId12"/>
    <p:sldLayoutId id="2147487257" r:id="rId13"/>
    <p:sldLayoutId id="2147487258" r:id="rId14"/>
    <p:sldLayoutId id="2147487259" r:id="rId15"/>
    <p:sldLayoutId id="2147487260" r:id="rId16"/>
    <p:sldLayoutId id="2147487261" r:id="rId17"/>
    <p:sldLayoutId id="2147487262" r:id="rId18"/>
    <p:sldLayoutId id="2147487263"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54"/>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076" name="think-cell Slide" r:id="rId55" imgW="270" imgH="270" progId="TCLayout.ActiveDocument.1">
                  <p:embed/>
                </p:oleObj>
              </mc:Choice>
              <mc:Fallback>
                <p:oleObj name="think-cell Slide" r:id="rId55" imgW="270" imgH="270" progId="TCLayout.ActiveDocument.1">
                  <p:embed/>
                  <p:pic>
                    <p:nvPicPr>
                      <p:cNvPr id="6" name="Object 5" hidden="1"/>
                      <p:cNvPicPr/>
                      <p:nvPr/>
                    </p:nvPicPr>
                    <p:blipFill>
                      <a:blip r:embed="rId56"/>
                      <a:stretch>
                        <a:fillRect/>
                      </a:stretch>
                    </p:blipFill>
                    <p:spPr>
                      <a:xfrm>
                        <a:off x="1556" y="1558"/>
                        <a:ext cx="1557" cy="1556"/>
                      </a:xfrm>
                      <a:prstGeom prst="rect">
                        <a:avLst/>
                      </a:prstGeom>
                    </p:spPr>
                  </p:pic>
                </p:oleObj>
              </mc:Fallback>
            </mc:AlternateContent>
          </a:graphicData>
        </a:graphic>
      </p:graphicFrame>
      <p:sp>
        <p:nvSpPr>
          <p:cNvPr id="2" name="Title Placeholder 1"/>
          <p:cNvSpPr>
            <a:spLocks noGrp="1"/>
          </p:cNvSpPr>
          <p:nvPr>
            <p:ph type="title"/>
          </p:nvPr>
        </p:nvSpPr>
        <p:spPr>
          <a:xfrm>
            <a:off x="573713" y="289513"/>
            <a:ext cx="11049622" cy="899665"/>
          </a:xfrm>
          <a:prstGeom prst="rect">
            <a:avLst/>
          </a:prstGeom>
        </p:spPr>
        <p:txBody>
          <a:bodyPr vert="horz" wrap="square" lIns="0"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73713" y="1345751"/>
            <a:ext cx="11047424" cy="2052030"/>
          </a:xfrm>
          <a:prstGeom prst="rect">
            <a:avLst/>
          </a:prstGeom>
        </p:spPr>
        <p:txBody>
          <a:bodyPr vert="horz" wrap="square" lIns="0" tIns="146304" rIns="182880" bIns="146304"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11068359" y="6561765"/>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3917">
              <a:defRPr/>
            </a:pPr>
            <a:fld id="{27258FFF-F925-446B-8502-81C933981705}" type="slidenum">
              <a:rPr>
                <a:solidFill>
                  <a:srgbClr val="505050"/>
                </a:solidFill>
              </a:rPr>
              <a:pPr defTabSz="913917">
                <a:defRPr/>
              </a:pPr>
              <a:t>‹#›</a:t>
            </a:fld>
            <a:endParaRPr>
              <a:solidFill>
                <a:srgbClr val="505050"/>
              </a:solidFill>
            </a:endParaRPr>
          </a:p>
        </p:txBody>
      </p:sp>
    </p:spTree>
    <p:extLst>
      <p:ext uri="{BB962C8B-B14F-4D97-AF65-F5344CB8AC3E}">
        <p14:creationId xmlns:p14="http://schemas.microsoft.com/office/powerpoint/2010/main" val="2479137523"/>
      </p:ext>
    </p:extLst>
  </p:cSld>
  <p:clrMap bg1="lt1" tx1="dk1" bg2="lt2" tx2="dk2" accent1="accent1" accent2="accent2" accent3="accent3" accent4="accent4" accent5="accent5" accent6="accent6" hlink="hlink" folHlink="folHlink"/>
  <p:sldLayoutIdLst>
    <p:sldLayoutId id="2147487297" r:id="rId1"/>
    <p:sldLayoutId id="2147487298" r:id="rId2"/>
    <p:sldLayoutId id="2147487299" r:id="rId3"/>
    <p:sldLayoutId id="2147487300" r:id="rId4"/>
    <p:sldLayoutId id="2147487301" r:id="rId5"/>
    <p:sldLayoutId id="2147487302" r:id="rId6"/>
    <p:sldLayoutId id="2147487303" r:id="rId7"/>
    <p:sldLayoutId id="2147487304" r:id="rId8"/>
    <p:sldLayoutId id="2147487305" r:id="rId9"/>
    <p:sldLayoutId id="2147487306" r:id="rId10"/>
    <p:sldLayoutId id="2147487307" r:id="rId11"/>
    <p:sldLayoutId id="2147487308" r:id="rId12"/>
    <p:sldLayoutId id="2147487309" r:id="rId13"/>
    <p:sldLayoutId id="2147487310" r:id="rId14"/>
    <p:sldLayoutId id="2147487311" r:id="rId15"/>
    <p:sldLayoutId id="2147487312" r:id="rId16"/>
    <p:sldLayoutId id="2147487313" r:id="rId17"/>
    <p:sldLayoutId id="2147487314" r:id="rId18"/>
    <p:sldLayoutId id="2147487315" r:id="rId19"/>
    <p:sldLayoutId id="2147487316" r:id="rId20"/>
    <p:sldLayoutId id="2147487317" r:id="rId21"/>
    <p:sldLayoutId id="2147487318" r:id="rId22"/>
    <p:sldLayoutId id="2147487319" r:id="rId23"/>
    <p:sldLayoutId id="2147487320" r:id="rId24"/>
    <p:sldLayoutId id="2147487321" r:id="rId25"/>
    <p:sldLayoutId id="2147487322" r:id="rId26"/>
    <p:sldLayoutId id="2147487323" r:id="rId27"/>
    <p:sldLayoutId id="2147487324" r:id="rId28"/>
    <p:sldLayoutId id="2147487325" r:id="rId29"/>
    <p:sldLayoutId id="2147487326" r:id="rId30"/>
    <p:sldLayoutId id="2147487327" r:id="rId31"/>
    <p:sldLayoutId id="2147487328" r:id="rId32"/>
    <p:sldLayoutId id="2147487329" r:id="rId33"/>
    <p:sldLayoutId id="2147487330" r:id="rId34"/>
    <p:sldLayoutId id="2147487331" r:id="rId35"/>
    <p:sldLayoutId id="2147487332" r:id="rId36"/>
    <p:sldLayoutId id="2147487333" r:id="rId37"/>
    <p:sldLayoutId id="2147487334" r:id="rId38"/>
    <p:sldLayoutId id="2147487335" r:id="rId39"/>
    <p:sldLayoutId id="2147487336" r:id="rId40"/>
    <p:sldLayoutId id="2147487337" r:id="rId41"/>
    <p:sldLayoutId id="2147487338" r:id="rId42"/>
    <p:sldLayoutId id="2147487339" r:id="rId43"/>
    <p:sldLayoutId id="2147487340" r:id="rId44"/>
    <p:sldLayoutId id="2147487341" r:id="rId45"/>
    <p:sldLayoutId id="2147487342" r:id="rId46"/>
    <p:sldLayoutId id="2147487343" r:id="rId47"/>
    <p:sldLayoutId id="2147487344" r:id="rId48"/>
    <p:sldLayoutId id="2147487345" r:id="rId49"/>
    <p:sldLayoutId id="2147487346" r:id="rId50"/>
    <p:sldLayoutId id="2147487696" r:id="rId51"/>
  </p:sldLayoutIdLst>
  <p:transition spd="med">
    <p:fade/>
  </p:transition>
  <p:hf hdr="0" dt="0"/>
  <p:txStyles>
    <p:titleStyle>
      <a:lvl1pPr algn="l" defTabSz="913917" rtl="0" eaLnBrk="1" latinLnBrk="0" hangingPunct="1">
        <a:lnSpc>
          <a:spcPct val="90000"/>
        </a:lnSpc>
        <a:spcBef>
          <a:spcPct val="0"/>
        </a:spcBef>
        <a:buNone/>
        <a:defRPr lang="en-US" sz="5291" b="0" kern="1200" cap="none" spc="-100" baseline="0" dirty="0" smtClean="0">
          <a:ln w="3175">
            <a:noFill/>
          </a:ln>
          <a:solidFill>
            <a:schemeClr val="tx2"/>
          </a:solidFill>
          <a:effectLst/>
          <a:latin typeface="+mj-lt"/>
          <a:ea typeface="+mn-ea"/>
          <a:cs typeface="Segoe UI" pitchFamily="34" charset="0"/>
        </a:defRPr>
      </a:lvl1pPr>
    </p:titleStyle>
    <p:bodyStyle>
      <a:lvl1pPr marL="335979" marR="0" indent="-335979" algn="l" defTabSz="913917"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solidFill>
            <a:schemeClr val="tx2"/>
          </a:solidFill>
          <a:latin typeface="+mj-lt"/>
          <a:ea typeface="+mn-ea"/>
          <a:cs typeface="+mn-cs"/>
        </a:defRPr>
      </a:lvl1pPr>
      <a:lvl2pPr marL="572409" marR="0" indent="-236430" algn="l" defTabSz="913917"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tx2"/>
          </a:solidFill>
          <a:latin typeface="+mn-lt"/>
          <a:ea typeface="+mn-ea"/>
          <a:cs typeface="+mn-cs"/>
        </a:defRPr>
      </a:lvl2pPr>
      <a:lvl3pPr marL="783953"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tx2"/>
          </a:solidFill>
          <a:latin typeface="+mn-lt"/>
          <a:ea typeface="+mn-ea"/>
          <a:cs typeface="+mn-cs"/>
        </a:defRPr>
      </a:lvl3pPr>
      <a:lvl4pPr marL="1007939"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4pPr>
      <a:lvl5pPr marL="1231924"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5pPr>
      <a:lvl6pPr marL="2513273"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1"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0"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7" rtl="0" eaLnBrk="1" latinLnBrk="0" hangingPunct="1">
        <a:defRPr sz="1764" kern="1200">
          <a:solidFill>
            <a:schemeClr val="tx1"/>
          </a:solidFill>
          <a:latin typeface="+mn-lt"/>
          <a:ea typeface="+mn-ea"/>
          <a:cs typeface="+mn-cs"/>
        </a:defRPr>
      </a:lvl1pPr>
      <a:lvl2pPr marL="456958" algn="l" defTabSz="913917" rtl="0" eaLnBrk="1" latinLnBrk="0" hangingPunct="1">
        <a:defRPr sz="1764" kern="1200">
          <a:solidFill>
            <a:schemeClr val="tx1"/>
          </a:solidFill>
          <a:latin typeface="+mn-lt"/>
          <a:ea typeface="+mn-ea"/>
          <a:cs typeface="+mn-cs"/>
        </a:defRPr>
      </a:lvl2pPr>
      <a:lvl3pPr marL="913917" algn="l" defTabSz="913917" rtl="0" eaLnBrk="1" latinLnBrk="0" hangingPunct="1">
        <a:defRPr sz="1764" kern="1200">
          <a:solidFill>
            <a:schemeClr val="tx1"/>
          </a:solidFill>
          <a:latin typeface="+mn-lt"/>
          <a:ea typeface="+mn-ea"/>
          <a:cs typeface="+mn-cs"/>
        </a:defRPr>
      </a:lvl3pPr>
      <a:lvl4pPr marL="1370876" algn="l" defTabSz="913917" rtl="0" eaLnBrk="1" latinLnBrk="0" hangingPunct="1">
        <a:defRPr sz="1764" kern="1200">
          <a:solidFill>
            <a:schemeClr val="tx1"/>
          </a:solidFill>
          <a:latin typeface="+mn-lt"/>
          <a:ea typeface="+mn-ea"/>
          <a:cs typeface="+mn-cs"/>
        </a:defRPr>
      </a:lvl4pPr>
      <a:lvl5pPr marL="1827834" algn="l" defTabSz="913917" rtl="0" eaLnBrk="1" latinLnBrk="0" hangingPunct="1">
        <a:defRPr sz="1764" kern="1200">
          <a:solidFill>
            <a:schemeClr val="tx1"/>
          </a:solidFill>
          <a:latin typeface="+mn-lt"/>
          <a:ea typeface="+mn-ea"/>
          <a:cs typeface="+mn-cs"/>
        </a:defRPr>
      </a:lvl5pPr>
      <a:lvl6pPr marL="2284793" algn="l" defTabSz="913917" rtl="0" eaLnBrk="1" latinLnBrk="0" hangingPunct="1">
        <a:defRPr sz="1764" kern="1200">
          <a:solidFill>
            <a:schemeClr val="tx1"/>
          </a:solidFill>
          <a:latin typeface="+mn-lt"/>
          <a:ea typeface="+mn-ea"/>
          <a:cs typeface="+mn-cs"/>
        </a:defRPr>
      </a:lvl6pPr>
      <a:lvl7pPr marL="2741751" algn="l" defTabSz="913917" rtl="0" eaLnBrk="1" latinLnBrk="0" hangingPunct="1">
        <a:defRPr sz="1764" kern="1200">
          <a:solidFill>
            <a:schemeClr val="tx1"/>
          </a:solidFill>
          <a:latin typeface="+mn-lt"/>
          <a:ea typeface="+mn-ea"/>
          <a:cs typeface="+mn-cs"/>
        </a:defRPr>
      </a:lvl7pPr>
      <a:lvl8pPr marL="3198710" algn="l" defTabSz="913917" rtl="0" eaLnBrk="1" latinLnBrk="0" hangingPunct="1">
        <a:defRPr sz="1764" kern="1200">
          <a:solidFill>
            <a:schemeClr val="tx1"/>
          </a:solidFill>
          <a:latin typeface="+mn-lt"/>
          <a:ea typeface="+mn-ea"/>
          <a:cs typeface="+mn-cs"/>
        </a:defRPr>
      </a:lvl8pPr>
      <a:lvl9pPr marL="3655670" algn="l" defTabSz="91391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87">
          <p15:clr>
            <a:srgbClr val="F26B43"/>
          </p15:clr>
        </p15:guide>
        <p15:guide id="2" pos="365">
          <p15:clr>
            <a:srgbClr val="F26B43"/>
          </p15:clr>
        </p15:guide>
        <p15:guide id="3" pos="7469">
          <p15:clr>
            <a:srgbClr val="F26B43"/>
          </p15:clr>
        </p15:guide>
        <p15:guide id="4" orient="horz" pos="859">
          <p15:clr>
            <a:srgbClr val="F26B43"/>
          </p15:clr>
        </p15:guide>
        <p15:guide id="5" orient="horz" pos="407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66502686"/>
      </p:ext>
    </p:extLst>
  </p:cSld>
  <p:clrMap bg1="dk1" tx1="lt1" bg2="dk2" tx2="lt2" accent1="accent1" accent2="accent2" accent3="accent3" accent4="accent4" accent5="accent5" accent6="accent6" hlink="hlink" folHlink="folHlink"/>
  <p:sldLayoutIdLst>
    <p:sldLayoutId id="2147487609" r:id="rId1"/>
    <p:sldLayoutId id="2147487610" r:id="rId2"/>
    <p:sldLayoutId id="2147487611" r:id="rId3"/>
    <p:sldLayoutId id="2147487612" r:id="rId4"/>
    <p:sldLayoutId id="2147487613" r:id="rId5"/>
    <p:sldLayoutId id="2147487614" r:id="rId6"/>
    <p:sldLayoutId id="2147487615" r:id="rId7"/>
    <p:sldLayoutId id="2147487616" r:id="rId8"/>
    <p:sldLayoutId id="2147487617" r:id="rId9"/>
    <p:sldLayoutId id="2147487618" r:id="rId10"/>
    <p:sldLayoutId id="2147487619" r:id="rId11"/>
    <p:sldLayoutId id="2147487620" r:id="rId12"/>
    <p:sldLayoutId id="2147487622" r:id="rId13"/>
    <p:sldLayoutId id="2147487623" r:id="rId14"/>
    <p:sldLayoutId id="2147487624"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483086618"/>
      </p:ext>
    </p:extLst>
  </p:cSld>
  <p:clrMap bg1="lt1" tx1="dk1" bg2="lt2" tx2="dk2" accent1="accent1" accent2="accent2" accent3="accent3" accent4="accent4" accent5="accent5" accent6="accent6" hlink="hlink" folHlink="folHlink"/>
  <p:sldLayoutIdLst>
    <p:sldLayoutId id="2147487699" r:id="rId1"/>
    <p:sldLayoutId id="2147487700" r:id="rId2"/>
    <p:sldLayoutId id="2147487701" r:id="rId3"/>
    <p:sldLayoutId id="2147487702" r:id="rId4"/>
    <p:sldLayoutId id="2147487703" r:id="rId5"/>
    <p:sldLayoutId id="2147487704" r:id="rId6"/>
    <p:sldLayoutId id="2147487705" r:id="rId7"/>
    <p:sldLayoutId id="2147487706" r:id="rId8"/>
    <p:sldLayoutId id="2147487707" r:id="rId9"/>
    <p:sldLayoutId id="2147487708" r:id="rId10"/>
    <p:sldLayoutId id="2147487709" r:id="rId11"/>
    <p:sldLayoutId id="2147487710" r:id="rId12"/>
    <p:sldLayoutId id="2147487711" r:id="rId13"/>
    <p:sldLayoutId id="2147487712" r:id="rId14"/>
    <p:sldLayoutId id="2147487713" r:id="rId15"/>
    <p:sldLayoutId id="2147487714" r:id="rId16"/>
    <p:sldLayoutId id="2147487715" r:id="rId17"/>
    <p:sldLayoutId id="2147487716" r:id="rId18"/>
    <p:sldLayoutId id="2147487717" r:id="rId19"/>
    <p:sldLayoutId id="2147487718" r:id="rId20"/>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18" Type="http://schemas.openxmlformats.org/officeDocument/2006/relationships/image" Target="../media/image89.png"/><Relationship Id="rId3" Type="http://schemas.openxmlformats.org/officeDocument/2006/relationships/image" Target="../media/image74.png"/><Relationship Id="rId21" Type="http://schemas.openxmlformats.org/officeDocument/2006/relationships/image" Target="../media/image92.png"/><Relationship Id="rId7" Type="http://schemas.openxmlformats.org/officeDocument/2006/relationships/image" Target="../media/image78.png"/><Relationship Id="rId12" Type="http://schemas.openxmlformats.org/officeDocument/2006/relationships/image" Target="../media/image83.png"/><Relationship Id="rId17" Type="http://schemas.openxmlformats.org/officeDocument/2006/relationships/image" Target="../media/image88.png"/><Relationship Id="rId2" Type="http://schemas.openxmlformats.org/officeDocument/2006/relationships/notesSlide" Target="../notesSlides/notesSlide10.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slideLayout" Target="../slideLayouts/slideLayout16.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5" Type="http://schemas.openxmlformats.org/officeDocument/2006/relationships/image" Target="../media/image86.png"/><Relationship Id="rId10" Type="http://schemas.openxmlformats.org/officeDocument/2006/relationships/image" Target="../media/image81.png"/><Relationship Id="rId19" Type="http://schemas.openxmlformats.org/officeDocument/2006/relationships/image" Target="../media/image90.pn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png"/></Relationships>
</file>

<file path=ppt/slides/_rels/slide11.xml.rels><?xml version="1.0" encoding="UTF-8" standalone="yes"?>
<Relationships xmlns="http://schemas.openxmlformats.org/package/2006/relationships"><Relationship Id="rId3" Type="http://schemas.openxmlformats.org/officeDocument/2006/relationships/image" Target="../media/image93.jpg"/><Relationship Id="rId7" Type="http://schemas.openxmlformats.org/officeDocument/2006/relationships/image" Target="../media/image97.jp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96.png"/><Relationship Id="rId5" Type="http://schemas.openxmlformats.org/officeDocument/2006/relationships/image" Target="../media/image95.jpg"/><Relationship Id="rId4" Type="http://schemas.openxmlformats.org/officeDocument/2006/relationships/image" Target="../media/image94.jpg"/></Relationships>
</file>

<file path=ppt/slides/_rels/slide12.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2.png"/><Relationship Id="rId18" Type="http://schemas.openxmlformats.org/officeDocument/2006/relationships/image" Target="../media/image107.png"/><Relationship Id="rId3" Type="http://schemas.openxmlformats.org/officeDocument/2006/relationships/image" Target="../media/image75.png"/><Relationship Id="rId21" Type="http://schemas.openxmlformats.org/officeDocument/2006/relationships/image" Target="../media/image110.png"/><Relationship Id="rId7" Type="http://schemas.openxmlformats.org/officeDocument/2006/relationships/image" Target="../media/image79.png"/><Relationship Id="rId12" Type="http://schemas.openxmlformats.org/officeDocument/2006/relationships/image" Target="../media/image101.png"/><Relationship Id="rId17" Type="http://schemas.openxmlformats.org/officeDocument/2006/relationships/image" Target="../media/image106.png"/><Relationship Id="rId2" Type="http://schemas.openxmlformats.org/officeDocument/2006/relationships/notesSlide" Target="../notesSlides/notesSlide12.xml"/><Relationship Id="rId16" Type="http://schemas.openxmlformats.org/officeDocument/2006/relationships/image" Target="../media/image105.png"/><Relationship Id="rId20" Type="http://schemas.openxmlformats.org/officeDocument/2006/relationships/image" Target="../media/image109.png"/><Relationship Id="rId1" Type="http://schemas.openxmlformats.org/officeDocument/2006/relationships/slideLayout" Target="../slideLayouts/slideLayout16.xml"/><Relationship Id="rId6" Type="http://schemas.openxmlformats.org/officeDocument/2006/relationships/image" Target="../media/image78.png"/><Relationship Id="rId11" Type="http://schemas.openxmlformats.org/officeDocument/2006/relationships/image" Target="../media/image100.png"/><Relationship Id="rId5" Type="http://schemas.openxmlformats.org/officeDocument/2006/relationships/image" Target="../media/image77.png"/><Relationship Id="rId15" Type="http://schemas.openxmlformats.org/officeDocument/2006/relationships/image" Target="../media/image104.png"/><Relationship Id="rId10" Type="http://schemas.openxmlformats.org/officeDocument/2006/relationships/image" Target="../media/image99.png"/><Relationship Id="rId19" Type="http://schemas.openxmlformats.org/officeDocument/2006/relationships/image" Target="../media/image108.png"/><Relationship Id="rId4" Type="http://schemas.openxmlformats.org/officeDocument/2006/relationships/image" Target="../media/image76.png"/><Relationship Id="rId9" Type="http://schemas.openxmlformats.org/officeDocument/2006/relationships/image" Target="../media/image81.png"/><Relationship Id="rId14" Type="http://schemas.openxmlformats.org/officeDocument/2006/relationships/image" Target="../media/image103.png"/></Relationships>
</file>

<file path=ppt/slides/_rels/slide13.xml.rels><?xml version="1.0" encoding="UTF-8" standalone="yes"?>
<Relationships xmlns="http://schemas.openxmlformats.org/package/2006/relationships"><Relationship Id="rId3" Type="http://schemas.openxmlformats.org/officeDocument/2006/relationships/hyperlink" Target="https://www.microsoft.com/en-cy/cloud-platform/azure-active-directory-features" TargetMode="External"/><Relationship Id="rId2" Type="http://schemas.openxmlformats.org/officeDocument/2006/relationships/notesSlide" Target="../notesSlides/notesSlide13.xml"/><Relationship Id="rId1" Type="http://schemas.openxmlformats.org/officeDocument/2006/relationships/slideLayout" Target="../slideLayouts/slideLayout176.xml"/></Relationships>
</file>

<file path=ppt/slides/_rels/slide1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4.xml"/><Relationship Id="rId1" Type="http://schemas.openxmlformats.org/officeDocument/2006/relationships/slideLayout" Target="../slideLayouts/slideLayout17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5.xml"/></Relationships>
</file>

<file path=ppt/slides/_rels/slide1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8.xml"/><Relationship Id="rId1" Type="http://schemas.openxmlformats.org/officeDocument/2006/relationships/slideLayout" Target="../slideLayouts/slideLayout192.xml"/><Relationship Id="rId4" Type="http://schemas.openxmlformats.org/officeDocument/2006/relationships/image" Target="../media/image113.emf"/></Relationships>
</file>

<file path=ppt/slides/_rels/slide19.xml.rels><?xml version="1.0" encoding="UTF-8" standalone="yes"?>
<Relationships xmlns="http://schemas.openxmlformats.org/package/2006/relationships"><Relationship Id="rId8" Type="http://schemas.openxmlformats.org/officeDocument/2006/relationships/hyperlink" Target="https://docs.microsoft.com/en-us/azure/active-directory-domain-services/active-directory-ds-comparison#domain-join" TargetMode="External"/><Relationship Id="rId13" Type="http://schemas.openxmlformats.org/officeDocument/2006/relationships/hyperlink" Target="https://docs.microsoft.com/en-us/azure/active-directory-domain-services/active-directory-ds-comparison#ad-domain-or-forest-trusts" TargetMode="External"/><Relationship Id="rId18" Type="http://schemas.openxmlformats.org/officeDocument/2006/relationships/hyperlink" Target="https://docs.microsoft.com/en-us/azure/active-directory-domain-services/active-directory-ds-comparison#geo-dispersed-deployments" TargetMode="External"/><Relationship Id="rId3" Type="http://schemas.openxmlformats.org/officeDocument/2006/relationships/hyperlink" Target="https://docs.microsoft.com/en-us/azure/active-directory-domain-services/active-directory-ds-comparison" TargetMode="External"/><Relationship Id="rId7" Type="http://schemas.openxmlformats.org/officeDocument/2006/relationships/hyperlink" Target="https://docs.microsoft.com/en-us/azure/active-directory-domain-services/active-directory-ds-comparison#domain-or-enterprise-administrator-privileges" TargetMode="External"/><Relationship Id="rId12" Type="http://schemas.openxmlformats.org/officeDocument/2006/relationships/hyperlink" Target="https://docs.microsoft.com/en-us/azure/active-directory-domain-services/active-directory-ds-comparison#schema-extensions" TargetMode="External"/><Relationship Id="rId17" Type="http://schemas.openxmlformats.org/officeDocument/2006/relationships/hyperlink" Target="https://docs.microsoft.com/en-us/azure/active-directory-domain-services/active-directory-ds-comparison#group-policy" TargetMode="External"/><Relationship Id="rId2" Type="http://schemas.openxmlformats.org/officeDocument/2006/relationships/notesSlide" Target="../notesSlides/notesSlide19.xml"/><Relationship Id="rId16" Type="http://schemas.openxmlformats.org/officeDocument/2006/relationships/hyperlink" Target="https://docs.microsoft.com/en-us/azure/active-directory-domain-services/active-directory-ds-comparison#ldap-write" TargetMode="External"/><Relationship Id="rId1" Type="http://schemas.openxmlformats.org/officeDocument/2006/relationships/slideLayout" Target="../slideLayouts/slideLayout171.xml"/><Relationship Id="rId6" Type="http://schemas.openxmlformats.org/officeDocument/2006/relationships/hyperlink" Target="https://docs.microsoft.com/en-us/azure/active-directory-domain-services/active-directory-ds-comparison#dns-server" TargetMode="External"/><Relationship Id="rId11" Type="http://schemas.openxmlformats.org/officeDocument/2006/relationships/hyperlink" Target="https://docs.microsoft.com/en-us/azure/active-directory-domain-services/active-directory-ds-comparison#custom-ou-structure" TargetMode="External"/><Relationship Id="rId5" Type="http://schemas.openxmlformats.org/officeDocument/2006/relationships/hyperlink" Target="https://docs.microsoft.com/en-us/azure/active-directory-domain-services/active-directory-ds-comparison#secure-deployments" TargetMode="External"/><Relationship Id="rId15" Type="http://schemas.openxmlformats.org/officeDocument/2006/relationships/hyperlink" Target="https://docs.microsoft.com/en-us/azure/active-directory-domain-services/active-directory-ds-comparison#secure-ldap" TargetMode="External"/><Relationship Id="rId10" Type="http://schemas.openxmlformats.org/officeDocument/2006/relationships/hyperlink" Target="https://docs.microsoft.com/en-us/azure/active-directory-domain-services/active-directory-ds-comparison#kerberos-constrained-delegation" TargetMode="External"/><Relationship Id="rId4" Type="http://schemas.openxmlformats.org/officeDocument/2006/relationships/hyperlink" Target="https://docs.microsoft.com/en-us/azure/active-directory-domain-services/active-directory-ds-comparison#managed-service" TargetMode="External"/><Relationship Id="rId9" Type="http://schemas.openxmlformats.org/officeDocument/2006/relationships/hyperlink" Target="https://docs.microsoft.com/en-us/azure/active-directory-domain-services/active-directory-ds-comparison#domain-authentication-using-ntlm-and-kerberos" TargetMode="External"/><Relationship Id="rId14" Type="http://schemas.openxmlformats.org/officeDocument/2006/relationships/hyperlink" Target="https://docs.microsoft.com/en-us/azure/active-directory-domain-services/active-directory-ds-comparison#ldap-read"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active-directory/connect-health/active-directory-aadconnect-health" TargetMode="External"/><Relationship Id="rId2" Type="http://schemas.openxmlformats.org/officeDocument/2006/relationships/notesSlide" Target="../notesSlides/notesSlide21.xml"/><Relationship Id="rId1" Type="http://schemas.openxmlformats.org/officeDocument/2006/relationships/slideLayout" Target="../slideLayouts/slideLayout176.xml"/></Relationships>
</file>

<file path=ppt/slides/_rels/slide22.xml.rels><?xml version="1.0" encoding="UTF-8" standalone="yes"?>
<Relationships xmlns="http://schemas.openxmlformats.org/package/2006/relationships"><Relationship Id="rId8" Type="http://schemas.openxmlformats.org/officeDocument/2006/relationships/hyperlink" Target="https://docs.microsoft.com/en-us/azure/active-directory/connect/active-directory-aadconnect-feature-automatic-upgrade" TargetMode="External"/><Relationship Id="rId3" Type="http://schemas.openxmlformats.org/officeDocument/2006/relationships/hyperlink" Target="https://docs.microsoft.com/en-us/azure/active-directory/connect/active-directory-aadconnectsync-configure-filtering" TargetMode="External"/><Relationship Id="rId7" Type="http://schemas.openxmlformats.org/officeDocument/2006/relationships/hyperlink" Target="https://docs.microsoft.com/en-us/azure/active-directory/connect/active-directory-aadconnectsync-feature-prevent-accidental-deletes" TargetMode="External"/><Relationship Id="rId2" Type="http://schemas.openxmlformats.org/officeDocument/2006/relationships/notesSlide" Target="../notesSlides/notesSlide22.xml"/><Relationship Id="rId1" Type="http://schemas.openxmlformats.org/officeDocument/2006/relationships/slideLayout" Target="../slideLayouts/slideLayout176.xml"/><Relationship Id="rId6" Type="http://schemas.openxmlformats.org/officeDocument/2006/relationships/hyperlink" Target="https://docs.microsoft.com/en-us/azure/active-directory/connect/active-directory-aadconnect-feature-device-writeback" TargetMode="External"/><Relationship Id="rId5" Type="http://schemas.openxmlformats.org/officeDocument/2006/relationships/hyperlink" Target="https://docs.microsoft.com/en-us/azure/active-directory/active-directory-passwords-getting-started" TargetMode="External"/><Relationship Id="rId4" Type="http://schemas.openxmlformats.org/officeDocument/2006/relationships/hyperlink" Target="https://docs.microsoft.com/en-us/azure/active-directory/connect/active-directory-aadconnectsync-implement-password-synchronization"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4.xml"/><Relationship Id="rId1" Type="http://schemas.openxmlformats.org/officeDocument/2006/relationships/slideLayout" Target="../slideLayouts/slideLayout192.xml"/></Relationships>
</file>

<file path=ppt/slides/_rels/slide2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5.xml"/><Relationship Id="rId1" Type="http://schemas.openxmlformats.org/officeDocument/2006/relationships/slideLayout" Target="../slideLayouts/slideLayout192.xml"/><Relationship Id="rId4" Type="http://schemas.openxmlformats.org/officeDocument/2006/relationships/image" Target="../media/image61.emf"/></Relationships>
</file>

<file path=ppt/slides/_rels/slide2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6.xml"/><Relationship Id="rId1" Type="http://schemas.openxmlformats.org/officeDocument/2006/relationships/slideLayout" Target="../slideLayouts/slideLayout192.xml"/><Relationship Id="rId4" Type="http://schemas.openxmlformats.org/officeDocument/2006/relationships/image" Target="../media/image61.emf"/></Relationships>
</file>

<file path=ppt/slides/_rels/slide2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7.xml"/><Relationship Id="rId1" Type="http://schemas.openxmlformats.org/officeDocument/2006/relationships/slideLayout" Target="../slideLayouts/slideLayout192.xml"/><Relationship Id="rId4" Type="http://schemas.openxmlformats.org/officeDocument/2006/relationships/image" Target="../media/image61.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png"/><Relationship Id="rId18" Type="http://schemas.openxmlformats.org/officeDocument/2006/relationships/image" Target="../media/image130.png"/><Relationship Id="rId26" Type="http://schemas.openxmlformats.org/officeDocument/2006/relationships/image" Target="../media/image138.png"/><Relationship Id="rId3" Type="http://schemas.openxmlformats.org/officeDocument/2006/relationships/image" Target="../media/image113.emf"/><Relationship Id="rId21" Type="http://schemas.openxmlformats.org/officeDocument/2006/relationships/image" Target="../media/image133.png"/><Relationship Id="rId34" Type="http://schemas.openxmlformats.org/officeDocument/2006/relationships/image" Target="../media/image146.emf"/><Relationship Id="rId7" Type="http://schemas.openxmlformats.org/officeDocument/2006/relationships/image" Target="../media/image119.png"/><Relationship Id="rId12" Type="http://schemas.openxmlformats.org/officeDocument/2006/relationships/image" Target="../media/image124.png"/><Relationship Id="rId17" Type="http://schemas.openxmlformats.org/officeDocument/2006/relationships/image" Target="../media/image129.png"/><Relationship Id="rId25" Type="http://schemas.openxmlformats.org/officeDocument/2006/relationships/image" Target="../media/image137.png"/><Relationship Id="rId33" Type="http://schemas.openxmlformats.org/officeDocument/2006/relationships/image" Target="../media/image145.png"/><Relationship Id="rId2" Type="http://schemas.openxmlformats.org/officeDocument/2006/relationships/notesSlide" Target="../notesSlides/notesSlide29.xml"/><Relationship Id="rId16" Type="http://schemas.openxmlformats.org/officeDocument/2006/relationships/image" Target="../media/image128.png"/><Relationship Id="rId20" Type="http://schemas.openxmlformats.org/officeDocument/2006/relationships/image" Target="../media/image132.png"/><Relationship Id="rId29" Type="http://schemas.openxmlformats.org/officeDocument/2006/relationships/image" Target="../media/image141.png"/><Relationship Id="rId1" Type="http://schemas.openxmlformats.org/officeDocument/2006/relationships/slideLayout" Target="../slideLayouts/slideLayout80.xml"/><Relationship Id="rId6" Type="http://schemas.openxmlformats.org/officeDocument/2006/relationships/image" Target="../media/image118.png"/><Relationship Id="rId11" Type="http://schemas.openxmlformats.org/officeDocument/2006/relationships/image" Target="../media/image123.png"/><Relationship Id="rId24" Type="http://schemas.openxmlformats.org/officeDocument/2006/relationships/image" Target="../media/image136.png"/><Relationship Id="rId32" Type="http://schemas.openxmlformats.org/officeDocument/2006/relationships/image" Target="../media/image144.png"/><Relationship Id="rId5" Type="http://schemas.openxmlformats.org/officeDocument/2006/relationships/image" Target="../media/image117.jpeg"/><Relationship Id="rId15" Type="http://schemas.openxmlformats.org/officeDocument/2006/relationships/image" Target="../media/image127.png"/><Relationship Id="rId23" Type="http://schemas.openxmlformats.org/officeDocument/2006/relationships/image" Target="../media/image135.png"/><Relationship Id="rId28" Type="http://schemas.openxmlformats.org/officeDocument/2006/relationships/image" Target="../media/image140.png"/><Relationship Id="rId10" Type="http://schemas.openxmlformats.org/officeDocument/2006/relationships/image" Target="../media/image122.png"/><Relationship Id="rId19" Type="http://schemas.openxmlformats.org/officeDocument/2006/relationships/image" Target="../media/image131.png"/><Relationship Id="rId31" Type="http://schemas.openxmlformats.org/officeDocument/2006/relationships/image" Target="../media/image143.png"/><Relationship Id="rId4" Type="http://schemas.openxmlformats.org/officeDocument/2006/relationships/image" Target="../media/image116.png"/><Relationship Id="rId9" Type="http://schemas.openxmlformats.org/officeDocument/2006/relationships/image" Target="../media/image121.png"/><Relationship Id="rId14" Type="http://schemas.openxmlformats.org/officeDocument/2006/relationships/image" Target="../media/image126.png"/><Relationship Id="rId22" Type="http://schemas.openxmlformats.org/officeDocument/2006/relationships/image" Target="../media/image134.png"/><Relationship Id="rId27" Type="http://schemas.openxmlformats.org/officeDocument/2006/relationships/image" Target="../media/image139.png"/><Relationship Id="rId30" Type="http://schemas.openxmlformats.org/officeDocument/2006/relationships/image" Target="../media/image1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47.png"/><Relationship Id="rId7" Type="http://schemas.openxmlformats.org/officeDocument/2006/relationships/image" Target="../media/image130.png"/><Relationship Id="rId2" Type="http://schemas.openxmlformats.org/officeDocument/2006/relationships/notesSlide" Target="../notesSlides/notesSlide30.xml"/><Relationship Id="rId1" Type="http://schemas.openxmlformats.org/officeDocument/2006/relationships/slideLayout" Target="../slideLayouts/slideLayout192.xml"/><Relationship Id="rId6" Type="http://schemas.openxmlformats.org/officeDocument/2006/relationships/image" Target="../media/image124.png"/><Relationship Id="rId5" Type="http://schemas.openxmlformats.org/officeDocument/2006/relationships/image" Target="../media/image115.png"/><Relationship Id="rId10" Type="http://schemas.openxmlformats.org/officeDocument/2006/relationships/image" Target="../media/image61.emf"/><Relationship Id="rId4" Type="http://schemas.openxmlformats.org/officeDocument/2006/relationships/image" Target="../media/image148.png"/><Relationship Id="rId9" Type="http://schemas.openxmlformats.org/officeDocument/2006/relationships/image" Target="../media/image149.png"/></Relationships>
</file>

<file path=ppt/slides/_rels/slide31.xml.rels><?xml version="1.0" encoding="UTF-8" standalone="yes"?>
<Relationships xmlns="http://schemas.openxmlformats.org/package/2006/relationships"><Relationship Id="rId8" Type="http://schemas.openxmlformats.org/officeDocument/2006/relationships/image" Target="../media/image154.png"/><Relationship Id="rId13" Type="http://schemas.openxmlformats.org/officeDocument/2006/relationships/image" Target="../media/image81.png"/><Relationship Id="rId3" Type="http://schemas.openxmlformats.org/officeDocument/2006/relationships/image" Target="../media/image150.jpg"/><Relationship Id="rId7" Type="http://schemas.openxmlformats.org/officeDocument/2006/relationships/image" Target="../media/image153.png"/><Relationship Id="rId12" Type="http://schemas.openxmlformats.org/officeDocument/2006/relationships/image" Target="../media/image157.png"/><Relationship Id="rId2" Type="http://schemas.openxmlformats.org/officeDocument/2006/relationships/notesSlide" Target="../notesSlides/notesSlide31.xml"/><Relationship Id="rId1" Type="http://schemas.openxmlformats.org/officeDocument/2006/relationships/slideLayout" Target="../slideLayouts/slideLayout192.xml"/><Relationship Id="rId6" Type="http://schemas.microsoft.com/office/2007/relationships/hdphoto" Target="../media/hdphoto3.wdp"/><Relationship Id="rId11" Type="http://schemas.openxmlformats.org/officeDocument/2006/relationships/image" Target="../media/image156.png"/><Relationship Id="rId5" Type="http://schemas.openxmlformats.org/officeDocument/2006/relationships/image" Target="../media/image152.png"/><Relationship Id="rId10" Type="http://schemas.openxmlformats.org/officeDocument/2006/relationships/image" Target="../media/image155.png"/><Relationship Id="rId4" Type="http://schemas.openxmlformats.org/officeDocument/2006/relationships/image" Target="../media/image151.png"/><Relationship Id="rId9" Type="http://schemas.openxmlformats.org/officeDocument/2006/relationships/image" Target="../media/image149.png"/><Relationship Id="rId14" Type="http://schemas.openxmlformats.org/officeDocument/2006/relationships/image" Target="../media/image15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notesSlide" Target="../notesSlides/notesSlide33.xml"/><Relationship Id="rId1" Type="http://schemas.openxmlformats.org/officeDocument/2006/relationships/slideLayout" Target="../slideLayouts/slideLayout32.xml"/><Relationship Id="rId5" Type="http://schemas.openxmlformats.org/officeDocument/2006/relationships/image" Target="../media/image160.png"/><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8.xml"/></Relationships>
</file>

<file path=ppt/slides/_rels/slide5.xml.rels><?xml version="1.0" encoding="UTF-8" standalone="yes"?>
<Relationships xmlns="http://schemas.openxmlformats.org/package/2006/relationships"><Relationship Id="rId8" Type="http://schemas.openxmlformats.org/officeDocument/2006/relationships/image" Target="../media/image66.png"/><Relationship Id="rId13" Type="http://schemas.microsoft.com/office/2007/relationships/hdphoto" Target="../media/hdphoto1.wdp"/><Relationship Id="rId3" Type="http://schemas.openxmlformats.org/officeDocument/2006/relationships/image" Target="../media/image61.emf"/><Relationship Id="rId7" Type="http://schemas.openxmlformats.org/officeDocument/2006/relationships/image" Target="../media/image65.png"/><Relationship Id="rId12" Type="http://schemas.openxmlformats.org/officeDocument/2006/relationships/image" Target="../media/image70.png"/><Relationship Id="rId17" Type="http://schemas.microsoft.com/office/2007/relationships/hdphoto" Target="../media/hdphoto2.wdp"/><Relationship Id="rId2" Type="http://schemas.openxmlformats.org/officeDocument/2006/relationships/notesSlide" Target="../notesSlides/notesSlide5.xml"/><Relationship Id="rId16" Type="http://schemas.openxmlformats.org/officeDocument/2006/relationships/image" Target="../media/image73.png"/><Relationship Id="rId1" Type="http://schemas.openxmlformats.org/officeDocument/2006/relationships/slideLayout" Target="../slideLayouts/slideLayout16.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jpeg"/><Relationship Id="rId15" Type="http://schemas.openxmlformats.org/officeDocument/2006/relationships/image" Target="../media/image72.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2"/>
          <p:cNvSpPr>
            <a:spLocks noGrp="1"/>
          </p:cNvSpPr>
          <p:nvPr>
            <p:ph type="ctrTitle"/>
          </p:nvPr>
        </p:nvSpPr>
        <p:spPr/>
        <p:txBody>
          <a:bodyPr/>
          <a:lstStyle/>
          <a:p>
            <a:r>
              <a:rPr lang="en-US" sz="6000" dirty="0">
                <a:gradFill>
                  <a:gsLst>
                    <a:gs pos="5833">
                      <a:srgbClr val="FFFFFF"/>
                    </a:gs>
                    <a:gs pos="18000">
                      <a:srgbClr val="FFFFFF"/>
                    </a:gs>
                  </a:gsLst>
                  <a:lin ang="5400000" scaled="0"/>
                </a:gradFill>
              </a:rPr>
              <a:t>Hybrid Identity</a:t>
            </a:r>
            <a:endParaRPr lang="en-US" sz="6000" dirty="0"/>
          </a:p>
        </p:txBody>
      </p:sp>
      <p:sp>
        <p:nvSpPr>
          <p:cNvPr id="12" name="Subtitle 11"/>
          <p:cNvSpPr>
            <a:spLocks noGrp="1"/>
          </p:cNvSpPr>
          <p:nvPr>
            <p:ph type="subTitle" idx="1"/>
          </p:nvPr>
        </p:nvSpPr>
        <p:spPr>
          <a:xfrm>
            <a:off x="375955" y="5569966"/>
            <a:ext cx="5720046" cy="800219"/>
          </a:xfrm>
        </p:spPr>
        <p:txBody>
          <a:bodyPr/>
          <a:lstStyle/>
          <a:p>
            <a:r>
              <a:rPr lang="en-US" sz="2000" dirty="0"/>
              <a:t>Name</a:t>
            </a:r>
          </a:p>
          <a:p>
            <a:r>
              <a:rPr lang="en-US" sz="2000" dirty="0"/>
              <a:t>Title</a:t>
            </a:r>
          </a:p>
        </p:txBody>
      </p:sp>
      <p:pic>
        <p:nvPicPr>
          <p:cNvPr id="14" name="Picture 13"/>
          <p:cNvPicPr>
            <a:picLocks noChangeAspect="1"/>
          </p:cNvPicPr>
          <p:nvPr/>
        </p:nvPicPr>
        <p:blipFill>
          <a:blip r:embed="rId3"/>
          <a:stretch>
            <a:fillRect/>
          </a:stretch>
        </p:blipFill>
        <p:spPr>
          <a:xfrm>
            <a:off x="6934200" y="5020189"/>
            <a:ext cx="1178030" cy="1178030"/>
          </a:xfrm>
          <a:prstGeom prst="rect">
            <a:avLst/>
          </a:prstGeom>
        </p:spPr>
      </p:pic>
    </p:spTree>
    <p:extLst>
      <p:ext uri="{BB962C8B-B14F-4D97-AF65-F5344CB8AC3E}">
        <p14:creationId xmlns:p14="http://schemas.microsoft.com/office/powerpoint/2010/main" val="3406732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0" name="Group 129">
            <a:extLst>
              <a:ext uri="{FF2B5EF4-FFF2-40B4-BE49-F238E27FC236}">
                <a16:creationId xmlns:a16="http://schemas.microsoft.com/office/drawing/2014/main" id="{2F72A151-87E3-4724-A3E8-EC3966EE09C6}"/>
              </a:ext>
            </a:extLst>
          </p:cNvPr>
          <p:cNvGrpSpPr/>
          <p:nvPr/>
        </p:nvGrpSpPr>
        <p:grpSpPr>
          <a:xfrm>
            <a:off x="1544996" y="3967396"/>
            <a:ext cx="1737113" cy="1005698"/>
            <a:chOff x="10206697" y="5583343"/>
            <a:chExt cx="1737360" cy="1005840"/>
          </a:xfrm>
        </p:grpSpPr>
        <p:sp>
          <p:nvSpPr>
            <p:cNvPr id="131" name="Rectangle 130">
              <a:extLst>
                <a:ext uri="{FF2B5EF4-FFF2-40B4-BE49-F238E27FC236}">
                  <a16:creationId xmlns:a16="http://schemas.microsoft.com/office/drawing/2014/main" id="{B7A9D62F-EEA9-40ED-84B4-AD0644B16EB8}"/>
                </a:ext>
              </a:extLst>
            </p:cNvPr>
            <p:cNvSpPr/>
            <p:nvPr/>
          </p:nvSpPr>
          <p:spPr bwMode="auto">
            <a:xfrm>
              <a:off x="1020669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ccess Reviews</a:t>
              </a:r>
            </a:p>
          </p:txBody>
        </p:sp>
        <p:pic>
          <p:nvPicPr>
            <p:cNvPr id="132" name="Picture 131">
              <a:extLst>
                <a:ext uri="{FF2B5EF4-FFF2-40B4-BE49-F238E27FC236}">
                  <a16:creationId xmlns:a16="http://schemas.microsoft.com/office/drawing/2014/main" id="{94B8CFDE-AF97-463D-AC7D-DEC73C6663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6620" y="5940386"/>
              <a:ext cx="457200" cy="291755"/>
            </a:xfrm>
            <a:prstGeom prst="rect">
              <a:avLst/>
            </a:prstGeom>
          </p:spPr>
        </p:pic>
      </p:grpSp>
      <p:grpSp>
        <p:nvGrpSpPr>
          <p:cNvPr id="584" name="Group 583">
            <a:extLst>
              <a:ext uri="{FF2B5EF4-FFF2-40B4-BE49-F238E27FC236}">
                <a16:creationId xmlns:a16="http://schemas.microsoft.com/office/drawing/2014/main" id="{CDF5A180-CFB3-4FFF-8958-C057B73E96D5}"/>
              </a:ext>
            </a:extLst>
          </p:cNvPr>
          <p:cNvGrpSpPr/>
          <p:nvPr/>
        </p:nvGrpSpPr>
        <p:grpSpPr>
          <a:xfrm>
            <a:off x="1544996" y="3967396"/>
            <a:ext cx="1737113" cy="1005698"/>
            <a:chOff x="10206697" y="264320"/>
            <a:chExt cx="1737360" cy="1005840"/>
          </a:xfrm>
        </p:grpSpPr>
        <p:sp>
          <p:nvSpPr>
            <p:cNvPr id="585" name="Rectangle 584">
              <a:extLst>
                <a:ext uri="{FF2B5EF4-FFF2-40B4-BE49-F238E27FC236}">
                  <a16:creationId xmlns:a16="http://schemas.microsoft.com/office/drawing/2014/main" id="{86FEA460-19F3-4176-B253-C85F5607E052}"/>
                </a:ext>
              </a:extLst>
            </p:cNvPr>
            <p:cNvSpPr/>
            <p:nvPr/>
          </p:nvSpPr>
          <p:spPr bwMode="auto">
            <a:xfrm>
              <a:off x="1020669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Conditional Access</a:t>
              </a:r>
            </a:p>
          </p:txBody>
        </p:sp>
        <p:pic>
          <p:nvPicPr>
            <p:cNvPr id="586" name="Picture 585">
              <a:extLst>
                <a:ext uri="{FF2B5EF4-FFF2-40B4-BE49-F238E27FC236}">
                  <a16:creationId xmlns:a16="http://schemas.microsoft.com/office/drawing/2014/main" id="{415AFDED-20FF-416B-8460-F179BB6BFC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6620" y="538640"/>
              <a:ext cx="457200" cy="457200"/>
            </a:xfrm>
            <a:prstGeom prst="rect">
              <a:avLst/>
            </a:prstGeom>
          </p:spPr>
        </p:pic>
      </p:grpSp>
      <p:grpSp>
        <p:nvGrpSpPr>
          <p:cNvPr id="587" name="Group 586">
            <a:extLst>
              <a:ext uri="{FF2B5EF4-FFF2-40B4-BE49-F238E27FC236}">
                <a16:creationId xmlns:a16="http://schemas.microsoft.com/office/drawing/2014/main" id="{A2B4AA5B-81D2-47EE-B46A-A4E9D385ED7B}"/>
              </a:ext>
            </a:extLst>
          </p:cNvPr>
          <p:cNvGrpSpPr/>
          <p:nvPr/>
        </p:nvGrpSpPr>
        <p:grpSpPr>
          <a:xfrm>
            <a:off x="1544996" y="3967396"/>
            <a:ext cx="1737113" cy="1005698"/>
            <a:chOff x="10206697" y="1328125"/>
            <a:chExt cx="1737360" cy="1005840"/>
          </a:xfrm>
        </p:grpSpPr>
        <p:sp>
          <p:nvSpPr>
            <p:cNvPr id="588" name="Rectangle 587">
              <a:extLst>
                <a:ext uri="{FF2B5EF4-FFF2-40B4-BE49-F238E27FC236}">
                  <a16:creationId xmlns:a16="http://schemas.microsoft.com/office/drawing/2014/main" id="{6CB1660B-A72B-41E7-B44D-1B082A6FA284}"/>
                </a:ext>
              </a:extLst>
            </p:cNvPr>
            <p:cNvSpPr/>
            <p:nvPr/>
          </p:nvSpPr>
          <p:spPr bwMode="auto">
            <a:xfrm>
              <a:off x="1020669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Multi-Factor Authentication</a:t>
              </a:r>
            </a:p>
          </p:txBody>
        </p:sp>
        <p:pic>
          <p:nvPicPr>
            <p:cNvPr id="589" name="Picture 588">
              <a:extLst>
                <a:ext uri="{FF2B5EF4-FFF2-40B4-BE49-F238E27FC236}">
                  <a16:creationId xmlns:a16="http://schemas.microsoft.com/office/drawing/2014/main" id="{77DBA76B-F549-41F8-A19B-86D1F4A1418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56620" y="1602445"/>
              <a:ext cx="457200" cy="457200"/>
            </a:xfrm>
            <a:prstGeom prst="rect">
              <a:avLst/>
            </a:prstGeom>
          </p:spPr>
        </p:pic>
      </p:grpSp>
      <p:grpSp>
        <p:nvGrpSpPr>
          <p:cNvPr id="590" name="Group 589">
            <a:extLst>
              <a:ext uri="{FF2B5EF4-FFF2-40B4-BE49-F238E27FC236}">
                <a16:creationId xmlns:a16="http://schemas.microsoft.com/office/drawing/2014/main" id="{23E92110-9000-494C-AA98-C33DEB3F573F}"/>
              </a:ext>
            </a:extLst>
          </p:cNvPr>
          <p:cNvGrpSpPr/>
          <p:nvPr/>
        </p:nvGrpSpPr>
        <p:grpSpPr>
          <a:xfrm>
            <a:off x="1544996" y="3967396"/>
            <a:ext cx="1737113" cy="1005698"/>
            <a:chOff x="4807987" y="2391930"/>
            <a:chExt cx="1737360" cy="1005840"/>
          </a:xfrm>
        </p:grpSpPr>
        <p:sp>
          <p:nvSpPr>
            <p:cNvPr id="591" name="Rectangle 590">
              <a:extLst>
                <a:ext uri="{FF2B5EF4-FFF2-40B4-BE49-F238E27FC236}">
                  <a16:creationId xmlns:a16="http://schemas.microsoft.com/office/drawing/2014/main" id="{51901D7C-C9D5-4DD8-BAA1-E1F069D95A7C}"/>
                </a:ext>
              </a:extLst>
            </p:cNvPr>
            <p:cNvSpPr/>
            <p:nvPr/>
          </p:nvSpPr>
          <p:spPr bwMode="auto">
            <a:xfrm>
              <a:off x="480798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ddition of custom cloud apps</a:t>
              </a:r>
            </a:p>
          </p:txBody>
        </p:sp>
        <p:pic>
          <p:nvPicPr>
            <p:cNvPr id="592" name="Picture 591">
              <a:extLst>
                <a:ext uri="{FF2B5EF4-FFF2-40B4-BE49-F238E27FC236}">
                  <a16:creationId xmlns:a16="http://schemas.microsoft.com/office/drawing/2014/main" id="{3EB680D2-DB65-4219-A591-CFE81833B01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41122" y="2666250"/>
              <a:ext cx="457200" cy="457200"/>
            </a:xfrm>
            <a:prstGeom prst="rect">
              <a:avLst/>
            </a:prstGeom>
          </p:spPr>
        </p:pic>
      </p:grpSp>
      <p:grpSp>
        <p:nvGrpSpPr>
          <p:cNvPr id="593" name="Group 592">
            <a:extLst>
              <a:ext uri="{FF2B5EF4-FFF2-40B4-BE49-F238E27FC236}">
                <a16:creationId xmlns:a16="http://schemas.microsoft.com/office/drawing/2014/main" id="{7B5978A5-68F5-46FD-B561-2AD5F2F73F48}"/>
              </a:ext>
            </a:extLst>
          </p:cNvPr>
          <p:cNvGrpSpPr/>
          <p:nvPr/>
        </p:nvGrpSpPr>
        <p:grpSpPr>
          <a:xfrm>
            <a:off x="1544996" y="3967396"/>
            <a:ext cx="1737113" cy="1005698"/>
            <a:chOff x="4807987" y="3455733"/>
            <a:chExt cx="1737360" cy="1005840"/>
          </a:xfrm>
        </p:grpSpPr>
        <p:sp>
          <p:nvSpPr>
            <p:cNvPr id="594" name="Rectangle 593">
              <a:extLst>
                <a:ext uri="{FF2B5EF4-FFF2-40B4-BE49-F238E27FC236}">
                  <a16:creationId xmlns:a16="http://schemas.microsoft.com/office/drawing/2014/main" id="{979B2FF3-B3D1-46F7-933E-14B8D8EF44BF}"/>
                </a:ext>
              </a:extLst>
            </p:cNvPr>
            <p:cNvSpPr/>
            <p:nvPr/>
          </p:nvSpPr>
          <p:spPr bwMode="auto">
            <a:xfrm>
              <a:off x="480798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Remote Access to on-premises apps</a:t>
              </a:r>
            </a:p>
          </p:txBody>
        </p:sp>
        <p:pic>
          <p:nvPicPr>
            <p:cNvPr id="595" name="Picture 594">
              <a:extLst>
                <a:ext uri="{FF2B5EF4-FFF2-40B4-BE49-F238E27FC236}">
                  <a16:creationId xmlns:a16="http://schemas.microsoft.com/office/drawing/2014/main" id="{53F1E9D8-75A9-4FC9-914A-C0DA28557A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41122" y="3730053"/>
              <a:ext cx="457200" cy="457200"/>
            </a:xfrm>
            <a:prstGeom prst="rect">
              <a:avLst/>
            </a:prstGeom>
          </p:spPr>
        </p:pic>
      </p:grpSp>
      <p:grpSp>
        <p:nvGrpSpPr>
          <p:cNvPr id="596" name="Group 595">
            <a:extLst>
              <a:ext uri="{FF2B5EF4-FFF2-40B4-BE49-F238E27FC236}">
                <a16:creationId xmlns:a16="http://schemas.microsoft.com/office/drawing/2014/main" id="{C1D18E38-A779-467E-AA53-15A1015DF64C}"/>
              </a:ext>
            </a:extLst>
          </p:cNvPr>
          <p:cNvGrpSpPr/>
          <p:nvPr/>
        </p:nvGrpSpPr>
        <p:grpSpPr>
          <a:xfrm>
            <a:off x="1544996" y="3967396"/>
            <a:ext cx="1737113" cy="1005698"/>
            <a:chOff x="10206697" y="3455733"/>
            <a:chExt cx="1737360" cy="1005840"/>
          </a:xfrm>
        </p:grpSpPr>
        <p:sp>
          <p:nvSpPr>
            <p:cNvPr id="597" name="Rectangle 596">
              <a:extLst>
                <a:ext uri="{FF2B5EF4-FFF2-40B4-BE49-F238E27FC236}">
                  <a16:creationId xmlns:a16="http://schemas.microsoft.com/office/drawing/2014/main" id="{DEC7B036-F6B9-4AF7-A7D4-E76A2D980D47}"/>
                </a:ext>
              </a:extLst>
            </p:cNvPr>
            <p:cNvSpPr/>
            <p:nvPr/>
          </p:nvSpPr>
          <p:spPr bwMode="auto">
            <a:xfrm>
              <a:off x="1020669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Privileged Identity Management</a:t>
              </a:r>
            </a:p>
          </p:txBody>
        </p:sp>
        <p:pic>
          <p:nvPicPr>
            <p:cNvPr id="598" name="Picture 597">
              <a:extLst>
                <a:ext uri="{FF2B5EF4-FFF2-40B4-BE49-F238E27FC236}">
                  <a16:creationId xmlns:a16="http://schemas.microsoft.com/office/drawing/2014/main" id="{5AF36475-739C-4BDF-9A52-DC3EFB1E836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56620" y="3730053"/>
              <a:ext cx="457200" cy="457200"/>
            </a:xfrm>
            <a:prstGeom prst="rect">
              <a:avLst/>
            </a:prstGeom>
          </p:spPr>
        </p:pic>
      </p:grpSp>
      <p:grpSp>
        <p:nvGrpSpPr>
          <p:cNvPr id="599" name="Group 598">
            <a:extLst>
              <a:ext uri="{FF2B5EF4-FFF2-40B4-BE49-F238E27FC236}">
                <a16:creationId xmlns:a16="http://schemas.microsoft.com/office/drawing/2014/main" id="{FFD5DAB4-4566-4964-B5FE-8F1A05D9DFD0}"/>
              </a:ext>
            </a:extLst>
          </p:cNvPr>
          <p:cNvGrpSpPr/>
          <p:nvPr/>
        </p:nvGrpSpPr>
        <p:grpSpPr>
          <a:xfrm>
            <a:off x="1544996" y="3967396"/>
            <a:ext cx="1737113" cy="1005698"/>
            <a:chOff x="8407127" y="2391930"/>
            <a:chExt cx="1737360" cy="1005840"/>
          </a:xfrm>
        </p:grpSpPr>
        <p:sp>
          <p:nvSpPr>
            <p:cNvPr id="600" name="Rectangle 599">
              <a:extLst>
                <a:ext uri="{FF2B5EF4-FFF2-40B4-BE49-F238E27FC236}">
                  <a16:creationId xmlns:a16="http://schemas.microsoft.com/office/drawing/2014/main" id="{7F88CB71-E97C-4CE1-A863-73F9EDDCF5FD}"/>
                </a:ext>
              </a:extLst>
            </p:cNvPr>
            <p:cNvSpPr/>
            <p:nvPr/>
          </p:nvSpPr>
          <p:spPr bwMode="auto">
            <a:xfrm>
              <a:off x="840712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Dynamic Groups</a:t>
              </a:r>
            </a:p>
          </p:txBody>
        </p:sp>
        <p:sp>
          <p:nvSpPr>
            <p:cNvPr id="601" name="Freeform 24">
              <a:extLst>
                <a:ext uri="{FF2B5EF4-FFF2-40B4-BE49-F238E27FC236}">
                  <a16:creationId xmlns:a16="http://schemas.microsoft.com/office/drawing/2014/main" id="{89181D4C-8ADC-4B16-B48F-A3A4881CBA19}"/>
                </a:ext>
              </a:extLst>
            </p:cNvPr>
            <p:cNvSpPr>
              <a:spLocks noChangeAspect="1" noEditPoints="1"/>
            </p:cNvSpPr>
            <p:nvPr/>
          </p:nvSpPr>
          <p:spPr bwMode="auto">
            <a:xfrm>
              <a:off x="8542380" y="2708640"/>
              <a:ext cx="457200" cy="37242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nvGrpSpPr>
          <p:cNvPr id="602" name="Group 601">
            <a:extLst>
              <a:ext uri="{FF2B5EF4-FFF2-40B4-BE49-F238E27FC236}">
                <a16:creationId xmlns:a16="http://schemas.microsoft.com/office/drawing/2014/main" id="{B3B849B9-9130-4E39-8F3E-1C220E90A575}"/>
              </a:ext>
            </a:extLst>
          </p:cNvPr>
          <p:cNvGrpSpPr/>
          <p:nvPr/>
        </p:nvGrpSpPr>
        <p:grpSpPr>
          <a:xfrm>
            <a:off x="1544996" y="3967396"/>
            <a:ext cx="1737113" cy="1005698"/>
            <a:chOff x="10206697" y="2391930"/>
            <a:chExt cx="1737360" cy="1005840"/>
          </a:xfrm>
        </p:grpSpPr>
        <p:sp>
          <p:nvSpPr>
            <p:cNvPr id="603" name="Rectangle 602">
              <a:extLst>
                <a:ext uri="{FF2B5EF4-FFF2-40B4-BE49-F238E27FC236}">
                  <a16:creationId xmlns:a16="http://schemas.microsoft.com/office/drawing/2014/main" id="{CBFE4E07-F5F7-4EC7-80A9-171DB8E129DE}"/>
                </a:ext>
              </a:extLst>
            </p:cNvPr>
            <p:cNvSpPr/>
            <p:nvPr/>
          </p:nvSpPr>
          <p:spPr bwMode="auto">
            <a:xfrm>
              <a:off x="1020669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Identity Protection</a:t>
              </a:r>
            </a:p>
          </p:txBody>
        </p:sp>
        <p:pic>
          <p:nvPicPr>
            <p:cNvPr id="604" name="Picture 603" descr="A close up of a building&#10;&#10;Description generated with high confidence">
              <a:extLst>
                <a:ext uri="{FF2B5EF4-FFF2-40B4-BE49-F238E27FC236}">
                  <a16:creationId xmlns:a16="http://schemas.microsoft.com/office/drawing/2014/main" id="{DD214195-9CC6-4BA0-B1E6-DDF441EE3DE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56620" y="2666250"/>
              <a:ext cx="457200" cy="457200"/>
            </a:xfrm>
            <a:prstGeom prst="rect">
              <a:avLst/>
            </a:prstGeom>
          </p:spPr>
        </p:pic>
      </p:grpSp>
      <p:grpSp>
        <p:nvGrpSpPr>
          <p:cNvPr id="605" name="Group 604">
            <a:extLst>
              <a:ext uri="{FF2B5EF4-FFF2-40B4-BE49-F238E27FC236}">
                <a16:creationId xmlns:a16="http://schemas.microsoft.com/office/drawing/2014/main" id="{A9CB0454-9D5B-40EF-B573-F17F5FC1C898}"/>
              </a:ext>
            </a:extLst>
          </p:cNvPr>
          <p:cNvGrpSpPr/>
          <p:nvPr/>
        </p:nvGrpSpPr>
        <p:grpSpPr>
          <a:xfrm>
            <a:off x="1544996" y="3967396"/>
            <a:ext cx="1737113" cy="1005698"/>
            <a:chOff x="4807987" y="5583343"/>
            <a:chExt cx="1737360" cy="1005840"/>
          </a:xfrm>
        </p:grpSpPr>
        <p:sp>
          <p:nvSpPr>
            <p:cNvPr id="606" name="Rectangle 605">
              <a:extLst>
                <a:ext uri="{FF2B5EF4-FFF2-40B4-BE49-F238E27FC236}">
                  <a16:creationId xmlns:a16="http://schemas.microsoft.com/office/drawing/2014/main" id="{68936757-F144-4778-B490-AD2E1CEE6776}"/>
                </a:ext>
              </a:extLst>
            </p:cNvPr>
            <p:cNvSpPr/>
            <p:nvPr/>
          </p:nvSpPr>
          <p:spPr bwMode="auto">
            <a:xfrm>
              <a:off x="480798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zure AD DS</a:t>
              </a:r>
            </a:p>
          </p:txBody>
        </p:sp>
        <p:pic>
          <p:nvPicPr>
            <p:cNvPr id="607" name="Picture 606">
              <a:extLst>
                <a:ext uri="{FF2B5EF4-FFF2-40B4-BE49-F238E27FC236}">
                  <a16:creationId xmlns:a16="http://schemas.microsoft.com/office/drawing/2014/main" id="{55C6C9E3-23C4-442D-8F61-BB4D46BDDA9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41122" y="5857663"/>
              <a:ext cx="457200" cy="457200"/>
            </a:xfrm>
            <a:prstGeom prst="rect">
              <a:avLst/>
            </a:prstGeom>
          </p:spPr>
        </p:pic>
      </p:grpSp>
      <p:grpSp>
        <p:nvGrpSpPr>
          <p:cNvPr id="608" name="Group 607">
            <a:extLst>
              <a:ext uri="{FF2B5EF4-FFF2-40B4-BE49-F238E27FC236}">
                <a16:creationId xmlns:a16="http://schemas.microsoft.com/office/drawing/2014/main" id="{85C3DE4F-FE50-434C-AD8C-904BE41C3C50}"/>
              </a:ext>
            </a:extLst>
          </p:cNvPr>
          <p:cNvGrpSpPr/>
          <p:nvPr/>
        </p:nvGrpSpPr>
        <p:grpSpPr>
          <a:xfrm>
            <a:off x="1544996" y="3967396"/>
            <a:ext cx="1737113" cy="1005698"/>
            <a:chOff x="6607557" y="5583343"/>
            <a:chExt cx="1737360" cy="1005840"/>
          </a:xfrm>
        </p:grpSpPr>
        <p:sp>
          <p:nvSpPr>
            <p:cNvPr id="609" name="Rectangle 608">
              <a:extLst>
                <a:ext uri="{FF2B5EF4-FFF2-40B4-BE49-F238E27FC236}">
                  <a16:creationId xmlns:a16="http://schemas.microsoft.com/office/drawing/2014/main" id="{691589F4-8880-4543-8947-E367453D49FA}"/>
                </a:ext>
              </a:extLst>
            </p:cNvPr>
            <p:cNvSpPr/>
            <p:nvPr/>
          </p:nvSpPr>
          <p:spPr bwMode="auto">
            <a:xfrm>
              <a:off x="660755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Office 365 App Launcher</a:t>
              </a:r>
            </a:p>
          </p:txBody>
        </p:sp>
        <p:sp>
          <p:nvSpPr>
            <p:cNvPr id="610" name="Freeform: Shape 609">
              <a:extLst>
                <a:ext uri="{FF2B5EF4-FFF2-40B4-BE49-F238E27FC236}">
                  <a16:creationId xmlns:a16="http://schemas.microsoft.com/office/drawing/2014/main" id="{52827611-035C-4672-83B6-78A20092B49E}"/>
                </a:ext>
              </a:extLst>
            </p:cNvPr>
            <p:cNvSpPr>
              <a:spLocks noChangeAspect="1"/>
            </p:cNvSpPr>
            <p:nvPr/>
          </p:nvSpPr>
          <p:spPr bwMode="auto">
            <a:xfrm>
              <a:off x="6735299" y="5903383"/>
              <a:ext cx="365760" cy="365760"/>
            </a:xfrm>
            <a:custGeom>
              <a:avLst/>
              <a:gdLst>
                <a:gd name="connsiteX0" fmla="*/ 640080 w 914400"/>
                <a:gd name="connsiteY0" fmla="*/ 640080 h 914400"/>
                <a:gd name="connsiteX1" fmla="*/ 914400 w 914400"/>
                <a:gd name="connsiteY1" fmla="*/ 640080 h 914400"/>
                <a:gd name="connsiteX2" fmla="*/ 914400 w 914400"/>
                <a:gd name="connsiteY2" fmla="*/ 914400 h 914400"/>
                <a:gd name="connsiteX3" fmla="*/ 640080 w 914400"/>
                <a:gd name="connsiteY3" fmla="*/ 914400 h 914400"/>
                <a:gd name="connsiteX4" fmla="*/ 320040 w 914400"/>
                <a:gd name="connsiteY4" fmla="*/ 640080 h 914400"/>
                <a:gd name="connsiteX5" fmla="*/ 594360 w 914400"/>
                <a:gd name="connsiteY5" fmla="*/ 640080 h 914400"/>
                <a:gd name="connsiteX6" fmla="*/ 594360 w 914400"/>
                <a:gd name="connsiteY6" fmla="*/ 914400 h 914400"/>
                <a:gd name="connsiteX7" fmla="*/ 320040 w 914400"/>
                <a:gd name="connsiteY7" fmla="*/ 914400 h 914400"/>
                <a:gd name="connsiteX8" fmla="*/ 0 w 914400"/>
                <a:gd name="connsiteY8" fmla="*/ 640080 h 914400"/>
                <a:gd name="connsiteX9" fmla="*/ 274320 w 914400"/>
                <a:gd name="connsiteY9" fmla="*/ 640080 h 914400"/>
                <a:gd name="connsiteX10" fmla="*/ 274320 w 914400"/>
                <a:gd name="connsiteY10" fmla="*/ 914400 h 914400"/>
                <a:gd name="connsiteX11" fmla="*/ 0 w 914400"/>
                <a:gd name="connsiteY11" fmla="*/ 914400 h 914400"/>
                <a:gd name="connsiteX12" fmla="*/ 640080 w 914400"/>
                <a:gd name="connsiteY12" fmla="*/ 320040 h 914400"/>
                <a:gd name="connsiteX13" fmla="*/ 914400 w 914400"/>
                <a:gd name="connsiteY13" fmla="*/ 320040 h 914400"/>
                <a:gd name="connsiteX14" fmla="*/ 914400 w 914400"/>
                <a:gd name="connsiteY14" fmla="*/ 594360 h 914400"/>
                <a:gd name="connsiteX15" fmla="*/ 640080 w 914400"/>
                <a:gd name="connsiteY15" fmla="*/ 594360 h 914400"/>
                <a:gd name="connsiteX16" fmla="*/ 320040 w 914400"/>
                <a:gd name="connsiteY16" fmla="*/ 320040 h 914400"/>
                <a:gd name="connsiteX17" fmla="*/ 594360 w 914400"/>
                <a:gd name="connsiteY17" fmla="*/ 320040 h 914400"/>
                <a:gd name="connsiteX18" fmla="*/ 594360 w 914400"/>
                <a:gd name="connsiteY18" fmla="*/ 594360 h 914400"/>
                <a:gd name="connsiteX19" fmla="*/ 320040 w 914400"/>
                <a:gd name="connsiteY19" fmla="*/ 594360 h 914400"/>
                <a:gd name="connsiteX20" fmla="*/ 0 w 914400"/>
                <a:gd name="connsiteY20" fmla="*/ 320040 h 914400"/>
                <a:gd name="connsiteX21" fmla="*/ 274320 w 914400"/>
                <a:gd name="connsiteY21" fmla="*/ 320040 h 914400"/>
                <a:gd name="connsiteX22" fmla="*/ 274320 w 914400"/>
                <a:gd name="connsiteY22" fmla="*/ 594360 h 914400"/>
                <a:gd name="connsiteX23" fmla="*/ 0 w 914400"/>
                <a:gd name="connsiteY23" fmla="*/ 594360 h 914400"/>
                <a:gd name="connsiteX24" fmla="*/ 640080 w 914400"/>
                <a:gd name="connsiteY24" fmla="*/ 0 h 914400"/>
                <a:gd name="connsiteX25" fmla="*/ 914400 w 914400"/>
                <a:gd name="connsiteY25" fmla="*/ 0 h 914400"/>
                <a:gd name="connsiteX26" fmla="*/ 914400 w 914400"/>
                <a:gd name="connsiteY26" fmla="*/ 274320 h 914400"/>
                <a:gd name="connsiteX27" fmla="*/ 640080 w 914400"/>
                <a:gd name="connsiteY27" fmla="*/ 274320 h 914400"/>
                <a:gd name="connsiteX28" fmla="*/ 320040 w 914400"/>
                <a:gd name="connsiteY28" fmla="*/ 0 h 914400"/>
                <a:gd name="connsiteX29" fmla="*/ 594360 w 914400"/>
                <a:gd name="connsiteY29" fmla="*/ 0 h 914400"/>
                <a:gd name="connsiteX30" fmla="*/ 594360 w 914400"/>
                <a:gd name="connsiteY30" fmla="*/ 274320 h 914400"/>
                <a:gd name="connsiteX31" fmla="*/ 320040 w 914400"/>
                <a:gd name="connsiteY31" fmla="*/ 274320 h 914400"/>
                <a:gd name="connsiteX32" fmla="*/ 0 w 914400"/>
                <a:gd name="connsiteY32" fmla="*/ 0 h 914400"/>
                <a:gd name="connsiteX33" fmla="*/ 274320 w 914400"/>
                <a:gd name="connsiteY33" fmla="*/ 0 h 914400"/>
                <a:gd name="connsiteX34" fmla="*/ 274320 w 914400"/>
                <a:gd name="connsiteY34" fmla="*/ 274320 h 914400"/>
                <a:gd name="connsiteX35" fmla="*/ 0 w 914400"/>
                <a:gd name="connsiteY35" fmla="*/ 27432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14400" h="914400">
                  <a:moveTo>
                    <a:pt x="640080" y="640080"/>
                  </a:moveTo>
                  <a:lnTo>
                    <a:pt x="914400" y="640080"/>
                  </a:lnTo>
                  <a:lnTo>
                    <a:pt x="914400" y="914400"/>
                  </a:lnTo>
                  <a:lnTo>
                    <a:pt x="640080" y="914400"/>
                  </a:lnTo>
                  <a:close/>
                  <a:moveTo>
                    <a:pt x="320040" y="640080"/>
                  </a:moveTo>
                  <a:lnTo>
                    <a:pt x="594360" y="640080"/>
                  </a:lnTo>
                  <a:lnTo>
                    <a:pt x="594360" y="914400"/>
                  </a:lnTo>
                  <a:lnTo>
                    <a:pt x="320040" y="914400"/>
                  </a:lnTo>
                  <a:close/>
                  <a:moveTo>
                    <a:pt x="0" y="640080"/>
                  </a:moveTo>
                  <a:lnTo>
                    <a:pt x="274320" y="640080"/>
                  </a:lnTo>
                  <a:lnTo>
                    <a:pt x="274320" y="914400"/>
                  </a:lnTo>
                  <a:lnTo>
                    <a:pt x="0" y="914400"/>
                  </a:lnTo>
                  <a:close/>
                  <a:moveTo>
                    <a:pt x="640080" y="320040"/>
                  </a:moveTo>
                  <a:lnTo>
                    <a:pt x="914400" y="320040"/>
                  </a:lnTo>
                  <a:lnTo>
                    <a:pt x="914400" y="594360"/>
                  </a:lnTo>
                  <a:lnTo>
                    <a:pt x="640080" y="594360"/>
                  </a:lnTo>
                  <a:close/>
                  <a:moveTo>
                    <a:pt x="320040" y="320040"/>
                  </a:moveTo>
                  <a:lnTo>
                    <a:pt x="594360" y="320040"/>
                  </a:lnTo>
                  <a:lnTo>
                    <a:pt x="594360" y="594360"/>
                  </a:lnTo>
                  <a:lnTo>
                    <a:pt x="320040" y="594360"/>
                  </a:lnTo>
                  <a:close/>
                  <a:moveTo>
                    <a:pt x="0" y="320040"/>
                  </a:moveTo>
                  <a:lnTo>
                    <a:pt x="274320" y="320040"/>
                  </a:lnTo>
                  <a:lnTo>
                    <a:pt x="274320" y="594360"/>
                  </a:lnTo>
                  <a:lnTo>
                    <a:pt x="0" y="594360"/>
                  </a:lnTo>
                  <a:close/>
                  <a:moveTo>
                    <a:pt x="640080" y="0"/>
                  </a:moveTo>
                  <a:lnTo>
                    <a:pt x="914400" y="0"/>
                  </a:lnTo>
                  <a:lnTo>
                    <a:pt x="914400" y="274320"/>
                  </a:lnTo>
                  <a:lnTo>
                    <a:pt x="640080" y="274320"/>
                  </a:lnTo>
                  <a:close/>
                  <a:moveTo>
                    <a:pt x="320040" y="0"/>
                  </a:moveTo>
                  <a:lnTo>
                    <a:pt x="594360" y="0"/>
                  </a:lnTo>
                  <a:lnTo>
                    <a:pt x="594360" y="274320"/>
                  </a:lnTo>
                  <a:lnTo>
                    <a:pt x="320040" y="274320"/>
                  </a:lnTo>
                  <a:close/>
                  <a:moveTo>
                    <a:pt x="0" y="0"/>
                  </a:moveTo>
                  <a:lnTo>
                    <a:pt x="274320" y="0"/>
                  </a:lnTo>
                  <a:lnTo>
                    <a:pt x="274320" y="274320"/>
                  </a:lnTo>
                  <a:lnTo>
                    <a:pt x="0" y="27432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611" name="Group 610">
            <a:extLst>
              <a:ext uri="{FF2B5EF4-FFF2-40B4-BE49-F238E27FC236}">
                <a16:creationId xmlns:a16="http://schemas.microsoft.com/office/drawing/2014/main" id="{A1937D9E-8D27-4BB8-A24B-D2A22F27455F}"/>
              </a:ext>
            </a:extLst>
          </p:cNvPr>
          <p:cNvGrpSpPr/>
          <p:nvPr/>
        </p:nvGrpSpPr>
        <p:grpSpPr>
          <a:xfrm>
            <a:off x="1544996" y="3967396"/>
            <a:ext cx="1737113" cy="1005698"/>
            <a:chOff x="8407127" y="3455733"/>
            <a:chExt cx="1737360" cy="1005840"/>
          </a:xfrm>
        </p:grpSpPr>
        <p:sp>
          <p:nvSpPr>
            <p:cNvPr id="612" name="Rectangle 611">
              <a:extLst>
                <a:ext uri="{FF2B5EF4-FFF2-40B4-BE49-F238E27FC236}">
                  <a16:creationId xmlns:a16="http://schemas.microsoft.com/office/drawing/2014/main" id="{A1E8F475-B051-450F-ACDD-62BA7DCF8E27}"/>
                </a:ext>
              </a:extLst>
            </p:cNvPr>
            <p:cNvSpPr/>
            <p:nvPr/>
          </p:nvSpPr>
          <p:spPr bwMode="auto">
            <a:xfrm>
              <a:off x="840712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Group-Based Licensing</a:t>
              </a:r>
            </a:p>
          </p:txBody>
        </p:sp>
        <p:pic>
          <p:nvPicPr>
            <p:cNvPr id="613" name="Picture 612" descr="A close up of a logo&#10;&#10;Description generated with very high confidence">
              <a:extLst>
                <a:ext uri="{FF2B5EF4-FFF2-40B4-BE49-F238E27FC236}">
                  <a16:creationId xmlns:a16="http://schemas.microsoft.com/office/drawing/2014/main" id="{B99E9B94-88CE-449D-AE44-D6EB232AF75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42380" y="3730053"/>
              <a:ext cx="457200" cy="457200"/>
            </a:xfrm>
            <a:prstGeom prst="rect">
              <a:avLst/>
            </a:prstGeom>
          </p:spPr>
        </p:pic>
      </p:grpSp>
      <p:grpSp>
        <p:nvGrpSpPr>
          <p:cNvPr id="614" name="Group 613">
            <a:extLst>
              <a:ext uri="{FF2B5EF4-FFF2-40B4-BE49-F238E27FC236}">
                <a16:creationId xmlns:a16="http://schemas.microsoft.com/office/drawing/2014/main" id="{CB3C34A5-5805-49F7-A7AD-E2F189BAB8FC}"/>
              </a:ext>
            </a:extLst>
          </p:cNvPr>
          <p:cNvGrpSpPr/>
          <p:nvPr/>
        </p:nvGrpSpPr>
        <p:grpSpPr>
          <a:xfrm>
            <a:off x="1544996" y="3967396"/>
            <a:ext cx="1737113" cy="1005698"/>
            <a:chOff x="6607557" y="2391930"/>
            <a:chExt cx="1737360" cy="1005840"/>
          </a:xfrm>
        </p:grpSpPr>
        <p:sp>
          <p:nvSpPr>
            <p:cNvPr id="615" name="Rectangle 614">
              <a:extLst>
                <a:ext uri="{FF2B5EF4-FFF2-40B4-BE49-F238E27FC236}">
                  <a16:creationId xmlns:a16="http://schemas.microsoft.com/office/drawing/2014/main" id="{B37BEFC6-F42E-4A0B-A447-34F9D9079A55}"/>
                </a:ext>
              </a:extLst>
            </p:cNvPr>
            <p:cNvSpPr/>
            <p:nvPr/>
          </p:nvSpPr>
          <p:spPr bwMode="auto">
            <a:xfrm>
              <a:off x="660755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ccess Panel/MyApps</a:t>
              </a:r>
            </a:p>
          </p:txBody>
        </p:sp>
        <p:pic>
          <p:nvPicPr>
            <p:cNvPr id="616" name="Picture 615">
              <a:extLst>
                <a:ext uri="{FF2B5EF4-FFF2-40B4-BE49-F238E27FC236}">
                  <a16:creationId xmlns:a16="http://schemas.microsoft.com/office/drawing/2014/main" id="{404867B9-45E9-4CF0-8979-423BF3C3047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35299" y="2666250"/>
              <a:ext cx="457200" cy="457200"/>
            </a:xfrm>
            <a:prstGeom prst="rect">
              <a:avLst/>
            </a:prstGeom>
          </p:spPr>
        </p:pic>
      </p:grpSp>
      <p:grpSp>
        <p:nvGrpSpPr>
          <p:cNvPr id="617" name="Group 616">
            <a:extLst>
              <a:ext uri="{FF2B5EF4-FFF2-40B4-BE49-F238E27FC236}">
                <a16:creationId xmlns:a16="http://schemas.microsoft.com/office/drawing/2014/main" id="{776467F3-5243-4D6A-9BC4-65394EA20ADC}"/>
              </a:ext>
            </a:extLst>
          </p:cNvPr>
          <p:cNvGrpSpPr/>
          <p:nvPr/>
        </p:nvGrpSpPr>
        <p:grpSpPr>
          <a:xfrm>
            <a:off x="1544996" y="3967396"/>
            <a:ext cx="1737113" cy="1005698"/>
            <a:chOff x="4807987" y="264320"/>
            <a:chExt cx="1737360" cy="1005840"/>
          </a:xfrm>
        </p:grpSpPr>
        <p:sp>
          <p:nvSpPr>
            <p:cNvPr id="618" name="Rectangle 617">
              <a:extLst>
                <a:ext uri="{FF2B5EF4-FFF2-40B4-BE49-F238E27FC236}">
                  <a16:creationId xmlns:a16="http://schemas.microsoft.com/office/drawing/2014/main" id="{2BB8BEB8-D14E-4763-AD5F-8E4D4A952C41}"/>
                </a:ext>
              </a:extLst>
            </p:cNvPr>
            <p:cNvSpPr/>
            <p:nvPr/>
          </p:nvSpPr>
          <p:spPr bwMode="auto">
            <a:xfrm>
              <a:off x="480798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zure AD Connect</a:t>
              </a:r>
            </a:p>
          </p:txBody>
        </p:sp>
        <p:pic>
          <p:nvPicPr>
            <p:cNvPr id="619" name="Picture 618" descr="A close up of a logo&#10;&#10;Description generated with very high confidence">
              <a:extLst>
                <a:ext uri="{FF2B5EF4-FFF2-40B4-BE49-F238E27FC236}">
                  <a16:creationId xmlns:a16="http://schemas.microsoft.com/office/drawing/2014/main" id="{B85A125E-D0CF-4E0F-8BF0-E7E8B395270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41122" y="538640"/>
              <a:ext cx="457200" cy="457200"/>
            </a:xfrm>
            <a:prstGeom prst="rect">
              <a:avLst/>
            </a:prstGeom>
          </p:spPr>
        </p:pic>
      </p:grpSp>
      <p:grpSp>
        <p:nvGrpSpPr>
          <p:cNvPr id="620" name="Group 619">
            <a:extLst>
              <a:ext uri="{FF2B5EF4-FFF2-40B4-BE49-F238E27FC236}">
                <a16:creationId xmlns:a16="http://schemas.microsoft.com/office/drawing/2014/main" id="{3BB00B6A-25C7-4FC4-AE75-BA8F3195482A}"/>
              </a:ext>
            </a:extLst>
          </p:cNvPr>
          <p:cNvGrpSpPr/>
          <p:nvPr/>
        </p:nvGrpSpPr>
        <p:grpSpPr>
          <a:xfrm>
            <a:off x="1544996" y="3967396"/>
            <a:ext cx="1737113" cy="1005698"/>
            <a:chOff x="8407127" y="1328125"/>
            <a:chExt cx="1737360" cy="1005840"/>
          </a:xfrm>
        </p:grpSpPr>
        <p:sp>
          <p:nvSpPr>
            <p:cNvPr id="621" name="Rectangle 620">
              <a:extLst>
                <a:ext uri="{FF2B5EF4-FFF2-40B4-BE49-F238E27FC236}">
                  <a16:creationId xmlns:a16="http://schemas.microsoft.com/office/drawing/2014/main" id="{98A85706-72BA-408F-A881-014B18D946E0}"/>
                </a:ext>
              </a:extLst>
            </p:cNvPr>
            <p:cNvSpPr/>
            <p:nvPr/>
          </p:nvSpPr>
          <p:spPr bwMode="auto">
            <a:xfrm>
              <a:off x="840712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Connect Health</a:t>
              </a:r>
            </a:p>
          </p:txBody>
        </p:sp>
        <p:pic>
          <p:nvPicPr>
            <p:cNvPr id="622" name="Picture 621" descr="A picture containing thing&#10;&#10;Description generated with high confidence">
              <a:extLst>
                <a:ext uri="{FF2B5EF4-FFF2-40B4-BE49-F238E27FC236}">
                  <a16:creationId xmlns:a16="http://schemas.microsoft.com/office/drawing/2014/main" id="{1A916C52-9ED5-4085-9018-BDD12B82E46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542380" y="1602445"/>
              <a:ext cx="457200" cy="457200"/>
            </a:xfrm>
            <a:prstGeom prst="rect">
              <a:avLst/>
            </a:prstGeom>
          </p:spPr>
        </p:pic>
      </p:grpSp>
      <p:grpSp>
        <p:nvGrpSpPr>
          <p:cNvPr id="623" name="Group 622">
            <a:extLst>
              <a:ext uri="{FF2B5EF4-FFF2-40B4-BE49-F238E27FC236}">
                <a16:creationId xmlns:a16="http://schemas.microsoft.com/office/drawing/2014/main" id="{C599CE5A-FF13-466A-B2F6-D9273C66C5BF}"/>
              </a:ext>
            </a:extLst>
          </p:cNvPr>
          <p:cNvGrpSpPr/>
          <p:nvPr/>
        </p:nvGrpSpPr>
        <p:grpSpPr>
          <a:xfrm>
            <a:off x="1544996" y="3967396"/>
            <a:ext cx="1737113" cy="1005698"/>
            <a:chOff x="8407127" y="264320"/>
            <a:chExt cx="1737360" cy="1005840"/>
          </a:xfrm>
        </p:grpSpPr>
        <p:sp>
          <p:nvSpPr>
            <p:cNvPr id="624" name="Rectangle 623">
              <a:extLst>
                <a:ext uri="{FF2B5EF4-FFF2-40B4-BE49-F238E27FC236}">
                  <a16:creationId xmlns:a16="http://schemas.microsoft.com/office/drawing/2014/main" id="{BD943A92-2991-4206-9DE8-67102C33BA19}"/>
                </a:ext>
              </a:extLst>
            </p:cNvPr>
            <p:cNvSpPr/>
            <p:nvPr/>
          </p:nvSpPr>
          <p:spPr bwMode="auto">
            <a:xfrm>
              <a:off x="840712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Provisioning-Deprovisioning</a:t>
              </a:r>
            </a:p>
          </p:txBody>
        </p:sp>
        <p:pic>
          <p:nvPicPr>
            <p:cNvPr id="625" name="Picture 624" descr="A close up of a logo&#10;&#10;Description generated with very high confidence">
              <a:extLst>
                <a:ext uri="{FF2B5EF4-FFF2-40B4-BE49-F238E27FC236}">
                  <a16:creationId xmlns:a16="http://schemas.microsoft.com/office/drawing/2014/main" id="{D814738E-0F19-4F99-BC51-F5CF01FE868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42380" y="538640"/>
              <a:ext cx="457200" cy="457200"/>
            </a:xfrm>
            <a:prstGeom prst="rect">
              <a:avLst/>
            </a:prstGeom>
          </p:spPr>
        </p:pic>
      </p:grpSp>
      <p:grpSp>
        <p:nvGrpSpPr>
          <p:cNvPr id="626" name="Group 625">
            <a:extLst>
              <a:ext uri="{FF2B5EF4-FFF2-40B4-BE49-F238E27FC236}">
                <a16:creationId xmlns:a16="http://schemas.microsoft.com/office/drawing/2014/main" id="{A5620CC4-EAA2-44BA-9A1A-48EA885FF647}"/>
              </a:ext>
            </a:extLst>
          </p:cNvPr>
          <p:cNvGrpSpPr/>
          <p:nvPr/>
        </p:nvGrpSpPr>
        <p:grpSpPr>
          <a:xfrm>
            <a:off x="1544996" y="3967396"/>
            <a:ext cx="1737113" cy="1005698"/>
            <a:chOff x="6607557" y="4519540"/>
            <a:chExt cx="1737360" cy="1005840"/>
          </a:xfrm>
        </p:grpSpPr>
        <p:sp>
          <p:nvSpPr>
            <p:cNvPr id="627" name="Rectangle 626">
              <a:extLst>
                <a:ext uri="{FF2B5EF4-FFF2-40B4-BE49-F238E27FC236}">
                  <a16:creationId xmlns:a16="http://schemas.microsoft.com/office/drawing/2014/main" id="{74DCAA3E-5FB8-456D-93BB-2EA9181A5E65}"/>
                </a:ext>
              </a:extLst>
            </p:cNvPr>
            <p:cNvSpPr/>
            <p:nvPr/>
          </p:nvSpPr>
          <p:spPr bwMode="auto">
            <a:xfrm>
              <a:off x="660755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zure AD Join</a:t>
              </a:r>
            </a:p>
          </p:txBody>
        </p:sp>
        <p:pic>
          <p:nvPicPr>
            <p:cNvPr id="628" name="Picture 627">
              <a:extLst>
                <a:ext uri="{FF2B5EF4-FFF2-40B4-BE49-F238E27FC236}">
                  <a16:creationId xmlns:a16="http://schemas.microsoft.com/office/drawing/2014/main" id="{4923FA94-264D-49C7-8E4A-9F9D4C2231D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15680" y="4755189"/>
              <a:ext cx="534542" cy="534542"/>
            </a:xfrm>
            <a:prstGeom prst="rect">
              <a:avLst/>
            </a:prstGeom>
          </p:spPr>
        </p:pic>
      </p:grpSp>
      <p:grpSp>
        <p:nvGrpSpPr>
          <p:cNvPr id="629" name="Group 628">
            <a:extLst>
              <a:ext uri="{FF2B5EF4-FFF2-40B4-BE49-F238E27FC236}">
                <a16:creationId xmlns:a16="http://schemas.microsoft.com/office/drawing/2014/main" id="{29BAAFCC-EEFD-48C7-9F30-04B58013D30C}"/>
              </a:ext>
            </a:extLst>
          </p:cNvPr>
          <p:cNvGrpSpPr/>
          <p:nvPr/>
        </p:nvGrpSpPr>
        <p:grpSpPr>
          <a:xfrm>
            <a:off x="1544996" y="3967396"/>
            <a:ext cx="1737113" cy="1005698"/>
            <a:chOff x="6607557" y="1328125"/>
            <a:chExt cx="1737360" cy="1005840"/>
          </a:xfrm>
        </p:grpSpPr>
        <p:sp>
          <p:nvSpPr>
            <p:cNvPr id="630" name="Rectangle 629">
              <a:extLst>
                <a:ext uri="{FF2B5EF4-FFF2-40B4-BE49-F238E27FC236}">
                  <a16:creationId xmlns:a16="http://schemas.microsoft.com/office/drawing/2014/main" id="{A290E110-1139-47CF-B8C5-2230581CA338}"/>
                </a:ext>
              </a:extLst>
            </p:cNvPr>
            <p:cNvSpPr/>
            <p:nvPr/>
          </p:nvSpPr>
          <p:spPr bwMode="auto">
            <a:xfrm>
              <a:off x="660755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Self-Service capabilities</a:t>
              </a:r>
            </a:p>
          </p:txBody>
        </p:sp>
        <p:pic>
          <p:nvPicPr>
            <p:cNvPr id="631" name="Picture 630" descr="A close up of a logo&#10;&#10;Description generated with very high confidence">
              <a:extLst>
                <a:ext uri="{FF2B5EF4-FFF2-40B4-BE49-F238E27FC236}">
                  <a16:creationId xmlns:a16="http://schemas.microsoft.com/office/drawing/2014/main" id="{CD14478D-0996-41A4-B8EA-2FCAAFEECAD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735299" y="1602445"/>
              <a:ext cx="457200" cy="457200"/>
            </a:xfrm>
            <a:prstGeom prst="rect">
              <a:avLst/>
            </a:prstGeom>
          </p:spPr>
        </p:pic>
      </p:grpSp>
      <p:grpSp>
        <p:nvGrpSpPr>
          <p:cNvPr id="632" name="Group 631">
            <a:extLst>
              <a:ext uri="{FF2B5EF4-FFF2-40B4-BE49-F238E27FC236}">
                <a16:creationId xmlns:a16="http://schemas.microsoft.com/office/drawing/2014/main" id="{91E1C7F0-83B7-4A77-9399-D23DB7B7D864}"/>
              </a:ext>
            </a:extLst>
          </p:cNvPr>
          <p:cNvGrpSpPr/>
          <p:nvPr/>
        </p:nvGrpSpPr>
        <p:grpSpPr>
          <a:xfrm>
            <a:off x="1544996" y="3967396"/>
            <a:ext cx="1737113" cy="1005698"/>
            <a:chOff x="8407127" y="4519540"/>
            <a:chExt cx="1737360" cy="1005840"/>
          </a:xfrm>
        </p:grpSpPr>
        <p:sp>
          <p:nvSpPr>
            <p:cNvPr id="633" name="Rectangle 632">
              <a:extLst>
                <a:ext uri="{FF2B5EF4-FFF2-40B4-BE49-F238E27FC236}">
                  <a16:creationId xmlns:a16="http://schemas.microsoft.com/office/drawing/2014/main" id="{40BDED9F-ED86-41BF-84FE-F949E887F478}"/>
                </a:ext>
              </a:extLst>
            </p:cNvPr>
            <p:cNvSpPr/>
            <p:nvPr/>
          </p:nvSpPr>
          <p:spPr bwMode="auto">
            <a:xfrm>
              <a:off x="840712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MDM-auto enrollment /</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Enterprise State Roaming</a:t>
              </a:r>
            </a:p>
          </p:txBody>
        </p:sp>
        <p:pic>
          <p:nvPicPr>
            <p:cNvPr id="634" name="Picture 633" descr="A picture containing thing, object&#10;&#10;Description generated with high confidence">
              <a:extLst>
                <a:ext uri="{FF2B5EF4-FFF2-40B4-BE49-F238E27FC236}">
                  <a16:creationId xmlns:a16="http://schemas.microsoft.com/office/drawing/2014/main" id="{DAEF4A9C-D94F-42ED-9E28-93C0F8FBD2E5}"/>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500403" y="4824745"/>
              <a:ext cx="533566" cy="395430"/>
            </a:xfrm>
            <a:prstGeom prst="rect">
              <a:avLst/>
            </a:prstGeom>
          </p:spPr>
        </p:pic>
      </p:grpSp>
      <p:grpSp>
        <p:nvGrpSpPr>
          <p:cNvPr id="635" name="Group 634">
            <a:extLst>
              <a:ext uri="{FF2B5EF4-FFF2-40B4-BE49-F238E27FC236}">
                <a16:creationId xmlns:a16="http://schemas.microsoft.com/office/drawing/2014/main" id="{61AA9FFA-DF6F-4C91-B1FE-47449040EBAA}"/>
              </a:ext>
            </a:extLst>
          </p:cNvPr>
          <p:cNvGrpSpPr/>
          <p:nvPr/>
        </p:nvGrpSpPr>
        <p:grpSpPr>
          <a:xfrm>
            <a:off x="1544996" y="3967396"/>
            <a:ext cx="1737113" cy="1005698"/>
            <a:chOff x="10206697" y="4519540"/>
            <a:chExt cx="1737360" cy="1005840"/>
          </a:xfrm>
        </p:grpSpPr>
        <p:sp>
          <p:nvSpPr>
            <p:cNvPr id="636" name="Rectangle 635">
              <a:extLst>
                <a:ext uri="{FF2B5EF4-FFF2-40B4-BE49-F238E27FC236}">
                  <a16:creationId xmlns:a16="http://schemas.microsoft.com/office/drawing/2014/main" id="{82C0F6D8-CC0D-406C-93B0-2A2E0C351C83}"/>
                </a:ext>
              </a:extLst>
            </p:cNvPr>
            <p:cNvSpPr/>
            <p:nvPr/>
          </p:nvSpPr>
          <p:spPr bwMode="auto">
            <a:xfrm>
              <a:off x="1020669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Security Reporting</a:t>
              </a:r>
            </a:p>
          </p:txBody>
        </p:sp>
        <p:pic>
          <p:nvPicPr>
            <p:cNvPr id="637" name="Picture 636">
              <a:extLst>
                <a:ext uri="{FF2B5EF4-FFF2-40B4-BE49-F238E27FC236}">
                  <a16:creationId xmlns:a16="http://schemas.microsoft.com/office/drawing/2014/main" id="{5139B9BB-E6C1-4774-A282-E923E8102AD6}"/>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02340" y="4839580"/>
              <a:ext cx="365760" cy="365760"/>
            </a:xfrm>
            <a:prstGeom prst="rect">
              <a:avLst/>
            </a:prstGeom>
          </p:spPr>
        </p:pic>
      </p:grpSp>
      <p:grpSp>
        <p:nvGrpSpPr>
          <p:cNvPr id="638" name="Group 637">
            <a:extLst>
              <a:ext uri="{FF2B5EF4-FFF2-40B4-BE49-F238E27FC236}">
                <a16:creationId xmlns:a16="http://schemas.microsoft.com/office/drawing/2014/main" id="{375B46CD-19AB-4A15-AFB2-D97FD4C254C5}"/>
              </a:ext>
            </a:extLst>
          </p:cNvPr>
          <p:cNvGrpSpPr/>
          <p:nvPr/>
        </p:nvGrpSpPr>
        <p:grpSpPr>
          <a:xfrm>
            <a:off x="1544996" y="3967396"/>
            <a:ext cx="1737113" cy="1005698"/>
            <a:chOff x="10206697" y="5583343"/>
            <a:chExt cx="1737360" cy="1005840"/>
          </a:xfrm>
        </p:grpSpPr>
        <p:sp>
          <p:nvSpPr>
            <p:cNvPr id="639" name="Rectangle 638">
              <a:extLst>
                <a:ext uri="{FF2B5EF4-FFF2-40B4-BE49-F238E27FC236}">
                  <a16:creationId xmlns:a16="http://schemas.microsoft.com/office/drawing/2014/main" id="{03FD57C2-858B-4E73-B15D-9758645F70F4}"/>
                </a:ext>
              </a:extLst>
            </p:cNvPr>
            <p:cNvSpPr/>
            <p:nvPr/>
          </p:nvSpPr>
          <p:spPr bwMode="auto">
            <a:xfrm>
              <a:off x="1020669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Governance</a:t>
              </a:r>
            </a:p>
          </p:txBody>
        </p:sp>
        <p:pic>
          <p:nvPicPr>
            <p:cNvPr id="640" name="Picture 639">
              <a:extLst>
                <a:ext uri="{FF2B5EF4-FFF2-40B4-BE49-F238E27FC236}">
                  <a16:creationId xmlns:a16="http://schemas.microsoft.com/office/drawing/2014/main" id="{6A7E7E82-EF5B-4600-B479-CB7CD87D8B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6620" y="5940386"/>
              <a:ext cx="457200" cy="291755"/>
            </a:xfrm>
            <a:prstGeom prst="rect">
              <a:avLst/>
            </a:prstGeom>
          </p:spPr>
        </p:pic>
      </p:grpSp>
      <p:grpSp>
        <p:nvGrpSpPr>
          <p:cNvPr id="641" name="Group 640">
            <a:extLst>
              <a:ext uri="{FF2B5EF4-FFF2-40B4-BE49-F238E27FC236}">
                <a16:creationId xmlns:a16="http://schemas.microsoft.com/office/drawing/2014/main" id="{00FD8469-80FC-4634-ADD6-DEC5A78E2E6E}"/>
              </a:ext>
            </a:extLst>
          </p:cNvPr>
          <p:cNvGrpSpPr/>
          <p:nvPr/>
        </p:nvGrpSpPr>
        <p:grpSpPr>
          <a:xfrm>
            <a:off x="1544996" y="3967396"/>
            <a:ext cx="1737113" cy="1005698"/>
            <a:chOff x="8407127" y="5583343"/>
            <a:chExt cx="1737360" cy="1005840"/>
          </a:xfrm>
        </p:grpSpPr>
        <p:sp>
          <p:nvSpPr>
            <p:cNvPr id="642" name="Rectangle 641">
              <a:extLst>
                <a:ext uri="{FF2B5EF4-FFF2-40B4-BE49-F238E27FC236}">
                  <a16:creationId xmlns:a16="http://schemas.microsoft.com/office/drawing/2014/main" id="{F4D09F92-0086-4FCB-AB43-CD04CFE52D71}"/>
                </a:ext>
              </a:extLst>
            </p:cNvPr>
            <p:cNvSpPr/>
            <p:nvPr/>
          </p:nvSpPr>
          <p:spPr bwMode="auto">
            <a:xfrm>
              <a:off x="840712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HR App Integration</a:t>
              </a:r>
            </a:p>
          </p:txBody>
        </p:sp>
        <p:pic>
          <p:nvPicPr>
            <p:cNvPr id="643" name="Picture 642">
              <a:extLst>
                <a:ext uri="{FF2B5EF4-FFF2-40B4-BE49-F238E27FC236}">
                  <a16:creationId xmlns:a16="http://schemas.microsoft.com/office/drawing/2014/main" id="{B0A2CAFB-B6AE-4BCD-A395-11D785B19A01}"/>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542380" y="5857216"/>
              <a:ext cx="457200" cy="458095"/>
            </a:xfrm>
            <a:prstGeom prst="rect">
              <a:avLst/>
            </a:prstGeom>
          </p:spPr>
        </p:pic>
      </p:grpSp>
      <p:grpSp>
        <p:nvGrpSpPr>
          <p:cNvPr id="644" name="Group 643">
            <a:extLst>
              <a:ext uri="{FF2B5EF4-FFF2-40B4-BE49-F238E27FC236}">
                <a16:creationId xmlns:a16="http://schemas.microsoft.com/office/drawing/2014/main" id="{01F0C6DB-2907-4437-A171-74A1A82EDE31}"/>
              </a:ext>
            </a:extLst>
          </p:cNvPr>
          <p:cNvGrpSpPr/>
          <p:nvPr/>
        </p:nvGrpSpPr>
        <p:grpSpPr>
          <a:xfrm>
            <a:off x="1544996" y="3967396"/>
            <a:ext cx="1737113" cy="1005698"/>
            <a:chOff x="6607557" y="264320"/>
            <a:chExt cx="1737360" cy="1005840"/>
          </a:xfrm>
        </p:grpSpPr>
        <p:sp>
          <p:nvSpPr>
            <p:cNvPr id="645" name="Rectangle 644">
              <a:extLst>
                <a:ext uri="{FF2B5EF4-FFF2-40B4-BE49-F238E27FC236}">
                  <a16:creationId xmlns:a16="http://schemas.microsoft.com/office/drawing/2014/main" id="{6375204B-D51C-41B2-AF82-ABF17609DE68}"/>
                </a:ext>
              </a:extLst>
            </p:cNvPr>
            <p:cNvSpPr/>
            <p:nvPr/>
          </p:nvSpPr>
          <p:spPr bwMode="auto">
            <a:xfrm>
              <a:off x="660755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B2B collaboration</a:t>
              </a:r>
            </a:p>
          </p:txBody>
        </p:sp>
        <p:grpSp>
          <p:nvGrpSpPr>
            <p:cNvPr id="646" name="Group 645">
              <a:extLst>
                <a:ext uri="{FF2B5EF4-FFF2-40B4-BE49-F238E27FC236}">
                  <a16:creationId xmlns:a16="http://schemas.microsoft.com/office/drawing/2014/main" id="{A8194D12-519D-4C82-BC9D-9762DE8CD3E4}"/>
                </a:ext>
              </a:extLst>
            </p:cNvPr>
            <p:cNvGrpSpPr>
              <a:grpSpLocks noChangeAspect="1"/>
            </p:cNvGrpSpPr>
            <p:nvPr/>
          </p:nvGrpSpPr>
          <p:grpSpPr>
            <a:xfrm>
              <a:off x="6735299" y="630080"/>
              <a:ext cx="516326" cy="274320"/>
              <a:chOff x="10110340" y="2541110"/>
              <a:chExt cx="992606" cy="527364"/>
            </a:xfrm>
            <a:solidFill>
              <a:schemeClr val="accent2"/>
            </a:solidFill>
          </p:grpSpPr>
          <p:grpSp>
            <p:nvGrpSpPr>
              <p:cNvPr id="647" name="Group 646">
                <a:extLst>
                  <a:ext uri="{FF2B5EF4-FFF2-40B4-BE49-F238E27FC236}">
                    <a16:creationId xmlns:a16="http://schemas.microsoft.com/office/drawing/2014/main" id="{847588FD-6C71-4DAF-9464-6D6D4D638EF6}"/>
                  </a:ext>
                </a:extLst>
              </p:cNvPr>
              <p:cNvGrpSpPr/>
              <p:nvPr/>
            </p:nvGrpSpPr>
            <p:grpSpPr>
              <a:xfrm>
                <a:off x="10110340" y="2541110"/>
                <a:ext cx="697761" cy="527364"/>
                <a:chOff x="10110340" y="2541110"/>
                <a:chExt cx="697761" cy="527364"/>
              </a:xfrm>
              <a:grpFill/>
            </p:grpSpPr>
            <p:sp>
              <p:nvSpPr>
                <p:cNvPr id="649" name="Freeform 143">
                  <a:extLst>
                    <a:ext uri="{FF2B5EF4-FFF2-40B4-BE49-F238E27FC236}">
                      <a16:creationId xmlns:a16="http://schemas.microsoft.com/office/drawing/2014/main" id="{BA1669B5-9D23-4126-9794-3B7753C81985}"/>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nvGrpSpPr>
                <p:cNvPr id="650" name="Group 649">
                  <a:extLst>
                    <a:ext uri="{FF2B5EF4-FFF2-40B4-BE49-F238E27FC236}">
                      <a16:creationId xmlns:a16="http://schemas.microsoft.com/office/drawing/2014/main" id="{73B50A7C-5897-4163-84C3-A5887428A882}"/>
                    </a:ext>
                  </a:extLst>
                </p:cNvPr>
                <p:cNvGrpSpPr/>
                <p:nvPr/>
              </p:nvGrpSpPr>
              <p:grpSpPr>
                <a:xfrm>
                  <a:off x="10396736" y="2613879"/>
                  <a:ext cx="411365" cy="381827"/>
                  <a:chOff x="9675960" y="2523905"/>
                  <a:chExt cx="411365" cy="381827"/>
                </a:xfrm>
                <a:grpFill/>
              </p:grpSpPr>
              <p:sp>
                <p:nvSpPr>
                  <p:cNvPr id="651" name="Freeform 44">
                    <a:extLst>
                      <a:ext uri="{FF2B5EF4-FFF2-40B4-BE49-F238E27FC236}">
                        <a16:creationId xmlns:a16="http://schemas.microsoft.com/office/drawing/2014/main" id="{2860A8D1-3B6C-47E1-BCA8-C5F59EDF700F}"/>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652" name="Freeform 44">
                    <a:extLst>
                      <a:ext uri="{FF2B5EF4-FFF2-40B4-BE49-F238E27FC236}">
                        <a16:creationId xmlns:a16="http://schemas.microsoft.com/office/drawing/2014/main" id="{695E5ADA-843D-4009-9F83-97B7E24021B8}"/>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sp>
            <p:nvSpPr>
              <p:cNvPr id="648" name="Freeform 143">
                <a:extLst>
                  <a:ext uri="{FF2B5EF4-FFF2-40B4-BE49-F238E27FC236}">
                    <a16:creationId xmlns:a16="http://schemas.microsoft.com/office/drawing/2014/main" id="{542A24AD-3F5E-459D-AE9F-682AABC641B0}"/>
                  </a:ext>
                </a:extLst>
              </p:cNvPr>
              <p:cNvSpPr>
                <a:spLocks noEditPoints="1"/>
              </p:cNvSpPr>
              <p:nvPr/>
            </p:nvSpPr>
            <p:spPr bwMode="auto">
              <a:xfrm>
                <a:off x="10847406"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grpSp>
        <p:nvGrpSpPr>
          <p:cNvPr id="653" name="Group 652">
            <a:extLst>
              <a:ext uri="{FF2B5EF4-FFF2-40B4-BE49-F238E27FC236}">
                <a16:creationId xmlns:a16="http://schemas.microsoft.com/office/drawing/2014/main" id="{2E588B2F-B077-4EAA-9AF7-5AC45319C03A}"/>
              </a:ext>
            </a:extLst>
          </p:cNvPr>
          <p:cNvGrpSpPr/>
          <p:nvPr/>
        </p:nvGrpSpPr>
        <p:grpSpPr>
          <a:xfrm>
            <a:off x="1544996" y="3967396"/>
            <a:ext cx="1737113" cy="1005698"/>
            <a:chOff x="6607557" y="3455733"/>
            <a:chExt cx="1737360" cy="1005840"/>
          </a:xfrm>
        </p:grpSpPr>
        <p:sp>
          <p:nvSpPr>
            <p:cNvPr id="654" name="Rectangle 653">
              <a:extLst>
                <a:ext uri="{FF2B5EF4-FFF2-40B4-BE49-F238E27FC236}">
                  <a16:creationId xmlns:a16="http://schemas.microsoft.com/office/drawing/2014/main" id="{3DABC515-8998-4426-8413-7DF3547C011B}"/>
                </a:ext>
              </a:extLst>
            </p:cNvPr>
            <p:cNvSpPr/>
            <p:nvPr/>
          </p:nvSpPr>
          <p:spPr bwMode="auto">
            <a:xfrm>
              <a:off x="660755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zure AD</a:t>
              </a:r>
              <a:b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b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B2C</a:t>
              </a:r>
            </a:p>
          </p:txBody>
        </p:sp>
        <p:grpSp>
          <p:nvGrpSpPr>
            <p:cNvPr id="655" name="Group 654">
              <a:extLst>
                <a:ext uri="{FF2B5EF4-FFF2-40B4-BE49-F238E27FC236}">
                  <a16:creationId xmlns:a16="http://schemas.microsoft.com/office/drawing/2014/main" id="{6861AFE0-CBC8-4084-A3BC-260751B8CCC2}"/>
                </a:ext>
              </a:extLst>
            </p:cNvPr>
            <p:cNvGrpSpPr>
              <a:grpSpLocks noChangeAspect="1"/>
            </p:cNvGrpSpPr>
            <p:nvPr/>
          </p:nvGrpSpPr>
          <p:grpSpPr>
            <a:xfrm>
              <a:off x="6687669" y="3821493"/>
              <a:ext cx="568103" cy="274320"/>
              <a:chOff x="7521353" y="3579354"/>
              <a:chExt cx="695006" cy="335598"/>
            </a:xfrm>
          </p:grpSpPr>
          <p:grpSp>
            <p:nvGrpSpPr>
              <p:cNvPr id="656" name="Group 655">
                <a:extLst>
                  <a:ext uri="{FF2B5EF4-FFF2-40B4-BE49-F238E27FC236}">
                    <a16:creationId xmlns:a16="http://schemas.microsoft.com/office/drawing/2014/main" id="{2F4565A9-12B2-4F58-8065-CB55E2C47848}"/>
                  </a:ext>
                </a:extLst>
              </p:cNvPr>
              <p:cNvGrpSpPr/>
              <p:nvPr/>
            </p:nvGrpSpPr>
            <p:grpSpPr>
              <a:xfrm>
                <a:off x="7521353" y="3579354"/>
                <a:ext cx="444034" cy="335598"/>
                <a:chOff x="10110340" y="2541110"/>
                <a:chExt cx="697761" cy="527364"/>
              </a:xfrm>
              <a:solidFill>
                <a:schemeClr val="accent2"/>
              </a:solidFill>
            </p:grpSpPr>
            <p:sp>
              <p:nvSpPr>
                <p:cNvPr id="658" name="Freeform 143">
                  <a:extLst>
                    <a:ext uri="{FF2B5EF4-FFF2-40B4-BE49-F238E27FC236}">
                      <a16:creationId xmlns:a16="http://schemas.microsoft.com/office/drawing/2014/main" id="{24B4657B-6725-424E-820F-9A7B4E55699C}"/>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nvGrpSpPr>
                <p:cNvPr id="659" name="Group 658">
                  <a:extLst>
                    <a:ext uri="{FF2B5EF4-FFF2-40B4-BE49-F238E27FC236}">
                      <a16:creationId xmlns:a16="http://schemas.microsoft.com/office/drawing/2014/main" id="{79970B13-934F-430E-B4CA-0FA359CA4F3C}"/>
                    </a:ext>
                  </a:extLst>
                </p:cNvPr>
                <p:cNvGrpSpPr/>
                <p:nvPr/>
              </p:nvGrpSpPr>
              <p:grpSpPr>
                <a:xfrm>
                  <a:off x="10396736" y="2613879"/>
                  <a:ext cx="411365" cy="381827"/>
                  <a:chOff x="9675960" y="2523905"/>
                  <a:chExt cx="411365" cy="381827"/>
                </a:xfrm>
                <a:grpFill/>
              </p:grpSpPr>
              <p:sp>
                <p:nvSpPr>
                  <p:cNvPr id="660" name="Freeform 44">
                    <a:extLst>
                      <a:ext uri="{FF2B5EF4-FFF2-40B4-BE49-F238E27FC236}">
                        <a16:creationId xmlns:a16="http://schemas.microsoft.com/office/drawing/2014/main" id="{7F0FA4B3-711F-47BA-97E2-11FAB0C5D859}"/>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661" name="Freeform 44">
                    <a:extLst>
                      <a:ext uri="{FF2B5EF4-FFF2-40B4-BE49-F238E27FC236}">
                        <a16:creationId xmlns:a16="http://schemas.microsoft.com/office/drawing/2014/main" id="{C82CC876-A202-4BBE-94DB-1ED4DBCC714D}"/>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sp>
            <p:nvSpPr>
              <p:cNvPr id="657" name="Freeform 12">
                <a:extLst>
                  <a:ext uri="{FF2B5EF4-FFF2-40B4-BE49-F238E27FC236}">
                    <a16:creationId xmlns:a16="http://schemas.microsoft.com/office/drawing/2014/main" id="{781DCC5B-02D7-4168-A615-9239CBA68F99}"/>
                  </a:ext>
                </a:extLst>
              </p:cNvPr>
              <p:cNvSpPr>
                <a:spLocks noChangeAspect="1" noEditPoints="1"/>
              </p:cNvSpPr>
              <p:nvPr/>
            </p:nvSpPr>
            <p:spPr bwMode="auto">
              <a:xfrm>
                <a:off x="7949590" y="3603664"/>
                <a:ext cx="266769" cy="286979"/>
              </a:xfrm>
              <a:custGeom>
                <a:avLst/>
                <a:gdLst>
                  <a:gd name="T0" fmla="*/ 0 w 112"/>
                  <a:gd name="T1" fmla="*/ 120 h 120"/>
                  <a:gd name="T2" fmla="*/ 8 w 112"/>
                  <a:gd name="T3" fmla="*/ 120 h 120"/>
                  <a:gd name="T4" fmla="*/ 32 w 112"/>
                  <a:gd name="T5" fmla="*/ 96 h 120"/>
                  <a:gd name="T6" fmla="*/ 56 w 112"/>
                  <a:gd name="T7" fmla="*/ 120 h 120"/>
                  <a:gd name="T8" fmla="*/ 64 w 112"/>
                  <a:gd name="T9" fmla="*/ 120 h 120"/>
                  <a:gd name="T10" fmla="*/ 46 w 112"/>
                  <a:gd name="T11" fmla="*/ 91 h 120"/>
                  <a:gd name="T12" fmla="*/ 56 w 112"/>
                  <a:gd name="T13" fmla="*/ 72 h 120"/>
                  <a:gd name="T14" fmla="*/ 80 w 112"/>
                  <a:gd name="T15" fmla="*/ 48 h 120"/>
                  <a:gd name="T16" fmla="*/ 104 w 112"/>
                  <a:gd name="T17" fmla="*/ 72 h 120"/>
                  <a:gd name="T18" fmla="*/ 112 w 112"/>
                  <a:gd name="T19" fmla="*/ 72 h 120"/>
                  <a:gd name="T20" fmla="*/ 94 w 112"/>
                  <a:gd name="T21" fmla="*/ 43 h 120"/>
                  <a:gd name="T22" fmla="*/ 104 w 112"/>
                  <a:gd name="T23" fmla="*/ 24 h 120"/>
                  <a:gd name="T24" fmla="*/ 80 w 112"/>
                  <a:gd name="T25" fmla="*/ 0 h 120"/>
                  <a:gd name="T26" fmla="*/ 56 w 112"/>
                  <a:gd name="T27" fmla="*/ 24 h 120"/>
                  <a:gd name="T28" fmla="*/ 65 w 112"/>
                  <a:gd name="T29" fmla="*/ 43 h 120"/>
                  <a:gd name="T30" fmla="*/ 51 w 112"/>
                  <a:gd name="T31" fmla="*/ 58 h 120"/>
                  <a:gd name="T32" fmla="*/ 32 w 112"/>
                  <a:gd name="T33" fmla="*/ 48 h 120"/>
                  <a:gd name="T34" fmla="*/ 8 w 112"/>
                  <a:gd name="T35" fmla="*/ 72 h 120"/>
                  <a:gd name="T36" fmla="*/ 17 w 112"/>
                  <a:gd name="T37" fmla="*/ 91 h 120"/>
                  <a:gd name="T38" fmla="*/ 0 w 112"/>
                  <a:gd name="T39" fmla="*/ 120 h 120"/>
                  <a:gd name="T40" fmla="*/ 64 w 112"/>
                  <a:gd name="T41" fmla="*/ 24 h 120"/>
                  <a:gd name="T42" fmla="*/ 80 w 112"/>
                  <a:gd name="T43" fmla="*/ 8 h 120"/>
                  <a:gd name="T44" fmla="*/ 96 w 112"/>
                  <a:gd name="T45" fmla="*/ 24 h 120"/>
                  <a:gd name="T46" fmla="*/ 80 w 112"/>
                  <a:gd name="T47" fmla="*/ 40 h 120"/>
                  <a:gd name="T48" fmla="*/ 64 w 112"/>
                  <a:gd name="T49" fmla="*/ 24 h 120"/>
                  <a:gd name="T50" fmla="*/ 16 w 112"/>
                  <a:gd name="T51" fmla="*/ 72 h 120"/>
                  <a:gd name="T52" fmla="*/ 32 w 112"/>
                  <a:gd name="T53" fmla="*/ 56 h 120"/>
                  <a:gd name="T54" fmla="*/ 48 w 112"/>
                  <a:gd name="T55" fmla="*/ 72 h 120"/>
                  <a:gd name="T56" fmla="*/ 32 w 112"/>
                  <a:gd name="T57" fmla="*/ 88 h 120"/>
                  <a:gd name="T58" fmla="*/ 16 w 112"/>
                  <a:gd name="T59"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0" y="120"/>
                    </a:moveTo>
                    <a:cubicBezTo>
                      <a:pt x="8" y="120"/>
                      <a:pt x="8" y="120"/>
                      <a:pt x="8" y="120"/>
                    </a:cubicBezTo>
                    <a:cubicBezTo>
                      <a:pt x="8" y="107"/>
                      <a:pt x="18" y="96"/>
                      <a:pt x="32" y="96"/>
                    </a:cubicBezTo>
                    <a:cubicBezTo>
                      <a:pt x="45" y="96"/>
                      <a:pt x="56" y="107"/>
                      <a:pt x="56" y="120"/>
                    </a:cubicBezTo>
                    <a:cubicBezTo>
                      <a:pt x="64" y="120"/>
                      <a:pt x="64" y="120"/>
                      <a:pt x="64" y="120"/>
                    </a:cubicBezTo>
                    <a:cubicBezTo>
                      <a:pt x="64" y="107"/>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59"/>
                      <a:pt x="104" y="49"/>
                      <a:pt x="94" y="43"/>
                    </a:cubicBezTo>
                    <a:cubicBezTo>
                      <a:pt x="100" y="39"/>
                      <a:pt x="104" y="32"/>
                      <a:pt x="104" y="24"/>
                    </a:cubicBezTo>
                    <a:cubicBezTo>
                      <a:pt x="104" y="11"/>
                      <a:pt x="93" y="0"/>
                      <a:pt x="80" y="0"/>
                    </a:cubicBezTo>
                    <a:cubicBezTo>
                      <a:pt x="66" y="0"/>
                      <a:pt x="56" y="11"/>
                      <a:pt x="56" y="24"/>
                    </a:cubicBezTo>
                    <a:cubicBezTo>
                      <a:pt x="56" y="32"/>
                      <a:pt x="60" y="39"/>
                      <a:pt x="65" y="43"/>
                    </a:cubicBezTo>
                    <a:cubicBezTo>
                      <a:pt x="59" y="46"/>
                      <a:pt x="54" y="52"/>
                      <a:pt x="51" y="58"/>
                    </a:cubicBezTo>
                    <a:cubicBezTo>
                      <a:pt x="47" y="52"/>
                      <a:pt x="40" y="48"/>
                      <a:pt x="32" y="48"/>
                    </a:cubicBezTo>
                    <a:cubicBezTo>
                      <a:pt x="18" y="48"/>
                      <a:pt x="8" y="59"/>
                      <a:pt x="8" y="72"/>
                    </a:cubicBezTo>
                    <a:cubicBezTo>
                      <a:pt x="8" y="80"/>
                      <a:pt x="12" y="87"/>
                      <a:pt x="17" y="91"/>
                    </a:cubicBezTo>
                    <a:cubicBezTo>
                      <a:pt x="7" y="97"/>
                      <a:pt x="0" y="107"/>
                      <a:pt x="0" y="120"/>
                    </a:cubicBezTo>
                    <a:close/>
                    <a:moveTo>
                      <a:pt x="64" y="24"/>
                    </a:moveTo>
                    <a:cubicBezTo>
                      <a:pt x="64" y="15"/>
                      <a:pt x="71" y="8"/>
                      <a:pt x="80" y="8"/>
                    </a:cubicBezTo>
                    <a:cubicBezTo>
                      <a:pt x="88" y="8"/>
                      <a:pt x="96" y="15"/>
                      <a:pt x="96" y="24"/>
                    </a:cubicBezTo>
                    <a:cubicBezTo>
                      <a:pt x="96" y="33"/>
                      <a:pt x="88" y="40"/>
                      <a:pt x="80" y="40"/>
                    </a:cubicBezTo>
                    <a:cubicBezTo>
                      <a:pt x="71" y="40"/>
                      <a:pt x="64" y="33"/>
                      <a:pt x="64" y="24"/>
                    </a:cubicBezTo>
                    <a:close/>
                    <a:moveTo>
                      <a:pt x="16" y="72"/>
                    </a:moveTo>
                    <a:cubicBezTo>
                      <a:pt x="16" y="63"/>
                      <a:pt x="23" y="56"/>
                      <a:pt x="32" y="56"/>
                    </a:cubicBezTo>
                    <a:cubicBezTo>
                      <a:pt x="40" y="56"/>
                      <a:pt x="48" y="63"/>
                      <a:pt x="48" y="72"/>
                    </a:cubicBezTo>
                    <a:cubicBezTo>
                      <a:pt x="48" y="81"/>
                      <a:pt x="40" y="88"/>
                      <a:pt x="32" y="88"/>
                    </a:cubicBezTo>
                    <a:cubicBezTo>
                      <a:pt x="23" y="88"/>
                      <a:pt x="16" y="81"/>
                      <a:pt x="16" y="72"/>
                    </a:cubicBezTo>
                    <a:close/>
                  </a:path>
                </a:pathLst>
              </a:custGeom>
              <a:solidFill>
                <a:schemeClr val="accent2"/>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grpSp>
        <p:nvGrpSpPr>
          <p:cNvPr id="662" name="Group 661">
            <a:extLst>
              <a:ext uri="{FF2B5EF4-FFF2-40B4-BE49-F238E27FC236}">
                <a16:creationId xmlns:a16="http://schemas.microsoft.com/office/drawing/2014/main" id="{7A505BEC-1795-4E44-8621-8EADD86C34D3}"/>
              </a:ext>
            </a:extLst>
          </p:cNvPr>
          <p:cNvGrpSpPr/>
          <p:nvPr/>
        </p:nvGrpSpPr>
        <p:grpSpPr>
          <a:xfrm>
            <a:off x="1544996" y="3967396"/>
            <a:ext cx="1737113" cy="1005698"/>
            <a:chOff x="4807987" y="1328125"/>
            <a:chExt cx="1737360" cy="1005840"/>
          </a:xfrm>
        </p:grpSpPr>
        <p:sp>
          <p:nvSpPr>
            <p:cNvPr id="663" name="Rectangle 662">
              <a:extLst>
                <a:ext uri="{FF2B5EF4-FFF2-40B4-BE49-F238E27FC236}">
                  <a16:creationId xmlns:a16="http://schemas.microsoft.com/office/drawing/2014/main" id="{BFBA19D3-91CD-4B08-8BA4-257CD160546A}"/>
                </a:ext>
              </a:extLst>
            </p:cNvPr>
            <p:cNvSpPr/>
            <p:nvPr/>
          </p:nvSpPr>
          <p:spPr bwMode="auto">
            <a:xfrm>
              <a:off x="480798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SSO to SaaS</a:t>
              </a:r>
            </a:p>
          </p:txBody>
        </p:sp>
        <p:pic>
          <p:nvPicPr>
            <p:cNvPr id="664" name="Picture 663" descr="A close up of a sign&#10;&#10;Description generated with high confidence">
              <a:extLst>
                <a:ext uri="{FF2B5EF4-FFF2-40B4-BE49-F238E27FC236}">
                  <a16:creationId xmlns:a16="http://schemas.microsoft.com/office/drawing/2014/main" id="{B55F7C22-5D1C-4331-960F-998045984CF4}"/>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935470" y="1670140"/>
              <a:ext cx="468504" cy="321810"/>
            </a:xfrm>
            <a:prstGeom prst="rect">
              <a:avLst/>
            </a:prstGeom>
          </p:spPr>
        </p:pic>
      </p:grpSp>
      <p:grpSp>
        <p:nvGrpSpPr>
          <p:cNvPr id="665" name="Group 664">
            <a:extLst>
              <a:ext uri="{FF2B5EF4-FFF2-40B4-BE49-F238E27FC236}">
                <a16:creationId xmlns:a16="http://schemas.microsoft.com/office/drawing/2014/main" id="{085E1F50-AECB-4344-8777-47B6C93830E0}"/>
              </a:ext>
            </a:extLst>
          </p:cNvPr>
          <p:cNvGrpSpPr/>
          <p:nvPr/>
        </p:nvGrpSpPr>
        <p:grpSpPr>
          <a:xfrm>
            <a:off x="1544996" y="3967396"/>
            <a:ext cx="1737113" cy="1005698"/>
            <a:chOff x="4807987" y="4519540"/>
            <a:chExt cx="1737360" cy="1005840"/>
          </a:xfrm>
        </p:grpSpPr>
        <p:sp>
          <p:nvSpPr>
            <p:cNvPr id="666" name="Rectangle 665">
              <a:extLst>
                <a:ext uri="{FF2B5EF4-FFF2-40B4-BE49-F238E27FC236}">
                  <a16:creationId xmlns:a16="http://schemas.microsoft.com/office/drawing/2014/main" id="{82601A85-22D2-42A7-BC5D-E2102196BDBF}"/>
                </a:ext>
              </a:extLst>
            </p:cNvPr>
            <p:cNvSpPr/>
            <p:nvPr/>
          </p:nvSpPr>
          <p:spPr bwMode="auto">
            <a:xfrm>
              <a:off x="480798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Microsoft Authenticator  - Password-less Access</a:t>
              </a:r>
            </a:p>
          </p:txBody>
        </p:sp>
        <p:grpSp>
          <p:nvGrpSpPr>
            <p:cNvPr id="667" name="Group 666">
              <a:extLst>
                <a:ext uri="{FF2B5EF4-FFF2-40B4-BE49-F238E27FC236}">
                  <a16:creationId xmlns:a16="http://schemas.microsoft.com/office/drawing/2014/main" id="{2CBA8DB0-E8F8-4626-B6F6-C0AD43D488F3}"/>
                </a:ext>
              </a:extLst>
            </p:cNvPr>
            <p:cNvGrpSpPr>
              <a:grpSpLocks noChangeAspect="1"/>
            </p:cNvGrpSpPr>
            <p:nvPr/>
          </p:nvGrpSpPr>
          <p:grpSpPr>
            <a:xfrm>
              <a:off x="5050459" y="4797980"/>
              <a:ext cx="238526" cy="448955"/>
              <a:chOff x="7368827" y="4988149"/>
              <a:chExt cx="456145" cy="858558"/>
            </a:xfrm>
          </p:grpSpPr>
          <p:grpSp>
            <p:nvGrpSpPr>
              <p:cNvPr id="668" name="Group 667">
                <a:extLst>
                  <a:ext uri="{FF2B5EF4-FFF2-40B4-BE49-F238E27FC236}">
                    <a16:creationId xmlns:a16="http://schemas.microsoft.com/office/drawing/2014/main" id="{94541874-06DD-46CD-B95D-3982DDF16AD3}"/>
                  </a:ext>
                </a:extLst>
              </p:cNvPr>
              <p:cNvGrpSpPr/>
              <p:nvPr/>
            </p:nvGrpSpPr>
            <p:grpSpPr>
              <a:xfrm>
                <a:off x="7368827" y="4988149"/>
                <a:ext cx="456145" cy="858558"/>
                <a:chOff x="9273976" y="4198321"/>
                <a:chExt cx="406409" cy="764944"/>
              </a:xfrm>
            </p:grpSpPr>
            <p:sp>
              <p:nvSpPr>
                <p:cNvPr id="670" name="Freeform 8">
                  <a:extLst>
                    <a:ext uri="{FF2B5EF4-FFF2-40B4-BE49-F238E27FC236}">
                      <a16:creationId xmlns:a16="http://schemas.microsoft.com/office/drawing/2014/main" id="{8AA78738-1EC4-4523-B6EA-17D727AC9B3B}"/>
                    </a:ext>
                  </a:extLst>
                </p:cNvPr>
                <p:cNvSpPr>
                  <a:spLocks/>
                </p:cNvSpPr>
                <p:nvPr/>
              </p:nvSpPr>
              <p:spPr bwMode="auto">
                <a:xfrm>
                  <a:off x="9273976" y="4198321"/>
                  <a:ext cx="406409" cy="764944"/>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671" name="Line 9">
                  <a:extLst>
                    <a:ext uri="{FF2B5EF4-FFF2-40B4-BE49-F238E27FC236}">
                      <a16:creationId xmlns:a16="http://schemas.microsoft.com/office/drawing/2014/main" id="{F25FD676-BEC5-4894-87D5-D5FEF0795446}"/>
                    </a:ext>
                  </a:extLst>
                </p:cNvPr>
                <p:cNvSpPr>
                  <a:spLocks noChangeShapeType="1"/>
                </p:cNvSpPr>
                <p:nvPr/>
              </p:nvSpPr>
              <p:spPr bwMode="auto">
                <a:xfrm flipH="1" flipV="1">
                  <a:off x="9273976" y="4854288"/>
                  <a:ext cx="406409"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672" name="Line 10">
                  <a:extLst>
                    <a:ext uri="{FF2B5EF4-FFF2-40B4-BE49-F238E27FC236}">
                      <a16:creationId xmlns:a16="http://schemas.microsoft.com/office/drawing/2014/main" id="{47A742B1-417C-4192-84C2-0D1F5624B903}"/>
                    </a:ext>
                  </a:extLst>
                </p:cNvPr>
                <p:cNvSpPr>
                  <a:spLocks noChangeShapeType="1"/>
                </p:cNvSpPr>
                <p:nvPr/>
              </p:nvSpPr>
              <p:spPr bwMode="auto">
                <a:xfrm>
                  <a:off x="9273976" y="4298916"/>
                  <a:ext cx="402623" cy="25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a typeface="+mn-ea"/>
                    <a:cs typeface="+mn-cs"/>
                  </a:endParaRPr>
                </a:p>
              </p:txBody>
            </p:sp>
          </p:grpSp>
          <p:sp>
            <p:nvSpPr>
              <p:cNvPr id="669" name="Freeform 172">
                <a:extLst>
                  <a:ext uri="{FF2B5EF4-FFF2-40B4-BE49-F238E27FC236}">
                    <a16:creationId xmlns:a16="http://schemas.microsoft.com/office/drawing/2014/main" id="{04DDD7CF-E492-4DF2-9E4D-355AB486DB76}"/>
                  </a:ext>
                </a:extLst>
              </p:cNvPr>
              <p:cNvSpPr>
                <a:spLocks noChangeAspect="1"/>
              </p:cNvSpPr>
              <p:nvPr/>
            </p:nvSpPr>
            <p:spPr bwMode="black">
              <a:xfrm>
                <a:off x="7436763" y="5243735"/>
                <a:ext cx="324656" cy="368647"/>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4897" tIns="75919" rIns="94897" bIns="75919" numCol="1" spcCol="0" rtlCol="0" fromWordArt="0" anchor="t" anchorCtr="0" forceAA="0" compatLnSpc="1">
                <a:prstTxWarp prst="textNoShape">
                  <a:avLst/>
                </a:prstTxWarp>
                <a:noAutofit/>
              </a:bodyPr>
              <a:lstStyle/>
              <a:p>
                <a:pPr marL="0" marR="0" lvl="0" indent="0" algn="ctr" defTabSz="483831" rtl="0" eaLnBrk="1" fontAlgn="base" latinLnBrk="0" hangingPunct="1">
                  <a:lnSpc>
                    <a:spcPct val="90000"/>
                  </a:lnSpc>
                  <a:spcBef>
                    <a:spcPct val="0"/>
                  </a:spcBef>
                  <a:spcAft>
                    <a:spcPct val="0"/>
                  </a:spcAft>
                  <a:buClrTx/>
                  <a:buSzTx/>
                  <a:buFontTx/>
                  <a:buNone/>
                  <a:tabLst/>
                  <a:defRPr/>
                </a:pPr>
                <a:endParaRPr kumimoji="0" lang="en-US" sz="124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useBgFill="1">
        <p:nvSpPr>
          <p:cNvPr id="31" name="Rectangle 30">
            <a:extLst>
              <a:ext uri="{FF2B5EF4-FFF2-40B4-BE49-F238E27FC236}">
                <a16:creationId xmlns:a16="http://schemas.microsoft.com/office/drawing/2014/main" id="{7276EFC5-7E0A-4B0E-9C54-96B4E7D197F8}"/>
              </a:ext>
            </a:extLst>
          </p:cNvPr>
          <p:cNvSpPr/>
          <p:nvPr/>
        </p:nvSpPr>
        <p:spPr bwMode="auto">
          <a:xfrm>
            <a:off x="1379354" y="3677675"/>
            <a:ext cx="2086979" cy="158991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zure Active Directory in the Marketplace</a:t>
            </a:r>
            <a:br>
              <a:rPr lang="en-US" dirty="0"/>
            </a:br>
            <a:br>
              <a:rPr lang="en-US" dirty="0"/>
            </a:br>
            <a:endParaRPr lang="en-US" dirty="0"/>
          </a:p>
        </p:txBody>
      </p:sp>
      <p:grpSp>
        <p:nvGrpSpPr>
          <p:cNvPr id="563" name="Group 562">
            <a:extLst>
              <a:ext uri="{FF2B5EF4-FFF2-40B4-BE49-F238E27FC236}">
                <a16:creationId xmlns:a16="http://schemas.microsoft.com/office/drawing/2014/main" id="{27797EEF-4014-4AED-9EE3-0821EAC9C0C2}"/>
              </a:ext>
            </a:extLst>
          </p:cNvPr>
          <p:cNvGrpSpPr/>
          <p:nvPr/>
        </p:nvGrpSpPr>
        <p:grpSpPr>
          <a:xfrm>
            <a:off x="4525582" y="2125848"/>
            <a:ext cx="3136829" cy="1646558"/>
            <a:chOff x="8359511" y="2514520"/>
            <a:chExt cx="3137274" cy="1646792"/>
          </a:xfrm>
        </p:grpSpPr>
        <p:sp>
          <p:nvSpPr>
            <p:cNvPr id="564" name="TextBox 563">
              <a:extLst>
                <a:ext uri="{FF2B5EF4-FFF2-40B4-BE49-F238E27FC236}">
                  <a16:creationId xmlns:a16="http://schemas.microsoft.com/office/drawing/2014/main" id="{2529E24A-F139-472F-B94F-0970885A8649}"/>
                </a:ext>
              </a:extLst>
            </p:cNvPr>
            <p:cNvSpPr txBox="1"/>
            <p:nvPr/>
          </p:nvSpPr>
          <p:spPr>
            <a:xfrm>
              <a:off x="8359511" y="3560507"/>
              <a:ext cx="3137274" cy="600805"/>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3</a:t>
              </a:r>
              <a:r>
                <a:rPr kumimoji="0" lang="en-US" sz="1800"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party apps</a:t>
              </a:r>
            </a:p>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in Azure AD</a:t>
              </a:r>
            </a:p>
          </p:txBody>
        </p:sp>
        <p:sp>
          <p:nvSpPr>
            <p:cNvPr id="565" name="TextBox 564">
              <a:extLst>
                <a:ext uri="{FF2B5EF4-FFF2-40B4-BE49-F238E27FC236}">
                  <a16:creationId xmlns:a16="http://schemas.microsoft.com/office/drawing/2014/main" id="{E3692F9D-8B49-4EF1-843C-9320601BC69A}"/>
                </a:ext>
              </a:extLst>
            </p:cNvPr>
            <p:cNvSpPr txBox="1"/>
            <p:nvPr/>
          </p:nvSpPr>
          <p:spPr>
            <a:xfrm>
              <a:off x="8488025" y="2514520"/>
              <a:ext cx="2880246" cy="1024576"/>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6598"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334</a:t>
              </a:r>
              <a:r>
                <a:rPr kumimoji="0" lang="en-US" sz="2353"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 </a:t>
              </a:r>
              <a:r>
                <a:rPr kumimoji="0" lang="en-US" sz="3200" b="1"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K</a:t>
              </a:r>
            </a:p>
          </p:txBody>
        </p:sp>
      </p:grpSp>
      <p:grpSp>
        <p:nvGrpSpPr>
          <p:cNvPr id="566" name="Group 565">
            <a:extLst>
              <a:ext uri="{FF2B5EF4-FFF2-40B4-BE49-F238E27FC236}">
                <a16:creationId xmlns:a16="http://schemas.microsoft.com/office/drawing/2014/main" id="{73E9F7C1-386B-461B-B741-5CF882587B7C}"/>
              </a:ext>
            </a:extLst>
          </p:cNvPr>
          <p:cNvGrpSpPr/>
          <p:nvPr/>
        </p:nvGrpSpPr>
        <p:grpSpPr>
          <a:xfrm>
            <a:off x="9034378" y="2125848"/>
            <a:ext cx="3136829" cy="1900758"/>
            <a:chOff x="8359511" y="2639169"/>
            <a:chExt cx="3137274" cy="1901027"/>
          </a:xfrm>
        </p:grpSpPr>
        <p:sp>
          <p:nvSpPr>
            <p:cNvPr id="567" name="TextBox 566">
              <a:extLst>
                <a:ext uri="{FF2B5EF4-FFF2-40B4-BE49-F238E27FC236}">
                  <a16:creationId xmlns:a16="http://schemas.microsoft.com/office/drawing/2014/main" id="{5470B439-1940-44EC-B5E8-0B3635974484}"/>
                </a:ext>
              </a:extLst>
            </p:cNvPr>
            <p:cNvSpPr txBox="1"/>
            <p:nvPr/>
          </p:nvSpPr>
          <p:spPr>
            <a:xfrm>
              <a:off x="8359511" y="3685154"/>
              <a:ext cx="3137274" cy="855042"/>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of Fortune 500 </a:t>
              </a:r>
              <a:b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companies use </a:t>
              </a:r>
              <a:b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AD</a:t>
              </a:r>
            </a:p>
          </p:txBody>
        </p:sp>
        <p:sp>
          <p:nvSpPr>
            <p:cNvPr id="568" name="TextBox 567">
              <a:extLst>
                <a:ext uri="{FF2B5EF4-FFF2-40B4-BE49-F238E27FC236}">
                  <a16:creationId xmlns:a16="http://schemas.microsoft.com/office/drawing/2014/main" id="{FBCCF692-C51D-47B5-9431-B273F5822952}"/>
                </a:ext>
              </a:extLst>
            </p:cNvPr>
            <p:cNvSpPr txBox="1"/>
            <p:nvPr/>
          </p:nvSpPr>
          <p:spPr>
            <a:xfrm>
              <a:off x="8488025" y="2639169"/>
              <a:ext cx="2880246" cy="1024576"/>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6598"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90</a:t>
              </a:r>
              <a:r>
                <a:rPr kumimoji="0" lang="en-US" sz="2353"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 </a:t>
              </a:r>
              <a:r>
                <a:rPr kumimoji="0" lang="en-US" sz="3200" b="1"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a:t>
              </a:r>
            </a:p>
          </p:txBody>
        </p:sp>
      </p:grpSp>
      <p:grpSp>
        <p:nvGrpSpPr>
          <p:cNvPr id="569" name="Group 568">
            <a:extLst>
              <a:ext uri="{FF2B5EF4-FFF2-40B4-BE49-F238E27FC236}">
                <a16:creationId xmlns:a16="http://schemas.microsoft.com/office/drawing/2014/main" id="{9FD7CA0E-1315-43EE-98D5-77D19E8CF030}"/>
              </a:ext>
            </a:extLst>
          </p:cNvPr>
          <p:cNvGrpSpPr/>
          <p:nvPr/>
        </p:nvGrpSpPr>
        <p:grpSpPr>
          <a:xfrm>
            <a:off x="6779979" y="2125848"/>
            <a:ext cx="3136829" cy="1646558"/>
            <a:chOff x="8359511" y="2514520"/>
            <a:chExt cx="3137274" cy="1646792"/>
          </a:xfrm>
        </p:grpSpPr>
        <p:sp>
          <p:nvSpPr>
            <p:cNvPr id="570" name="TextBox 569">
              <a:extLst>
                <a:ext uri="{FF2B5EF4-FFF2-40B4-BE49-F238E27FC236}">
                  <a16:creationId xmlns:a16="http://schemas.microsoft.com/office/drawing/2014/main" id="{3B0A400A-A62E-4BD1-A7EE-93FEB08E9FA4}"/>
                </a:ext>
              </a:extLst>
            </p:cNvPr>
            <p:cNvSpPr txBox="1"/>
            <p:nvPr/>
          </p:nvSpPr>
          <p:spPr>
            <a:xfrm>
              <a:off x="8359511" y="3560507"/>
              <a:ext cx="3137274" cy="600805"/>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paid Azure AD / </a:t>
              </a:r>
              <a:b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EMS customers</a:t>
              </a:r>
            </a:p>
          </p:txBody>
        </p:sp>
        <p:sp>
          <p:nvSpPr>
            <p:cNvPr id="571" name="TextBox 570">
              <a:extLst>
                <a:ext uri="{FF2B5EF4-FFF2-40B4-BE49-F238E27FC236}">
                  <a16:creationId xmlns:a16="http://schemas.microsoft.com/office/drawing/2014/main" id="{5C2BCB87-0AEE-4414-8136-2A3EB61A917A}"/>
                </a:ext>
              </a:extLst>
            </p:cNvPr>
            <p:cNvSpPr txBox="1"/>
            <p:nvPr/>
          </p:nvSpPr>
          <p:spPr>
            <a:xfrm>
              <a:off x="8488025" y="2514520"/>
              <a:ext cx="2880246" cy="1024576"/>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6598"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64</a:t>
              </a:r>
              <a:r>
                <a:rPr kumimoji="0" lang="en-US" sz="2353"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 </a:t>
              </a:r>
              <a:r>
                <a:rPr kumimoji="0" lang="en-US" sz="3200" b="1"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K</a:t>
              </a:r>
            </a:p>
          </p:txBody>
        </p:sp>
      </p:grpSp>
      <p:cxnSp>
        <p:nvCxnSpPr>
          <p:cNvPr id="578" name="Straight Connector 577">
            <a:extLst>
              <a:ext uri="{FF2B5EF4-FFF2-40B4-BE49-F238E27FC236}">
                <a16:creationId xmlns:a16="http://schemas.microsoft.com/office/drawing/2014/main" id="{9C92A0F2-BC1A-41B9-A714-A98CEB6CC5BC}"/>
              </a:ext>
            </a:extLst>
          </p:cNvPr>
          <p:cNvCxnSpPr>
            <a:cxnSpLocks/>
          </p:cNvCxnSpPr>
          <p:nvPr/>
        </p:nvCxnSpPr>
        <p:spPr>
          <a:xfrm>
            <a:off x="11729990"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580" name="Straight Connector 579">
            <a:extLst>
              <a:ext uri="{FF2B5EF4-FFF2-40B4-BE49-F238E27FC236}">
                <a16:creationId xmlns:a16="http://schemas.microsoft.com/office/drawing/2014/main" id="{653F8AE4-F50C-4FB2-8D72-610DBC3A80C3}"/>
              </a:ext>
            </a:extLst>
          </p:cNvPr>
          <p:cNvCxnSpPr>
            <a:cxnSpLocks/>
          </p:cNvCxnSpPr>
          <p:nvPr/>
        </p:nvCxnSpPr>
        <p:spPr>
          <a:xfrm>
            <a:off x="9475592"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581" name="Straight Connector 580">
            <a:extLst>
              <a:ext uri="{FF2B5EF4-FFF2-40B4-BE49-F238E27FC236}">
                <a16:creationId xmlns:a16="http://schemas.microsoft.com/office/drawing/2014/main" id="{AB6D52F5-000A-4ACD-95DE-9B41AF7AD5B2}"/>
              </a:ext>
            </a:extLst>
          </p:cNvPr>
          <p:cNvCxnSpPr>
            <a:cxnSpLocks/>
          </p:cNvCxnSpPr>
          <p:nvPr/>
        </p:nvCxnSpPr>
        <p:spPr>
          <a:xfrm>
            <a:off x="7221195"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grpSp>
        <p:nvGrpSpPr>
          <p:cNvPr id="457" name="Group 456">
            <a:extLst>
              <a:ext uri="{FF2B5EF4-FFF2-40B4-BE49-F238E27FC236}">
                <a16:creationId xmlns:a16="http://schemas.microsoft.com/office/drawing/2014/main" id="{72E54A9A-C0B0-43B9-9019-4F07CC7CA8B3}"/>
              </a:ext>
            </a:extLst>
          </p:cNvPr>
          <p:cNvGrpSpPr/>
          <p:nvPr/>
        </p:nvGrpSpPr>
        <p:grpSpPr>
          <a:xfrm>
            <a:off x="2271183" y="2125848"/>
            <a:ext cx="3136829" cy="1392358"/>
            <a:chOff x="8359511" y="2389869"/>
            <a:chExt cx="3137274" cy="1392556"/>
          </a:xfrm>
        </p:grpSpPr>
        <p:sp>
          <p:nvSpPr>
            <p:cNvPr id="472" name="TextBox 471">
              <a:extLst>
                <a:ext uri="{FF2B5EF4-FFF2-40B4-BE49-F238E27FC236}">
                  <a16:creationId xmlns:a16="http://schemas.microsoft.com/office/drawing/2014/main" id="{AC161683-5E63-4920-8EA0-C399DF9C6ED7}"/>
                </a:ext>
              </a:extLst>
            </p:cNvPr>
            <p:cNvSpPr txBox="1"/>
            <p:nvPr/>
          </p:nvSpPr>
          <p:spPr>
            <a:xfrm>
              <a:off x="8359511" y="3435855"/>
              <a:ext cx="3137274" cy="346570"/>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identities</a:t>
              </a:r>
            </a:p>
          </p:txBody>
        </p:sp>
        <p:sp>
          <p:nvSpPr>
            <p:cNvPr id="488" name="TextBox 487">
              <a:extLst>
                <a:ext uri="{FF2B5EF4-FFF2-40B4-BE49-F238E27FC236}">
                  <a16:creationId xmlns:a16="http://schemas.microsoft.com/office/drawing/2014/main" id="{2534D3C6-D325-4916-9125-A634E6E36D36}"/>
                </a:ext>
              </a:extLst>
            </p:cNvPr>
            <p:cNvSpPr txBox="1"/>
            <p:nvPr/>
          </p:nvSpPr>
          <p:spPr>
            <a:xfrm>
              <a:off x="8488025" y="2389869"/>
              <a:ext cx="2880246" cy="1024576"/>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6598"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1.01</a:t>
              </a:r>
              <a:r>
                <a:rPr kumimoji="0" lang="en-US" sz="3200" b="1"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B</a:t>
              </a:r>
            </a:p>
          </p:txBody>
        </p:sp>
      </p:grpSp>
      <p:grpSp>
        <p:nvGrpSpPr>
          <p:cNvPr id="560" name="Group 559">
            <a:extLst>
              <a:ext uri="{FF2B5EF4-FFF2-40B4-BE49-F238E27FC236}">
                <a16:creationId xmlns:a16="http://schemas.microsoft.com/office/drawing/2014/main" id="{14558D8F-2B7B-4F70-9EA5-61270B4B12D1}"/>
              </a:ext>
            </a:extLst>
          </p:cNvPr>
          <p:cNvGrpSpPr/>
          <p:nvPr/>
        </p:nvGrpSpPr>
        <p:grpSpPr>
          <a:xfrm>
            <a:off x="16784" y="2125849"/>
            <a:ext cx="3136829" cy="1649623"/>
            <a:chOff x="8359511" y="2389868"/>
            <a:chExt cx="3137274" cy="1649857"/>
          </a:xfrm>
        </p:grpSpPr>
        <p:sp>
          <p:nvSpPr>
            <p:cNvPr id="561" name="TextBox 560">
              <a:extLst>
                <a:ext uri="{FF2B5EF4-FFF2-40B4-BE49-F238E27FC236}">
                  <a16:creationId xmlns:a16="http://schemas.microsoft.com/office/drawing/2014/main" id="{84338B90-C04F-4705-A770-4D672AA79DCD}"/>
                </a:ext>
              </a:extLst>
            </p:cNvPr>
            <p:cNvSpPr txBox="1"/>
            <p:nvPr/>
          </p:nvSpPr>
          <p:spPr>
            <a:xfrm>
              <a:off x="8359511" y="3438920"/>
              <a:ext cx="3137274" cy="600805"/>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organizations</a:t>
              </a:r>
              <a:b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br>
              <a:endPar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62" name="TextBox 561">
              <a:extLst>
                <a:ext uri="{FF2B5EF4-FFF2-40B4-BE49-F238E27FC236}">
                  <a16:creationId xmlns:a16="http://schemas.microsoft.com/office/drawing/2014/main" id="{A834B9C1-3913-4B8F-B14C-3F92A5C3A6DD}"/>
                </a:ext>
              </a:extLst>
            </p:cNvPr>
            <p:cNvSpPr txBox="1"/>
            <p:nvPr/>
          </p:nvSpPr>
          <p:spPr>
            <a:xfrm>
              <a:off x="8488025" y="2389868"/>
              <a:ext cx="2880246" cy="1024576"/>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6598"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14.2</a:t>
              </a:r>
              <a:r>
                <a:rPr kumimoji="0" lang="en-US" sz="2353"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 </a:t>
              </a:r>
              <a:r>
                <a:rPr kumimoji="0" lang="en-US" sz="3200" b="1"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M</a:t>
              </a:r>
            </a:p>
          </p:txBody>
        </p:sp>
      </p:grpSp>
      <p:cxnSp>
        <p:nvCxnSpPr>
          <p:cNvPr id="574" name="Straight Connector 573">
            <a:extLst>
              <a:ext uri="{FF2B5EF4-FFF2-40B4-BE49-F238E27FC236}">
                <a16:creationId xmlns:a16="http://schemas.microsoft.com/office/drawing/2014/main" id="{D51C36A5-BE33-404A-B468-6DA4BF0A9EF0}"/>
              </a:ext>
            </a:extLst>
          </p:cNvPr>
          <p:cNvCxnSpPr>
            <a:cxnSpLocks/>
          </p:cNvCxnSpPr>
          <p:nvPr/>
        </p:nvCxnSpPr>
        <p:spPr>
          <a:xfrm>
            <a:off x="458000"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582" name="Straight Connector 581">
            <a:extLst>
              <a:ext uri="{FF2B5EF4-FFF2-40B4-BE49-F238E27FC236}">
                <a16:creationId xmlns:a16="http://schemas.microsoft.com/office/drawing/2014/main" id="{E4091808-0D7C-4921-81E1-1628B5257B6F}"/>
              </a:ext>
            </a:extLst>
          </p:cNvPr>
          <p:cNvCxnSpPr>
            <a:cxnSpLocks/>
          </p:cNvCxnSpPr>
          <p:nvPr/>
        </p:nvCxnSpPr>
        <p:spPr>
          <a:xfrm>
            <a:off x="4966796"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583" name="Straight Connector 582">
            <a:extLst>
              <a:ext uri="{FF2B5EF4-FFF2-40B4-BE49-F238E27FC236}">
                <a16:creationId xmlns:a16="http://schemas.microsoft.com/office/drawing/2014/main" id="{D84E80C0-81A1-474D-AD7E-F2A083B00E5D}"/>
              </a:ext>
            </a:extLst>
          </p:cNvPr>
          <p:cNvCxnSpPr>
            <a:cxnSpLocks/>
          </p:cNvCxnSpPr>
          <p:nvPr/>
        </p:nvCxnSpPr>
        <p:spPr>
          <a:xfrm>
            <a:off x="2712398"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120" name="Diamond 2">
            <a:extLst>
              <a:ext uri="{FF2B5EF4-FFF2-40B4-BE49-F238E27FC236}">
                <a16:creationId xmlns:a16="http://schemas.microsoft.com/office/drawing/2014/main" id="{44E7B272-1DFD-4146-BE5B-84802EEA7E4C}"/>
              </a:ext>
            </a:extLst>
          </p:cNvPr>
          <p:cNvSpPr/>
          <p:nvPr/>
        </p:nvSpPr>
        <p:spPr bwMode="auto">
          <a:xfrm>
            <a:off x="7457072" y="3917092"/>
            <a:ext cx="1776692" cy="1766169"/>
          </a:xfrm>
          <a:custGeom>
            <a:avLst/>
            <a:gdLst>
              <a:gd name="connsiteX0" fmla="*/ 0 w 1437052"/>
              <a:gd name="connsiteY0" fmla="*/ 705749 h 1411497"/>
              <a:gd name="connsiteX1" fmla="*/ 718526 w 1437052"/>
              <a:gd name="connsiteY1" fmla="*/ 0 h 1411497"/>
              <a:gd name="connsiteX2" fmla="*/ 1437052 w 1437052"/>
              <a:gd name="connsiteY2" fmla="*/ 705749 h 1411497"/>
              <a:gd name="connsiteX3" fmla="*/ 718526 w 1437052"/>
              <a:gd name="connsiteY3" fmla="*/ 1411497 h 1411497"/>
              <a:gd name="connsiteX4" fmla="*/ 0 w 1437052"/>
              <a:gd name="connsiteY4" fmla="*/ 705749 h 1411497"/>
              <a:gd name="connsiteX0" fmla="*/ 0 w 1419907"/>
              <a:gd name="connsiteY0" fmla="*/ 70574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705749 h 1411497"/>
              <a:gd name="connsiteX0" fmla="*/ 0 w 1419907"/>
              <a:gd name="connsiteY0" fmla="*/ 83147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831479 h 1411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907" h="1411497">
                <a:moveTo>
                  <a:pt x="0" y="831479"/>
                </a:moveTo>
                <a:lnTo>
                  <a:pt x="718526" y="0"/>
                </a:lnTo>
                <a:lnTo>
                  <a:pt x="1419907" y="831479"/>
                </a:lnTo>
                <a:lnTo>
                  <a:pt x="718526" y="1411497"/>
                </a:lnTo>
                <a:lnTo>
                  <a:pt x="0" y="831479"/>
                </a:lnTo>
                <a:close/>
              </a:path>
            </a:pathLst>
          </a:custGeom>
          <a:solidFill>
            <a:srgbClr val="0078D7"/>
          </a:solid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1" name="Diamond 2">
            <a:extLst>
              <a:ext uri="{FF2B5EF4-FFF2-40B4-BE49-F238E27FC236}">
                <a16:creationId xmlns:a16="http://schemas.microsoft.com/office/drawing/2014/main" id="{4E3E5ED4-9DEA-428A-9C1C-FBDC9E37ABFC}"/>
              </a:ext>
            </a:extLst>
          </p:cNvPr>
          <p:cNvSpPr/>
          <p:nvPr/>
        </p:nvSpPr>
        <p:spPr bwMode="auto">
          <a:xfrm>
            <a:off x="2947496" y="3917092"/>
            <a:ext cx="1776692" cy="1766169"/>
          </a:xfrm>
          <a:custGeom>
            <a:avLst/>
            <a:gdLst>
              <a:gd name="connsiteX0" fmla="*/ 0 w 1437052"/>
              <a:gd name="connsiteY0" fmla="*/ 705749 h 1411497"/>
              <a:gd name="connsiteX1" fmla="*/ 718526 w 1437052"/>
              <a:gd name="connsiteY1" fmla="*/ 0 h 1411497"/>
              <a:gd name="connsiteX2" fmla="*/ 1437052 w 1437052"/>
              <a:gd name="connsiteY2" fmla="*/ 705749 h 1411497"/>
              <a:gd name="connsiteX3" fmla="*/ 718526 w 1437052"/>
              <a:gd name="connsiteY3" fmla="*/ 1411497 h 1411497"/>
              <a:gd name="connsiteX4" fmla="*/ 0 w 1437052"/>
              <a:gd name="connsiteY4" fmla="*/ 705749 h 1411497"/>
              <a:gd name="connsiteX0" fmla="*/ 0 w 1419907"/>
              <a:gd name="connsiteY0" fmla="*/ 70574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705749 h 1411497"/>
              <a:gd name="connsiteX0" fmla="*/ 0 w 1419907"/>
              <a:gd name="connsiteY0" fmla="*/ 83147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831479 h 1411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907" h="1411497">
                <a:moveTo>
                  <a:pt x="0" y="831479"/>
                </a:moveTo>
                <a:lnTo>
                  <a:pt x="718526" y="0"/>
                </a:lnTo>
                <a:lnTo>
                  <a:pt x="1419907" y="831479"/>
                </a:lnTo>
                <a:lnTo>
                  <a:pt x="718526" y="1411497"/>
                </a:lnTo>
                <a:lnTo>
                  <a:pt x="0" y="831479"/>
                </a:lnTo>
                <a:close/>
              </a:path>
            </a:pathLst>
          </a:custGeom>
          <a:solidFill>
            <a:srgbClr val="0078D7"/>
          </a:solid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Diamond 2">
            <a:extLst>
              <a:ext uri="{FF2B5EF4-FFF2-40B4-BE49-F238E27FC236}">
                <a16:creationId xmlns:a16="http://schemas.microsoft.com/office/drawing/2014/main" id="{476C8240-9870-4292-AC22-0E6FD99FD6D9}"/>
              </a:ext>
            </a:extLst>
          </p:cNvPr>
          <p:cNvSpPr/>
          <p:nvPr/>
        </p:nvSpPr>
        <p:spPr bwMode="auto">
          <a:xfrm>
            <a:off x="5191710" y="3917092"/>
            <a:ext cx="1776692" cy="1766169"/>
          </a:xfrm>
          <a:custGeom>
            <a:avLst/>
            <a:gdLst>
              <a:gd name="connsiteX0" fmla="*/ 0 w 1437052"/>
              <a:gd name="connsiteY0" fmla="*/ 705749 h 1411497"/>
              <a:gd name="connsiteX1" fmla="*/ 718526 w 1437052"/>
              <a:gd name="connsiteY1" fmla="*/ 0 h 1411497"/>
              <a:gd name="connsiteX2" fmla="*/ 1437052 w 1437052"/>
              <a:gd name="connsiteY2" fmla="*/ 705749 h 1411497"/>
              <a:gd name="connsiteX3" fmla="*/ 718526 w 1437052"/>
              <a:gd name="connsiteY3" fmla="*/ 1411497 h 1411497"/>
              <a:gd name="connsiteX4" fmla="*/ 0 w 1437052"/>
              <a:gd name="connsiteY4" fmla="*/ 705749 h 1411497"/>
              <a:gd name="connsiteX0" fmla="*/ 0 w 1419907"/>
              <a:gd name="connsiteY0" fmla="*/ 70574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705749 h 1411497"/>
              <a:gd name="connsiteX0" fmla="*/ 0 w 1419907"/>
              <a:gd name="connsiteY0" fmla="*/ 83147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831479 h 1411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907" h="1411497">
                <a:moveTo>
                  <a:pt x="0" y="831479"/>
                </a:moveTo>
                <a:lnTo>
                  <a:pt x="718526" y="0"/>
                </a:lnTo>
                <a:lnTo>
                  <a:pt x="1419907" y="831479"/>
                </a:lnTo>
                <a:lnTo>
                  <a:pt x="718526" y="1411497"/>
                </a:lnTo>
                <a:lnTo>
                  <a:pt x="0" y="831479"/>
                </a:lnTo>
                <a:close/>
              </a:path>
            </a:pathLst>
          </a:custGeom>
          <a:solidFill>
            <a:srgbClr val="0078D7"/>
          </a:solid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8" name="Freeform: Shape 127">
            <a:extLst>
              <a:ext uri="{FF2B5EF4-FFF2-40B4-BE49-F238E27FC236}">
                <a16:creationId xmlns:a16="http://schemas.microsoft.com/office/drawing/2014/main" id="{A6EADA6F-891E-4739-9A52-B272859C40AF}"/>
              </a:ext>
            </a:extLst>
          </p:cNvPr>
          <p:cNvSpPr>
            <a:spLocks noChangeAspect="1"/>
          </p:cNvSpPr>
          <p:nvPr/>
        </p:nvSpPr>
        <p:spPr bwMode="auto">
          <a:xfrm flipV="1">
            <a:off x="704107" y="3921050"/>
            <a:ext cx="1773684" cy="1762211"/>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3669750 w 7802051"/>
              <a:gd name="connsiteY7" fmla="*/ 4921020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4279965 w 7802051"/>
              <a:gd name="connsiteY19" fmla="*/ 4958071 h 7751588"/>
              <a:gd name="connsiteX20" fmla="*/ 3940727 w 7802051"/>
              <a:gd name="connsiteY20" fmla="*/ 6219967 h 7751588"/>
              <a:gd name="connsiteX21" fmla="*/ 3262698 w 7802051"/>
              <a:gd name="connsiteY21" fmla="*/ 5541937 h 7751588"/>
              <a:gd name="connsiteX22" fmla="*/ 3378494 w 7802051"/>
              <a:gd name="connsiteY22" fmla="*/ 5162844 h 7751588"/>
              <a:gd name="connsiteX23" fmla="*/ 3384198 w 7802051"/>
              <a:gd name="connsiteY23" fmla="*/ 5155931 h 7751588"/>
              <a:gd name="connsiteX24" fmla="*/ 2119419 w 7802051"/>
              <a:gd name="connsiteY24" fmla="*/ 3948859 h 7751588"/>
              <a:gd name="connsiteX25" fmla="*/ 2036672 w 7802051"/>
              <a:gd name="connsiteY25" fmla="*/ 3993772 h 7751588"/>
              <a:gd name="connsiteX26" fmla="*/ 1793305 w 7802051"/>
              <a:gd name="connsiteY26" fmla="*/ 4042906 h 7751588"/>
              <a:gd name="connsiteX27" fmla="*/ 1168076 w 7802051"/>
              <a:gd name="connsiteY27" fmla="*/ 3417678 h 7751588"/>
              <a:gd name="connsiteX28" fmla="*/ 1793304 w 7802051"/>
              <a:gd name="connsiteY28" fmla="*/ 2792451 h 7751588"/>
              <a:gd name="connsiteX29" fmla="*/ 2235408 w 7802051"/>
              <a:gd name="connsiteY29" fmla="*/ 2975575 h 7751588"/>
              <a:gd name="connsiteX30" fmla="*/ 2241113 w 7802051"/>
              <a:gd name="connsiteY30" fmla="*/ 2982489 h 7751588"/>
              <a:gd name="connsiteX31" fmla="*/ 3433657 w 7802051"/>
              <a:gd name="connsiteY31" fmla="*/ 2275919 h 7751588"/>
              <a:gd name="connsiteX32" fmla="*/ 3422279 w 7802051"/>
              <a:gd name="connsiteY32" fmla="*/ 2262129 h 7751588"/>
              <a:gd name="connsiteX33" fmla="*/ 3315500 w 7802051"/>
              <a:gd name="connsiteY33" fmla="*/ 1912558 h 7751588"/>
              <a:gd name="connsiteX34" fmla="*/ 3940728 w 7802051"/>
              <a:gd name="connsiteY34" fmla="*/ 1287330 h 7751588"/>
              <a:gd name="connsiteX35" fmla="*/ 4565956 w 7802051"/>
              <a:gd name="connsiteY35" fmla="*/ 1912558 h 7751588"/>
              <a:gd name="connsiteX36" fmla="*/ 4459177 w 7802051"/>
              <a:gd name="connsiteY36" fmla="*/ 2262129 h 7751588"/>
              <a:gd name="connsiteX37" fmla="*/ 4442548 w 7802051"/>
              <a:gd name="connsiteY37" fmla="*/ 2282283 h 7751588"/>
              <a:gd name="connsiteX38" fmla="*/ 5549310 w 7802051"/>
              <a:gd name="connsiteY38" fmla="*/ 3001346 h 7751588"/>
              <a:gd name="connsiteX39" fmla="*/ 5566644 w 7802051"/>
              <a:gd name="connsiteY39" fmla="*/ 2980338 h 7751588"/>
              <a:gd name="connsiteX40" fmla="*/ 6008747 w 7802051"/>
              <a:gd name="connsiteY40" fmla="*/ 2797213 h 7751588"/>
              <a:gd name="connsiteX41" fmla="*/ 6633974 w 7802051"/>
              <a:gd name="connsiteY41" fmla="*/ 3422441 h 7751588"/>
              <a:gd name="connsiteX42" fmla="*/ 6008747 w 7802051"/>
              <a:gd name="connsiteY42" fmla="*/ 4047670 h 7751588"/>
              <a:gd name="connsiteX43" fmla="*/ 5659175 w 7802051"/>
              <a:gd name="connsiteY43" fmla="*/ 3940890 h 7751588"/>
              <a:gd name="connsiteX44" fmla="*/ 5615689 w 7802051"/>
              <a:gd name="connsiteY44" fmla="*/ 3905011 h 7751588"/>
              <a:gd name="connsiteX45" fmla="*/ 4536367 w 7802051"/>
              <a:gd name="connsiteY45" fmla="*/ 5224392 h 7751588"/>
              <a:gd name="connsiteX46" fmla="*/ 4565475 w 7802051"/>
              <a:gd name="connsiteY46" fmla="*/ 5278017 h 7751588"/>
              <a:gd name="connsiteX47" fmla="*/ 4618758 w 7802051"/>
              <a:gd name="connsiteY47" fmla="*/ 5541937 h 7751588"/>
              <a:gd name="connsiteX48" fmla="*/ 3940727 w 7802051"/>
              <a:gd name="connsiteY48" fmla="*/ 6219967 h 7751588"/>
              <a:gd name="connsiteX49" fmla="*/ 3898615 w 7802051"/>
              <a:gd name="connsiteY49" fmla="*/ 7751588 h 7751588"/>
              <a:gd name="connsiteX50" fmla="*/ 7797230 w 7802051"/>
              <a:gd name="connsiteY50" fmla="*/ 3181174 h 7751588"/>
              <a:gd name="connsiteX51" fmla="*/ 7802051 w 7802051"/>
              <a:gd name="connsiteY51" fmla="*/ 3181174 h 7751588"/>
              <a:gd name="connsiteX52" fmla="*/ 3903436 w 7802051"/>
              <a:gd name="connsiteY52" fmla="*/ 0 h 7751588"/>
              <a:gd name="connsiteX53" fmla="*/ 4821 w 7802051"/>
              <a:gd name="connsiteY53" fmla="*/ 3181174 h 7751588"/>
              <a:gd name="connsiteX54" fmla="*/ 0 w 7802051"/>
              <a:gd name="connsiteY54" fmla="*/ 3181174 h 7751588"/>
              <a:gd name="connsiteX55" fmla="*/ 3898615 w 7802051"/>
              <a:gd name="connsiteY55"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279965 w 7802051"/>
              <a:gd name="connsiteY7" fmla="*/ 4958071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2527359 h 7751588"/>
              <a:gd name="connsiteX15" fmla="*/ 4044164 w 7802051"/>
              <a:gd name="connsiteY15" fmla="*/ 4874334 h 7751588"/>
              <a:gd name="connsiteX16" fmla="*/ 4077374 w 7802051"/>
              <a:gd name="connsiteY16" fmla="*/ 4877682 h 7751588"/>
              <a:gd name="connsiteX17" fmla="*/ 4204647 w 7802051"/>
              <a:gd name="connsiteY17" fmla="*/ 4917190 h 7751588"/>
              <a:gd name="connsiteX18" fmla="*/ 4279965 w 7802051"/>
              <a:gd name="connsiteY18" fmla="*/ 4958071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 name="connsiteX54" fmla="*/ 3898615 w 7802051"/>
              <a:gd name="connsiteY54"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279965 w 7802051"/>
              <a:gd name="connsiteY7" fmla="*/ 4958071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4874334 h 7751588"/>
              <a:gd name="connsiteX15" fmla="*/ 4077374 w 7802051"/>
              <a:gd name="connsiteY15" fmla="*/ 4877682 h 7751588"/>
              <a:gd name="connsiteX16" fmla="*/ 4204647 w 7802051"/>
              <a:gd name="connsiteY16" fmla="*/ 4917190 h 7751588"/>
              <a:gd name="connsiteX17" fmla="*/ 4279965 w 7802051"/>
              <a:gd name="connsiteY17" fmla="*/ 4958071 h 7751588"/>
              <a:gd name="connsiteX18" fmla="*/ 3940727 w 7802051"/>
              <a:gd name="connsiteY18" fmla="*/ 6219967 h 7751588"/>
              <a:gd name="connsiteX19" fmla="*/ 3262698 w 7802051"/>
              <a:gd name="connsiteY19" fmla="*/ 5541937 h 7751588"/>
              <a:gd name="connsiteX20" fmla="*/ 3378494 w 7802051"/>
              <a:gd name="connsiteY20" fmla="*/ 5162844 h 7751588"/>
              <a:gd name="connsiteX21" fmla="*/ 3384198 w 7802051"/>
              <a:gd name="connsiteY21" fmla="*/ 5155931 h 7751588"/>
              <a:gd name="connsiteX22" fmla="*/ 2119419 w 7802051"/>
              <a:gd name="connsiteY22" fmla="*/ 3948859 h 7751588"/>
              <a:gd name="connsiteX23" fmla="*/ 2036672 w 7802051"/>
              <a:gd name="connsiteY23" fmla="*/ 3993772 h 7751588"/>
              <a:gd name="connsiteX24" fmla="*/ 1793305 w 7802051"/>
              <a:gd name="connsiteY24" fmla="*/ 4042906 h 7751588"/>
              <a:gd name="connsiteX25" fmla="*/ 1168076 w 7802051"/>
              <a:gd name="connsiteY25" fmla="*/ 3417678 h 7751588"/>
              <a:gd name="connsiteX26" fmla="*/ 1793304 w 7802051"/>
              <a:gd name="connsiteY26" fmla="*/ 2792451 h 7751588"/>
              <a:gd name="connsiteX27" fmla="*/ 2235408 w 7802051"/>
              <a:gd name="connsiteY27" fmla="*/ 2975575 h 7751588"/>
              <a:gd name="connsiteX28" fmla="*/ 2241113 w 7802051"/>
              <a:gd name="connsiteY28" fmla="*/ 2982489 h 7751588"/>
              <a:gd name="connsiteX29" fmla="*/ 3433657 w 7802051"/>
              <a:gd name="connsiteY29" fmla="*/ 2275919 h 7751588"/>
              <a:gd name="connsiteX30" fmla="*/ 3422279 w 7802051"/>
              <a:gd name="connsiteY30" fmla="*/ 2262129 h 7751588"/>
              <a:gd name="connsiteX31" fmla="*/ 3315500 w 7802051"/>
              <a:gd name="connsiteY31" fmla="*/ 1912558 h 7751588"/>
              <a:gd name="connsiteX32" fmla="*/ 3940728 w 7802051"/>
              <a:gd name="connsiteY32" fmla="*/ 1287330 h 7751588"/>
              <a:gd name="connsiteX33" fmla="*/ 4565956 w 7802051"/>
              <a:gd name="connsiteY33" fmla="*/ 1912558 h 7751588"/>
              <a:gd name="connsiteX34" fmla="*/ 4459177 w 7802051"/>
              <a:gd name="connsiteY34" fmla="*/ 2262129 h 7751588"/>
              <a:gd name="connsiteX35" fmla="*/ 4442548 w 7802051"/>
              <a:gd name="connsiteY35" fmla="*/ 2282283 h 7751588"/>
              <a:gd name="connsiteX36" fmla="*/ 5549310 w 7802051"/>
              <a:gd name="connsiteY36" fmla="*/ 3001346 h 7751588"/>
              <a:gd name="connsiteX37" fmla="*/ 5566644 w 7802051"/>
              <a:gd name="connsiteY37" fmla="*/ 2980338 h 7751588"/>
              <a:gd name="connsiteX38" fmla="*/ 6008747 w 7802051"/>
              <a:gd name="connsiteY38" fmla="*/ 2797213 h 7751588"/>
              <a:gd name="connsiteX39" fmla="*/ 6633974 w 7802051"/>
              <a:gd name="connsiteY39" fmla="*/ 3422441 h 7751588"/>
              <a:gd name="connsiteX40" fmla="*/ 6008747 w 7802051"/>
              <a:gd name="connsiteY40" fmla="*/ 4047670 h 7751588"/>
              <a:gd name="connsiteX41" fmla="*/ 5659175 w 7802051"/>
              <a:gd name="connsiteY41" fmla="*/ 3940890 h 7751588"/>
              <a:gd name="connsiteX42" fmla="*/ 5615689 w 7802051"/>
              <a:gd name="connsiteY42" fmla="*/ 3905011 h 7751588"/>
              <a:gd name="connsiteX43" fmla="*/ 4536367 w 7802051"/>
              <a:gd name="connsiteY43" fmla="*/ 5224392 h 7751588"/>
              <a:gd name="connsiteX44" fmla="*/ 4565475 w 7802051"/>
              <a:gd name="connsiteY44" fmla="*/ 5278017 h 7751588"/>
              <a:gd name="connsiteX45" fmla="*/ 4618758 w 7802051"/>
              <a:gd name="connsiteY45" fmla="*/ 5541937 h 7751588"/>
              <a:gd name="connsiteX46" fmla="*/ 3940727 w 7802051"/>
              <a:gd name="connsiteY46" fmla="*/ 6219967 h 7751588"/>
              <a:gd name="connsiteX47" fmla="*/ 3898615 w 7802051"/>
              <a:gd name="connsiteY47" fmla="*/ 7751588 h 7751588"/>
              <a:gd name="connsiteX48" fmla="*/ 7797230 w 7802051"/>
              <a:gd name="connsiteY48" fmla="*/ 3181174 h 7751588"/>
              <a:gd name="connsiteX49" fmla="*/ 7802051 w 7802051"/>
              <a:gd name="connsiteY49" fmla="*/ 3181174 h 7751588"/>
              <a:gd name="connsiteX50" fmla="*/ 3903436 w 7802051"/>
              <a:gd name="connsiteY50" fmla="*/ 0 h 7751588"/>
              <a:gd name="connsiteX51" fmla="*/ 4821 w 7802051"/>
              <a:gd name="connsiteY51" fmla="*/ 3181174 h 7751588"/>
              <a:gd name="connsiteX52" fmla="*/ 0 w 7802051"/>
              <a:gd name="connsiteY52" fmla="*/ 3181174 h 7751588"/>
              <a:gd name="connsiteX53" fmla="*/ 3898615 w 7802051"/>
              <a:gd name="connsiteY53"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279965 w 7802051"/>
              <a:gd name="connsiteY7" fmla="*/ 4958071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4874334 h 7751588"/>
              <a:gd name="connsiteX15" fmla="*/ 4077374 w 7802051"/>
              <a:gd name="connsiteY15" fmla="*/ 4877682 h 7751588"/>
              <a:gd name="connsiteX16" fmla="*/ 4204647 w 7802051"/>
              <a:gd name="connsiteY16" fmla="*/ 4917190 h 7751588"/>
              <a:gd name="connsiteX17" fmla="*/ 4279965 w 7802051"/>
              <a:gd name="connsiteY17" fmla="*/ 4958071 h 7751588"/>
              <a:gd name="connsiteX18" fmla="*/ 3940727 w 7802051"/>
              <a:gd name="connsiteY18" fmla="*/ 6219967 h 7751588"/>
              <a:gd name="connsiteX19" fmla="*/ 3262698 w 7802051"/>
              <a:gd name="connsiteY19" fmla="*/ 5541937 h 7751588"/>
              <a:gd name="connsiteX20" fmla="*/ 3378494 w 7802051"/>
              <a:gd name="connsiteY20" fmla="*/ 5162844 h 7751588"/>
              <a:gd name="connsiteX21" fmla="*/ 3384198 w 7802051"/>
              <a:gd name="connsiteY21" fmla="*/ 5155931 h 7751588"/>
              <a:gd name="connsiteX22" fmla="*/ 2119419 w 7802051"/>
              <a:gd name="connsiteY22" fmla="*/ 3948859 h 7751588"/>
              <a:gd name="connsiteX23" fmla="*/ 2036672 w 7802051"/>
              <a:gd name="connsiteY23" fmla="*/ 3993772 h 7751588"/>
              <a:gd name="connsiteX24" fmla="*/ 1793305 w 7802051"/>
              <a:gd name="connsiteY24" fmla="*/ 4042906 h 7751588"/>
              <a:gd name="connsiteX25" fmla="*/ 1168076 w 7802051"/>
              <a:gd name="connsiteY25" fmla="*/ 3417678 h 7751588"/>
              <a:gd name="connsiteX26" fmla="*/ 1793304 w 7802051"/>
              <a:gd name="connsiteY26" fmla="*/ 2792451 h 7751588"/>
              <a:gd name="connsiteX27" fmla="*/ 2235408 w 7802051"/>
              <a:gd name="connsiteY27" fmla="*/ 2975575 h 7751588"/>
              <a:gd name="connsiteX28" fmla="*/ 2241113 w 7802051"/>
              <a:gd name="connsiteY28" fmla="*/ 2982489 h 7751588"/>
              <a:gd name="connsiteX29" fmla="*/ 3433657 w 7802051"/>
              <a:gd name="connsiteY29" fmla="*/ 2275919 h 7751588"/>
              <a:gd name="connsiteX30" fmla="*/ 3422279 w 7802051"/>
              <a:gd name="connsiteY30" fmla="*/ 2262129 h 7751588"/>
              <a:gd name="connsiteX31" fmla="*/ 3315500 w 7802051"/>
              <a:gd name="connsiteY31" fmla="*/ 1912558 h 7751588"/>
              <a:gd name="connsiteX32" fmla="*/ 3940728 w 7802051"/>
              <a:gd name="connsiteY32" fmla="*/ 1287330 h 7751588"/>
              <a:gd name="connsiteX33" fmla="*/ 4565956 w 7802051"/>
              <a:gd name="connsiteY33" fmla="*/ 1912558 h 7751588"/>
              <a:gd name="connsiteX34" fmla="*/ 4459177 w 7802051"/>
              <a:gd name="connsiteY34" fmla="*/ 2262129 h 7751588"/>
              <a:gd name="connsiteX35" fmla="*/ 4442548 w 7802051"/>
              <a:gd name="connsiteY35" fmla="*/ 2282283 h 7751588"/>
              <a:gd name="connsiteX36" fmla="*/ 5549310 w 7802051"/>
              <a:gd name="connsiteY36" fmla="*/ 3001346 h 7751588"/>
              <a:gd name="connsiteX37" fmla="*/ 6008747 w 7802051"/>
              <a:gd name="connsiteY37" fmla="*/ 2797213 h 7751588"/>
              <a:gd name="connsiteX38" fmla="*/ 6633974 w 7802051"/>
              <a:gd name="connsiteY38" fmla="*/ 3422441 h 7751588"/>
              <a:gd name="connsiteX39" fmla="*/ 6008747 w 7802051"/>
              <a:gd name="connsiteY39" fmla="*/ 4047670 h 7751588"/>
              <a:gd name="connsiteX40" fmla="*/ 5659175 w 7802051"/>
              <a:gd name="connsiteY40" fmla="*/ 3940890 h 7751588"/>
              <a:gd name="connsiteX41" fmla="*/ 5615689 w 7802051"/>
              <a:gd name="connsiteY41" fmla="*/ 3905011 h 7751588"/>
              <a:gd name="connsiteX42" fmla="*/ 4536367 w 7802051"/>
              <a:gd name="connsiteY42" fmla="*/ 5224392 h 7751588"/>
              <a:gd name="connsiteX43" fmla="*/ 4565475 w 7802051"/>
              <a:gd name="connsiteY43" fmla="*/ 5278017 h 7751588"/>
              <a:gd name="connsiteX44" fmla="*/ 4618758 w 7802051"/>
              <a:gd name="connsiteY44" fmla="*/ 5541937 h 7751588"/>
              <a:gd name="connsiteX45" fmla="*/ 3940727 w 7802051"/>
              <a:gd name="connsiteY45" fmla="*/ 6219967 h 7751588"/>
              <a:gd name="connsiteX46" fmla="*/ 3898615 w 7802051"/>
              <a:gd name="connsiteY46" fmla="*/ 7751588 h 7751588"/>
              <a:gd name="connsiteX47" fmla="*/ 7797230 w 7802051"/>
              <a:gd name="connsiteY47" fmla="*/ 3181174 h 7751588"/>
              <a:gd name="connsiteX48" fmla="*/ 7802051 w 7802051"/>
              <a:gd name="connsiteY48" fmla="*/ 3181174 h 7751588"/>
              <a:gd name="connsiteX49" fmla="*/ 3903436 w 7802051"/>
              <a:gd name="connsiteY49" fmla="*/ 0 h 7751588"/>
              <a:gd name="connsiteX50" fmla="*/ 4821 w 7802051"/>
              <a:gd name="connsiteY50" fmla="*/ 3181174 h 7751588"/>
              <a:gd name="connsiteX51" fmla="*/ 0 w 7802051"/>
              <a:gd name="connsiteY51" fmla="*/ 3181174 h 7751588"/>
              <a:gd name="connsiteX52" fmla="*/ 3898615 w 7802051"/>
              <a:gd name="connsiteY52"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204647 w 7802051"/>
              <a:gd name="connsiteY7" fmla="*/ 4917190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4874334 h 7751588"/>
              <a:gd name="connsiteX15" fmla="*/ 4077374 w 7802051"/>
              <a:gd name="connsiteY15" fmla="*/ 4877682 h 7751588"/>
              <a:gd name="connsiteX16" fmla="*/ 4204647 w 7802051"/>
              <a:gd name="connsiteY16" fmla="*/ 4917190 h 7751588"/>
              <a:gd name="connsiteX17" fmla="*/ 3940727 w 7802051"/>
              <a:gd name="connsiteY17" fmla="*/ 6219967 h 7751588"/>
              <a:gd name="connsiteX18" fmla="*/ 3262698 w 7802051"/>
              <a:gd name="connsiteY18" fmla="*/ 5541937 h 7751588"/>
              <a:gd name="connsiteX19" fmla="*/ 3378494 w 7802051"/>
              <a:gd name="connsiteY19" fmla="*/ 5162844 h 7751588"/>
              <a:gd name="connsiteX20" fmla="*/ 3384198 w 7802051"/>
              <a:gd name="connsiteY20" fmla="*/ 5155931 h 7751588"/>
              <a:gd name="connsiteX21" fmla="*/ 2119419 w 7802051"/>
              <a:gd name="connsiteY21" fmla="*/ 3948859 h 7751588"/>
              <a:gd name="connsiteX22" fmla="*/ 2036672 w 7802051"/>
              <a:gd name="connsiteY22" fmla="*/ 3993772 h 7751588"/>
              <a:gd name="connsiteX23" fmla="*/ 1793305 w 7802051"/>
              <a:gd name="connsiteY23" fmla="*/ 4042906 h 7751588"/>
              <a:gd name="connsiteX24" fmla="*/ 1168076 w 7802051"/>
              <a:gd name="connsiteY24" fmla="*/ 3417678 h 7751588"/>
              <a:gd name="connsiteX25" fmla="*/ 1793304 w 7802051"/>
              <a:gd name="connsiteY25" fmla="*/ 2792451 h 7751588"/>
              <a:gd name="connsiteX26" fmla="*/ 2235408 w 7802051"/>
              <a:gd name="connsiteY26" fmla="*/ 2975575 h 7751588"/>
              <a:gd name="connsiteX27" fmla="*/ 2241113 w 7802051"/>
              <a:gd name="connsiteY27" fmla="*/ 2982489 h 7751588"/>
              <a:gd name="connsiteX28" fmla="*/ 3433657 w 7802051"/>
              <a:gd name="connsiteY28" fmla="*/ 2275919 h 7751588"/>
              <a:gd name="connsiteX29" fmla="*/ 3422279 w 7802051"/>
              <a:gd name="connsiteY29" fmla="*/ 2262129 h 7751588"/>
              <a:gd name="connsiteX30" fmla="*/ 3315500 w 7802051"/>
              <a:gd name="connsiteY30" fmla="*/ 1912558 h 7751588"/>
              <a:gd name="connsiteX31" fmla="*/ 3940728 w 7802051"/>
              <a:gd name="connsiteY31" fmla="*/ 1287330 h 7751588"/>
              <a:gd name="connsiteX32" fmla="*/ 4565956 w 7802051"/>
              <a:gd name="connsiteY32" fmla="*/ 1912558 h 7751588"/>
              <a:gd name="connsiteX33" fmla="*/ 4459177 w 7802051"/>
              <a:gd name="connsiteY33" fmla="*/ 2262129 h 7751588"/>
              <a:gd name="connsiteX34" fmla="*/ 4442548 w 7802051"/>
              <a:gd name="connsiteY34" fmla="*/ 2282283 h 7751588"/>
              <a:gd name="connsiteX35" fmla="*/ 5549310 w 7802051"/>
              <a:gd name="connsiteY35" fmla="*/ 3001346 h 7751588"/>
              <a:gd name="connsiteX36" fmla="*/ 6008747 w 7802051"/>
              <a:gd name="connsiteY36" fmla="*/ 2797213 h 7751588"/>
              <a:gd name="connsiteX37" fmla="*/ 6633974 w 7802051"/>
              <a:gd name="connsiteY37" fmla="*/ 3422441 h 7751588"/>
              <a:gd name="connsiteX38" fmla="*/ 6008747 w 7802051"/>
              <a:gd name="connsiteY38" fmla="*/ 4047670 h 7751588"/>
              <a:gd name="connsiteX39" fmla="*/ 5659175 w 7802051"/>
              <a:gd name="connsiteY39" fmla="*/ 3940890 h 7751588"/>
              <a:gd name="connsiteX40" fmla="*/ 5615689 w 7802051"/>
              <a:gd name="connsiteY40" fmla="*/ 3905011 h 7751588"/>
              <a:gd name="connsiteX41" fmla="*/ 4536367 w 7802051"/>
              <a:gd name="connsiteY41" fmla="*/ 5224392 h 7751588"/>
              <a:gd name="connsiteX42" fmla="*/ 4565475 w 7802051"/>
              <a:gd name="connsiteY42" fmla="*/ 5278017 h 7751588"/>
              <a:gd name="connsiteX43" fmla="*/ 4618758 w 7802051"/>
              <a:gd name="connsiteY43" fmla="*/ 5541937 h 7751588"/>
              <a:gd name="connsiteX44" fmla="*/ 3940727 w 7802051"/>
              <a:gd name="connsiteY44" fmla="*/ 6219967 h 7751588"/>
              <a:gd name="connsiteX45" fmla="*/ 3898615 w 7802051"/>
              <a:gd name="connsiteY45" fmla="*/ 7751588 h 7751588"/>
              <a:gd name="connsiteX46" fmla="*/ 7797230 w 7802051"/>
              <a:gd name="connsiteY46" fmla="*/ 3181174 h 7751588"/>
              <a:gd name="connsiteX47" fmla="*/ 7802051 w 7802051"/>
              <a:gd name="connsiteY47" fmla="*/ 3181174 h 7751588"/>
              <a:gd name="connsiteX48" fmla="*/ 3903436 w 7802051"/>
              <a:gd name="connsiteY48" fmla="*/ 0 h 7751588"/>
              <a:gd name="connsiteX49" fmla="*/ 4821 w 7802051"/>
              <a:gd name="connsiteY49" fmla="*/ 3181174 h 7751588"/>
              <a:gd name="connsiteX50" fmla="*/ 0 w 7802051"/>
              <a:gd name="connsiteY50" fmla="*/ 3181174 h 7751588"/>
              <a:gd name="connsiteX51" fmla="*/ 3898615 w 7802051"/>
              <a:gd name="connsiteY51"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204647 w 7802051"/>
              <a:gd name="connsiteY7" fmla="*/ 4917190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4874334 h 7751588"/>
              <a:gd name="connsiteX15" fmla="*/ 4077374 w 7802051"/>
              <a:gd name="connsiteY15" fmla="*/ 4877682 h 7751588"/>
              <a:gd name="connsiteX16" fmla="*/ 4204647 w 7802051"/>
              <a:gd name="connsiteY16" fmla="*/ 4917190 h 7751588"/>
              <a:gd name="connsiteX17" fmla="*/ 4618758 w 7802051"/>
              <a:gd name="connsiteY17" fmla="*/ 5541937 h 7751588"/>
              <a:gd name="connsiteX18" fmla="*/ 3262698 w 7802051"/>
              <a:gd name="connsiteY18" fmla="*/ 5541937 h 7751588"/>
              <a:gd name="connsiteX19" fmla="*/ 3378494 w 7802051"/>
              <a:gd name="connsiteY19" fmla="*/ 5162844 h 7751588"/>
              <a:gd name="connsiteX20" fmla="*/ 3384198 w 7802051"/>
              <a:gd name="connsiteY20" fmla="*/ 5155931 h 7751588"/>
              <a:gd name="connsiteX21" fmla="*/ 2119419 w 7802051"/>
              <a:gd name="connsiteY21" fmla="*/ 3948859 h 7751588"/>
              <a:gd name="connsiteX22" fmla="*/ 2036672 w 7802051"/>
              <a:gd name="connsiteY22" fmla="*/ 3993772 h 7751588"/>
              <a:gd name="connsiteX23" fmla="*/ 1793305 w 7802051"/>
              <a:gd name="connsiteY23" fmla="*/ 4042906 h 7751588"/>
              <a:gd name="connsiteX24" fmla="*/ 1168076 w 7802051"/>
              <a:gd name="connsiteY24" fmla="*/ 3417678 h 7751588"/>
              <a:gd name="connsiteX25" fmla="*/ 1793304 w 7802051"/>
              <a:gd name="connsiteY25" fmla="*/ 2792451 h 7751588"/>
              <a:gd name="connsiteX26" fmla="*/ 2235408 w 7802051"/>
              <a:gd name="connsiteY26" fmla="*/ 2975575 h 7751588"/>
              <a:gd name="connsiteX27" fmla="*/ 2241113 w 7802051"/>
              <a:gd name="connsiteY27" fmla="*/ 2982489 h 7751588"/>
              <a:gd name="connsiteX28" fmla="*/ 3433657 w 7802051"/>
              <a:gd name="connsiteY28" fmla="*/ 2275919 h 7751588"/>
              <a:gd name="connsiteX29" fmla="*/ 3422279 w 7802051"/>
              <a:gd name="connsiteY29" fmla="*/ 2262129 h 7751588"/>
              <a:gd name="connsiteX30" fmla="*/ 3315500 w 7802051"/>
              <a:gd name="connsiteY30" fmla="*/ 1912558 h 7751588"/>
              <a:gd name="connsiteX31" fmla="*/ 3940728 w 7802051"/>
              <a:gd name="connsiteY31" fmla="*/ 1287330 h 7751588"/>
              <a:gd name="connsiteX32" fmla="*/ 4565956 w 7802051"/>
              <a:gd name="connsiteY32" fmla="*/ 1912558 h 7751588"/>
              <a:gd name="connsiteX33" fmla="*/ 4459177 w 7802051"/>
              <a:gd name="connsiteY33" fmla="*/ 2262129 h 7751588"/>
              <a:gd name="connsiteX34" fmla="*/ 4442548 w 7802051"/>
              <a:gd name="connsiteY34" fmla="*/ 2282283 h 7751588"/>
              <a:gd name="connsiteX35" fmla="*/ 5549310 w 7802051"/>
              <a:gd name="connsiteY35" fmla="*/ 3001346 h 7751588"/>
              <a:gd name="connsiteX36" fmla="*/ 6008747 w 7802051"/>
              <a:gd name="connsiteY36" fmla="*/ 2797213 h 7751588"/>
              <a:gd name="connsiteX37" fmla="*/ 6633974 w 7802051"/>
              <a:gd name="connsiteY37" fmla="*/ 3422441 h 7751588"/>
              <a:gd name="connsiteX38" fmla="*/ 6008747 w 7802051"/>
              <a:gd name="connsiteY38" fmla="*/ 4047670 h 7751588"/>
              <a:gd name="connsiteX39" fmla="*/ 5659175 w 7802051"/>
              <a:gd name="connsiteY39" fmla="*/ 3940890 h 7751588"/>
              <a:gd name="connsiteX40" fmla="*/ 5615689 w 7802051"/>
              <a:gd name="connsiteY40" fmla="*/ 3905011 h 7751588"/>
              <a:gd name="connsiteX41" fmla="*/ 4536367 w 7802051"/>
              <a:gd name="connsiteY41" fmla="*/ 5224392 h 7751588"/>
              <a:gd name="connsiteX42" fmla="*/ 4565475 w 7802051"/>
              <a:gd name="connsiteY42" fmla="*/ 5278017 h 7751588"/>
              <a:gd name="connsiteX43" fmla="*/ 4618758 w 7802051"/>
              <a:gd name="connsiteY43" fmla="*/ 5541937 h 7751588"/>
              <a:gd name="connsiteX44" fmla="*/ 3898615 w 7802051"/>
              <a:gd name="connsiteY44" fmla="*/ 7751588 h 7751588"/>
              <a:gd name="connsiteX45" fmla="*/ 7797230 w 7802051"/>
              <a:gd name="connsiteY45" fmla="*/ 3181174 h 7751588"/>
              <a:gd name="connsiteX46" fmla="*/ 7802051 w 7802051"/>
              <a:gd name="connsiteY46" fmla="*/ 3181174 h 7751588"/>
              <a:gd name="connsiteX47" fmla="*/ 3903436 w 7802051"/>
              <a:gd name="connsiteY47" fmla="*/ 0 h 7751588"/>
              <a:gd name="connsiteX48" fmla="*/ 4821 w 7802051"/>
              <a:gd name="connsiteY48" fmla="*/ 3181174 h 7751588"/>
              <a:gd name="connsiteX49" fmla="*/ 0 w 7802051"/>
              <a:gd name="connsiteY49" fmla="*/ 3181174 h 7751588"/>
              <a:gd name="connsiteX50" fmla="*/ 3898615 w 7802051"/>
              <a:gd name="connsiteY50"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077374 w 7802051"/>
              <a:gd name="connsiteY7" fmla="*/ 4877682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4874334 h 7751588"/>
              <a:gd name="connsiteX15" fmla="*/ 4077374 w 7802051"/>
              <a:gd name="connsiteY15" fmla="*/ 4877682 h 7751588"/>
              <a:gd name="connsiteX16" fmla="*/ 4618758 w 7802051"/>
              <a:gd name="connsiteY16" fmla="*/ 5541937 h 7751588"/>
              <a:gd name="connsiteX17" fmla="*/ 3262698 w 7802051"/>
              <a:gd name="connsiteY17" fmla="*/ 5541937 h 7751588"/>
              <a:gd name="connsiteX18" fmla="*/ 3378494 w 7802051"/>
              <a:gd name="connsiteY18" fmla="*/ 5162844 h 7751588"/>
              <a:gd name="connsiteX19" fmla="*/ 3384198 w 7802051"/>
              <a:gd name="connsiteY19" fmla="*/ 5155931 h 7751588"/>
              <a:gd name="connsiteX20" fmla="*/ 2119419 w 7802051"/>
              <a:gd name="connsiteY20" fmla="*/ 3948859 h 7751588"/>
              <a:gd name="connsiteX21" fmla="*/ 2036672 w 7802051"/>
              <a:gd name="connsiteY21" fmla="*/ 3993772 h 7751588"/>
              <a:gd name="connsiteX22" fmla="*/ 1793305 w 7802051"/>
              <a:gd name="connsiteY22" fmla="*/ 4042906 h 7751588"/>
              <a:gd name="connsiteX23" fmla="*/ 1168076 w 7802051"/>
              <a:gd name="connsiteY23" fmla="*/ 3417678 h 7751588"/>
              <a:gd name="connsiteX24" fmla="*/ 1793304 w 7802051"/>
              <a:gd name="connsiteY24" fmla="*/ 2792451 h 7751588"/>
              <a:gd name="connsiteX25" fmla="*/ 2235408 w 7802051"/>
              <a:gd name="connsiteY25" fmla="*/ 2975575 h 7751588"/>
              <a:gd name="connsiteX26" fmla="*/ 2241113 w 7802051"/>
              <a:gd name="connsiteY26" fmla="*/ 2982489 h 7751588"/>
              <a:gd name="connsiteX27" fmla="*/ 3433657 w 7802051"/>
              <a:gd name="connsiteY27" fmla="*/ 2275919 h 7751588"/>
              <a:gd name="connsiteX28" fmla="*/ 3422279 w 7802051"/>
              <a:gd name="connsiteY28" fmla="*/ 2262129 h 7751588"/>
              <a:gd name="connsiteX29" fmla="*/ 3315500 w 7802051"/>
              <a:gd name="connsiteY29" fmla="*/ 1912558 h 7751588"/>
              <a:gd name="connsiteX30" fmla="*/ 3940728 w 7802051"/>
              <a:gd name="connsiteY30" fmla="*/ 1287330 h 7751588"/>
              <a:gd name="connsiteX31" fmla="*/ 4565956 w 7802051"/>
              <a:gd name="connsiteY31" fmla="*/ 1912558 h 7751588"/>
              <a:gd name="connsiteX32" fmla="*/ 4459177 w 7802051"/>
              <a:gd name="connsiteY32" fmla="*/ 2262129 h 7751588"/>
              <a:gd name="connsiteX33" fmla="*/ 4442548 w 7802051"/>
              <a:gd name="connsiteY33" fmla="*/ 2282283 h 7751588"/>
              <a:gd name="connsiteX34" fmla="*/ 5549310 w 7802051"/>
              <a:gd name="connsiteY34" fmla="*/ 3001346 h 7751588"/>
              <a:gd name="connsiteX35" fmla="*/ 6008747 w 7802051"/>
              <a:gd name="connsiteY35" fmla="*/ 2797213 h 7751588"/>
              <a:gd name="connsiteX36" fmla="*/ 6633974 w 7802051"/>
              <a:gd name="connsiteY36" fmla="*/ 3422441 h 7751588"/>
              <a:gd name="connsiteX37" fmla="*/ 6008747 w 7802051"/>
              <a:gd name="connsiteY37" fmla="*/ 4047670 h 7751588"/>
              <a:gd name="connsiteX38" fmla="*/ 5659175 w 7802051"/>
              <a:gd name="connsiteY38" fmla="*/ 3940890 h 7751588"/>
              <a:gd name="connsiteX39" fmla="*/ 5615689 w 7802051"/>
              <a:gd name="connsiteY39" fmla="*/ 3905011 h 7751588"/>
              <a:gd name="connsiteX40" fmla="*/ 4536367 w 7802051"/>
              <a:gd name="connsiteY40" fmla="*/ 5224392 h 7751588"/>
              <a:gd name="connsiteX41" fmla="*/ 4565475 w 7802051"/>
              <a:gd name="connsiteY41" fmla="*/ 5278017 h 7751588"/>
              <a:gd name="connsiteX42" fmla="*/ 4618758 w 7802051"/>
              <a:gd name="connsiteY42" fmla="*/ 5541937 h 7751588"/>
              <a:gd name="connsiteX43" fmla="*/ 3898615 w 7802051"/>
              <a:gd name="connsiteY43" fmla="*/ 7751588 h 7751588"/>
              <a:gd name="connsiteX44" fmla="*/ 7797230 w 7802051"/>
              <a:gd name="connsiteY44" fmla="*/ 3181174 h 7751588"/>
              <a:gd name="connsiteX45" fmla="*/ 7802051 w 7802051"/>
              <a:gd name="connsiteY45" fmla="*/ 3181174 h 7751588"/>
              <a:gd name="connsiteX46" fmla="*/ 3903436 w 7802051"/>
              <a:gd name="connsiteY46" fmla="*/ 0 h 7751588"/>
              <a:gd name="connsiteX47" fmla="*/ 4821 w 7802051"/>
              <a:gd name="connsiteY47" fmla="*/ 3181174 h 7751588"/>
              <a:gd name="connsiteX48" fmla="*/ 0 w 7802051"/>
              <a:gd name="connsiteY48" fmla="*/ 3181174 h 7751588"/>
              <a:gd name="connsiteX49" fmla="*/ 3898615 w 7802051"/>
              <a:gd name="connsiteY49"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077374 w 7802051"/>
              <a:gd name="connsiteY7" fmla="*/ 4877682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44164 w 7802051"/>
              <a:gd name="connsiteY13" fmla="*/ 4874334 h 7751588"/>
              <a:gd name="connsiteX14" fmla="*/ 4077374 w 7802051"/>
              <a:gd name="connsiteY14" fmla="*/ 4877682 h 7751588"/>
              <a:gd name="connsiteX15" fmla="*/ 4618758 w 7802051"/>
              <a:gd name="connsiteY15" fmla="*/ 5541937 h 7751588"/>
              <a:gd name="connsiteX16" fmla="*/ 3262698 w 7802051"/>
              <a:gd name="connsiteY16" fmla="*/ 5541937 h 7751588"/>
              <a:gd name="connsiteX17" fmla="*/ 3378494 w 7802051"/>
              <a:gd name="connsiteY17" fmla="*/ 5162844 h 7751588"/>
              <a:gd name="connsiteX18" fmla="*/ 3384198 w 7802051"/>
              <a:gd name="connsiteY18" fmla="*/ 5155931 h 7751588"/>
              <a:gd name="connsiteX19" fmla="*/ 2119419 w 7802051"/>
              <a:gd name="connsiteY19" fmla="*/ 3948859 h 7751588"/>
              <a:gd name="connsiteX20" fmla="*/ 2036672 w 7802051"/>
              <a:gd name="connsiteY20" fmla="*/ 3993772 h 7751588"/>
              <a:gd name="connsiteX21" fmla="*/ 1793305 w 7802051"/>
              <a:gd name="connsiteY21" fmla="*/ 4042906 h 7751588"/>
              <a:gd name="connsiteX22" fmla="*/ 1168076 w 7802051"/>
              <a:gd name="connsiteY22" fmla="*/ 3417678 h 7751588"/>
              <a:gd name="connsiteX23" fmla="*/ 1793304 w 7802051"/>
              <a:gd name="connsiteY23" fmla="*/ 2792451 h 7751588"/>
              <a:gd name="connsiteX24" fmla="*/ 2235408 w 7802051"/>
              <a:gd name="connsiteY24" fmla="*/ 2975575 h 7751588"/>
              <a:gd name="connsiteX25" fmla="*/ 2241113 w 7802051"/>
              <a:gd name="connsiteY25" fmla="*/ 2982489 h 7751588"/>
              <a:gd name="connsiteX26" fmla="*/ 3433657 w 7802051"/>
              <a:gd name="connsiteY26" fmla="*/ 2275919 h 7751588"/>
              <a:gd name="connsiteX27" fmla="*/ 3422279 w 7802051"/>
              <a:gd name="connsiteY27" fmla="*/ 2262129 h 7751588"/>
              <a:gd name="connsiteX28" fmla="*/ 3315500 w 7802051"/>
              <a:gd name="connsiteY28" fmla="*/ 1912558 h 7751588"/>
              <a:gd name="connsiteX29" fmla="*/ 3940728 w 7802051"/>
              <a:gd name="connsiteY29" fmla="*/ 1287330 h 7751588"/>
              <a:gd name="connsiteX30" fmla="*/ 4565956 w 7802051"/>
              <a:gd name="connsiteY30" fmla="*/ 1912558 h 7751588"/>
              <a:gd name="connsiteX31" fmla="*/ 4459177 w 7802051"/>
              <a:gd name="connsiteY31" fmla="*/ 2262129 h 7751588"/>
              <a:gd name="connsiteX32" fmla="*/ 4442548 w 7802051"/>
              <a:gd name="connsiteY32" fmla="*/ 2282283 h 7751588"/>
              <a:gd name="connsiteX33" fmla="*/ 5549310 w 7802051"/>
              <a:gd name="connsiteY33" fmla="*/ 3001346 h 7751588"/>
              <a:gd name="connsiteX34" fmla="*/ 6008747 w 7802051"/>
              <a:gd name="connsiteY34" fmla="*/ 2797213 h 7751588"/>
              <a:gd name="connsiteX35" fmla="*/ 6633974 w 7802051"/>
              <a:gd name="connsiteY35" fmla="*/ 3422441 h 7751588"/>
              <a:gd name="connsiteX36" fmla="*/ 6008747 w 7802051"/>
              <a:gd name="connsiteY36" fmla="*/ 4047670 h 7751588"/>
              <a:gd name="connsiteX37" fmla="*/ 5659175 w 7802051"/>
              <a:gd name="connsiteY37" fmla="*/ 3940890 h 7751588"/>
              <a:gd name="connsiteX38" fmla="*/ 5615689 w 7802051"/>
              <a:gd name="connsiteY38" fmla="*/ 3905011 h 7751588"/>
              <a:gd name="connsiteX39" fmla="*/ 4536367 w 7802051"/>
              <a:gd name="connsiteY39" fmla="*/ 5224392 h 7751588"/>
              <a:gd name="connsiteX40" fmla="*/ 4565475 w 7802051"/>
              <a:gd name="connsiteY40" fmla="*/ 5278017 h 7751588"/>
              <a:gd name="connsiteX41" fmla="*/ 4618758 w 7802051"/>
              <a:gd name="connsiteY41" fmla="*/ 5541937 h 7751588"/>
              <a:gd name="connsiteX42" fmla="*/ 3898615 w 7802051"/>
              <a:gd name="connsiteY42" fmla="*/ 7751588 h 7751588"/>
              <a:gd name="connsiteX43" fmla="*/ 7797230 w 7802051"/>
              <a:gd name="connsiteY43" fmla="*/ 3181174 h 7751588"/>
              <a:gd name="connsiteX44" fmla="*/ 7802051 w 7802051"/>
              <a:gd name="connsiteY44" fmla="*/ 3181174 h 7751588"/>
              <a:gd name="connsiteX45" fmla="*/ 3903436 w 7802051"/>
              <a:gd name="connsiteY45" fmla="*/ 0 h 7751588"/>
              <a:gd name="connsiteX46" fmla="*/ 4821 w 7802051"/>
              <a:gd name="connsiteY46" fmla="*/ 3181174 h 7751588"/>
              <a:gd name="connsiteX47" fmla="*/ 0 w 7802051"/>
              <a:gd name="connsiteY47" fmla="*/ 3181174 h 7751588"/>
              <a:gd name="connsiteX48" fmla="*/ 3898615 w 7802051"/>
              <a:gd name="connsiteY48"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3669750 w 7802051"/>
              <a:gd name="connsiteY5" fmla="*/ 4921020 h 7751588"/>
              <a:gd name="connsiteX6" fmla="*/ 4077374 w 7802051"/>
              <a:gd name="connsiteY6" fmla="*/ 4877682 h 7751588"/>
              <a:gd name="connsiteX7" fmla="*/ 5406368 w 7802051"/>
              <a:gd name="connsiteY7" fmla="*/ 3581135 h 7751588"/>
              <a:gd name="connsiteX8" fmla="*/ 5396221 w 7802051"/>
              <a:gd name="connsiteY8" fmla="*/ 3548447 h 7751588"/>
              <a:gd name="connsiteX9" fmla="*/ 5383519 w 7802051"/>
              <a:gd name="connsiteY9" fmla="*/ 3422441 h 7751588"/>
              <a:gd name="connsiteX10" fmla="*/ 5392133 w 7802051"/>
              <a:gd name="connsiteY10" fmla="*/ 3336986 h 7751588"/>
              <a:gd name="connsiteX11" fmla="*/ 4117986 w 7802051"/>
              <a:gd name="connsiteY11" fmla="*/ 2509174 h 7751588"/>
              <a:gd name="connsiteX12" fmla="*/ 4044164 w 7802051"/>
              <a:gd name="connsiteY12" fmla="*/ 4874334 h 7751588"/>
              <a:gd name="connsiteX13" fmla="*/ 4077374 w 7802051"/>
              <a:gd name="connsiteY13" fmla="*/ 4877682 h 7751588"/>
              <a:gd name="connsiteX14" fmla="*/ 4618758 w 7802051"/>
              <a:gd name="connsiteY14" fmla="*/ 5541937 h 7751588"/>
              <a:gd name="connsiteX15" fmla="*/ 3262698 w 7802051"/>
              <a:gd name="connsiteY15" fmla="*/ 5541937 h 7751588"/>
              <a:gd name="connsiteX16" fmla="*/ 3378494 w 7802051"/>
              <a:gd name="connsiteY16" fmla="*/ 5162844 h 7751588"/>
              <a:gd name="connsiteX17" fmla="*/ 3384198 w 7802051"/>
              <a:gd name="connsiteY17" fmla="*/ 5155931 h 7751588"/>
              <a:gd name="connsiteX18" fmla="*/ 2119419 w 7802051"/>
              <a:gd name="connsiteY18" fmla="*/ 3948859 h 7751588"/>
              <a:gd name="connsiteX19" fmla="*/ 2036672 w 7802051"/>
              <a:gd name="connsiteY19" fmla="*/ 3993772 h 7751588"/>
              <a:gd name="connsiteX20" fmla="*/ 1793305 w 7802051"/>
              <a:gd name="connsiteY20" fmla="*/ 4042906 h 7751588"/>
              <a:gd name="connsiteX21" fmla="*/ 1168076 w 7802051"/>
              <a:gd name="connsiteY21" fmla="*/ 3417678 h 7751588"/>
              <a:gd name="connsiteX22" fmla="*/ 1793304 w 7802051"/>
              <a:gd name="connsiteY22" fmla="*/ 2792451 h 7751588"/>
              <a:gd name="connsiteX23" fmla="*/ 2235408 w 7802051"/>
              <a:gd name="connsiteY23" fmla="*/ 2975575 h 7751588"/>
              <a:gd name="connsiteX24" fmla="*/ 2241113 w 7802051"/>
              <a:gd name="connsiteY24" fmla="*/ 2982489 h 7751588"/>
              <a:gd name="connsiteX25" fmla="*/ 3433657 w 7802051"/>
              <a:gd name="connsiteY25" fmla="*/ 2275919 h 7751588"/>
              <a:gd name="connsiteX26" fmla="*/ 3422279 w 7802051"/>
              <a:gd name="connsiteY26" fmla="*/ 2262129 h 7751588"/>
              <a:gd name="connsiteX27" fmla="*/ 3315500 w 7802051"/>
              <a:gd name="connsiteY27" fmla="*/ 1912558 h 7751588"/>
              <a:gd name="connsiteX28" fmla="*/ 3940728 w 7802051"/>
              <a:gd name="connsiteY28" fmla="*/ 1287330 h 7751588"/>
              <a:gd name="connsiteX29" fmla="*/ 4565956 w 7802051"/>
              <a:gd name="connsiteY29" fmla="*/ 1912558 h 7751588"/>
              <a:gd name="connsiteX30" fmla="*/ 4459177 w 7802051"/>
              <a:gd name="connsiteY30" fmla="*/ 2262129 h 7751588"/>
              <a:gd name="connsiteX31" fmla="*/ 4442548 w 7802051"/>
              <a:gd name="connsiteY31" fmla="*/ 2282283 h 7751588"/>
              <a:gd name="connsiteX32" fmla="*/ 5549310 w 7802051"/>
              <a:gd name="connsiteY32" fmla="*/ 3001346 h 7751588"/>
              <a:gd name="connsiteX33" fmla="*/ 6008747 w 7802051"/>
              <a:gd name="connsiteY33" fmla="*/ 2797213 h 7751588"/>
              <a:gd name="connsiteX34" fmla="*/ 6633974 w 7802051"/>
              <a:gd name="connsiteY34" fmla="*/ 3422441 h 7751588"/>
              <a:gd name="connsiteX35" fmla="*/ 6008747 w 7802051"/>
              <a:gd name="connsiteY35" fmla="*/ 4047670 h 7751588"/>
              <a:gd name="connsiteX36" fmla="*/ 5659175 w 7802051"/>
              <a:gd name="connsiteY36" fmla="*/ 3940890 h 7751588"/>
              <a:gd name="connsiteX37" fmla="*/ 5615689 w 7802051"/>
              <a:gd name="connsiteY37" fmla="*/ 3905011 h 7751588"/>
              <a:gd name="connsiteX38" fmla="*/ 4536367 w 7802051"/>
              <a:gd name="connsiteY38" fmla="*/ 5224392 h 7751588"/>
              <a:gd name="connsiteX39" fmla="*/ 4565475 w 7802051"/>
              <a:gd name="connsiteY39" fmla="*/ 5278017 h 7751588"/>
              <a:gd name="connsiteX40" fmla="*/ 4618758 w 7802051"/>
              <a:gd name="connsiteY40" fmla="*/ 5541937 h 7751588"/>
              <a:gd name="connsiteX41" fmla="*/ 3898615 w 7802051"/>
              <a:gd name="connsiteY41" fmla="*/ 7751588 h 7751588"/>
              <a:gd name="connsiteX42" fmla="*/ 7797230 w 7802051"/>
              <a:gd name="connsiteY42" fmla="*/ 3181174 h 7751588"/>
              <a:gd name="connsiteX43" fmla="*/ 7802051 w 7802051"/>
              <a:gd name="connsiteY43" fmla="*/ 3181174 h 7751588"/>
              <a:gd name="connsiteX44" fmla="*/ 3903436 w 7802051"/>
              <a:gd name="connsiteY44" fmla="*/ 0 h 7751588"/>
              <a:gd name="connsiteX45" fmla="*/ 4821 w 7802051"/>
              <a:gd name="connsiteY45" fmla="*/ 3181174 h 7751588"/>
              <a:gd name="connsiteX46" fmla="*/ 0 w 7802051"/>
              <a:gd name="connsiteY46" fmla="*/ 3181174 h 7751588"/>
              <a:gd name="connsiteX47" fmla="*/ 3898615 w 7802051"/>
              <a:gd name="connsiteY47"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3669750 w 7802051"/>
              <a:gd name="connsiteY5" fmla="*/ 4921020 h 7751588"/>
              <a:gd name="connsiteX6" fmla="*/ 4077374 w 7802051"/>
              <a:gd name="connsiteY6" fmla="*/ 4877682 h 7751588"/>
              <a:gd name="connsiteX7" fmla="*/ 5406368 w 7802051"/>
              <a:gd name="connsiteY7" fmla="*/ 3581135 h 7751588"/>
              <a:gd name="connsiteX8" fmla="*/ 5396221 w 7802051"/>
              <a:gd name="connsiteY8" fmla="*/ 3548447 h 7751588"/>
              <a:gd name="connsiteX9" fmla="*/ 5383519 w 7802051"/>
              <a:gd name="connsiteY9" fmla="*/ 3422441 h 7751588"/>
              <a:gd name="connsiteX10" fmla="*/ 5392133 w 7802051"/>
              <a:gd name="connsiteY10" fmla="*/ 3336986 h 7751588"/>
              <a:gd name="connsiteX11" fmla="*/ 4117986 w 7802051"/>
              <a:gd name="connsiteY11" fmla="*/ 2509174 h 7751588"/>
              <a:gd name="connsiteX12" fmla="*/ 4044164 w 7802051"/>
              <a:gd name="connsiteY12" fmla="*/ 4874334 h 7751588"/>
              <a:gd name="connsiteX13" fmla="*/ 4077374 w 7802051"/>
              <a:gd name="connsiteY13" fmla="*/ 4877682 h 7751588"/>
              <a:gd name="connsiteX14" fmla="*/ 4618758 w 7802051"/>
              <a:gd name="connsiteY14" fmla="*/ 5541937 h 7751588"/>
              <a:gd name="connsiteX15" fmla="*/ 3262698 w 7802051"/>
              <a:gd name="connsiteY15" fmla="*/ 5541937 h 7751588"/>
              <a:gd name="connsiteX16" fmla="*/ 3378494 w 7802051"/>
              <a:gd name="connsiteY16" fmla="*/ 5162844 h 7751588"/>
              <a:gd name="connsiteX17" fmla="*/ 3384198 w 7802051"/>
              <a:gd name="connsiteY17" fmla="*/ 5155931 h 7751588"/>
              <a:gd name="connsiteX18" fmla="*/ 2119419 w 7802051"/>
              <a:gd name="connsiteY18" fmla="*/ 3948859 h 7751588"/>
              <a:gd name="connsiteX19" fmla="*/ 1793305 w 7802051"/>
              <a:gd name="connsiteY19" fmla="*/ 4042906 h 7751588"/>
              <a:gd name="connsiteX20" fmla="*/ 1168076 w 7802051"/>
              <a:gd name="connsiteY20" fmla="*/ 3417678 h 7751588"/>
              <a:gd name="connsiteX21" fmla="*/ 1793304 w 7802051"/>
              <a:gd name="connsiteY21" fmla="*/ 2792451 h 7751588"/>
              <a:gd name="connsiteX22" fmla="*/ 2235408 w 7802051"/>
              <a:gd name="connsiteY22" fmla="*/ 2975575 h 7751588"/>
              <a:gd name="connsiteX23" fmla="*/ 2241113 w 7802051"/>
              <a:gd name="connsiteY23" fmla="*/ 2982489 h 7751588"/>
              <a:gd name="connsiteX24" fmla="*/ 3433657 w 7802051"/>
              <a:gd name="connsiteY24" fmla="*/ 2275919 h 7751588"/>
              <a:gd name="connsiteX25" fmla="*/ 3422279 w 7802051"/>
              <a:gd name="connsiteY25" fmla="*/ 2262129 h 7751588"/>
              <a:gd name="connsiteX26" fmla="*/ 3315500 w 7802051"/>
              <a:gd name="connsiteY26" fmla="*/ 1912558 h 7751588"/>
              <a:gd name="connsiteX27" fmla="*/ 3940728 w 7802051"/>
              <a:gd name="connsiteY27" fmla="*/ 1287330 h 7751588"/>
              <a:gd name="connsiteX28" fmla="*/ 4565956 w 7802051"/>
              <a:gd name="connsiteY28" fmla="*/ 1912558 h 7751588"/>
              <a:gd name="connsiteX29" fmla="*/ 4459177 w 7802051"/>
              <a:gd name="connsiteY29" fmla="*/ 2262129 h 7751588"/>
              <a:gd name="connsiteX30" fmla="*/ 4442548 w 7802051"/>
              <a:gd name="connsiteY30" fmla="*/ 2282283 h 7751588"/>
              <a:gd name="connsiteX31" fmla="*/ 5549310 w 7802051"/>
              <a:gd name="connsiteY31" fmla="*/ 3001346 h 7751588"/>
              <a:gd name="connsiteX32" fmla="*/ 6008747 w 7802051"/>
              <a:gd name="connsiteY32" fmla="*/ 2797213 h 7751588"/>
              <a:gd name="connsiteX33" fmla="*/ 6633974 w 7802051"/>
              <a:gd name="connsiteY33" fmla="*/ 3422441 h 7751588"/>
              <a:gd name="connsiteX34" fmla="*/ 6008747 w 7802051"/>
              <a:gd name="connsiteY34" fmla="*/ 4047670 h 7751588"/>
              <a:gd name="connsiteX35" fmla="*/ 5659175 w 7802051"/>
              <a:gd name="connsiteY35" fmla="*/ 3940890 h 7751588"/>
              <a:gd name="connsiteX36" fmla="*/ 5615689 w 7802051"/>
              <a:gd name="connsiteY36" fmla="*/ 3905011 h 7751588"/>
              <a:gd name="connsiteX37" fmla="*/ 4536367 w 7802051"/>
              <a:gd name="connsiteY37" fmla="*/ 5224392 h 7751588"/>
              <a:gd name="connsiteX38" fmla="*/ 4565475 w 7802051"/>
              <a:gd name="connsiteY38" fmla="*/ 5278017 h 7751588"/>
              <a:gd name="connsiteX39" fmla="*/ 4618758 w 7802051"/>
              <a:gd name="connsiteY39" fmla="*/ 5541937 h 7751588"/>
              <a:gd name="connsiteX40" fmla="*/ 3898615 w 7802051"/>
              <a:gd name="connsiteY40" fmla="*/ 7751588 h 7751588"/>
              <a:gd name="connsiteX41" fmla="*/ 7797230 w 7802051"/>
              <a:gd name="connsiteY41" fmla="*/ 3181174 h 7751588"/>
              <a:gd name="connsiteX42" fmla="*/ 7802051 w 7802051"/>
              <a:gd name="connsiteY42" fmla="*/ 3181174 h 7751588"/>
              <a:gd name="connsiteX43" fmla="*/ 3903436 w 7802051"/>
              <a:gd name="connsiteY43" fmla="*/ 0 h 7751588"/>
              <a:gd name="connsiteX44" fmla="*/ 4821 w 7802051"/>
              <a:gd name="connsiteY44" fmla="*/ 3181174 h 7751588"/>
              <a:gd name="connsiteX45" fmla="*/ 0 w 7802051"/>
              <a:gd name="connsiteY45" fmla="*/ 3181174 h 7751588"/>
              <a:gd name="connsiteX46" fmla="*/ 3898615 w 7802051"/>
              <a:gd name="connsiteY46"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3669750 w 7802051"/>
              <a:gd name="connsiteY5" fmla="*/ 4921020 h 7751588"/>
              <a:gd name="connsiteX6" fmla="*/ 4077374 w 7802051"/>
              <a:gd name="connsiteY6" fmla="*/ 4877682 h 7751588"/>
              <a:gd name="connsiteX7" fmla="*/ 5406368 w 7802051"/>
              <a:gd name="connsiteY7" fmla="*/ 3581135 h 7751588"/>
              <a:gd name="connsiteX8" fmla="*/ 5396221 w 7802051"/>
              <a:gd name="connsiteY8" fmla="*/ 3548447 h 7751588"/>
              <a:gd name="connsiteX9" fmla="*/ 5383519 w 7802051"/>
              <a:gd name="connsiteY9" fmla="*/ 3422441 h 7751588"/>
              <a:gd name="connsiteX10" fmla="*/ 5392133 w 7802051"/>
              <a:gd name="connsiteY10" fmla="*/ 3336986 h 7751588"/>
              <a:gd name="connsiteX11" fmla="*/ 4117986 w 7802051"/>
              <a:gd name="connsiteY11" fmla="*/ 2509174 h 7751588"/>
              <a:gd name="connsiteX12" fmla="*/ 4044164 w 7802051"/>
              <a:gd name="connsiteY12" fmla="*/ 4874334 h 7751588"/>
              <a:gd name="connsiteX13" fmla="*/ 4077374 w 7802051"/>
              <a:gd name="connsiteY13" fmla="*/ 4877682 h 7751588"/>
              <a:gd name="connsiteX14" fmla="*/ 4618758 w 7802051"/>
              <a:gd name="connsiteY14" fmla="*/ 5541937 h 7751588"/>
              <a:gd name="connsiteX15" fmla="*/ 3262698 w 7802051"/>
              <a:gd name="connsiteY15" fmla="*/ 5541937 h 7751588"/>
              <a:gd name="connsiteX16" fmla="*/ 3378494 w 7802051"/>
              <a:gd name="connsiteY16" fmla="*/ 5162844 h 7751588"/>
              <a:gd name="connsiteX17" fmla="*/ 3384198 w 7802051"/>
              <a:gd name="connsiteY17" fmla="*/ 5155931 h 7751588"/>
              <a:gd name="connsiteX18" fmla="*/ 2119419 w 7802051"/>
              <a:gd name="connsiteY18" fmla="*/ 3948859 h 7751588"/>
              <a:gd name="connsiteX19" fmla="*/ 1793305 w 7802051"/>
              <a:gd name="connsiteY19" fmla="*/ 4042906 h 7751588"/>
              <a:gd name="connsiteX20" fmla="*/ 1168076 w 7802051"/>
              <a:gd name="connsiteY20" fmla="*/ 3417678 h 7751588"/>
              <a:gd name="connsiteX21" fmla="*/ 1793304 w 7802051"/>
              <a:gd name="connsiteY21" fmla="*/ 2792451 h 7751588"/>
              <a:gd name="connsiteX22" fmla="*/ 2235408 w 7802051"/>
              <a:gd name="connsiteY22" fmla="*/ 2975575 h 7751588"/>
              <a:gd name="connsiteX23" fmla="*/ 2241113 w 7802051"/>
              <a:gd name="connsiteY23" fmla="*/ 2982489 h 7751588"/>
              <a:gd name="connsiteX24" fmla="*/ 3433657 w 7802051"/>
              <a:gd name="connsiteY24" fmla="*/ 2275919 h 7751588"/>
              <a:gd name="connsiteX25" fmla="*/ 3422279 w 7802051"/>
              <a:gd name="connsiteY25" fmla="*/ 2262129 h 7751588"/>
              <a:gd name="connsiteX26" fmla="*/ 3315500 w 7802051"/>
              <a:gd name="connsiteY26" fmla="*/ 1912558 h 7751588"/>
              <a:gd name="connsiteX27" fmla="*/ 3940728 w 7802051"/>
              <a:gd name="connsiteY27" fmla="*/ 1287330 h 7751588"/>
              <a:gd name="connsiteX28" fmla="*/ 4565956 w 7802051"/>
              <a:gd name="connsiteY28" fmla="*/ 1912558 h 7751588"/>
              <a:gd name="connsiteX29" fmla="*/ 4459177 w 7802051"/>
              <a:gd name="connsiteY29" fmla="*/ 2262129 h 7751588"/>
              <a:gd name="connsiteX30" fmla="*/ 4442548 w 7802051"/>
              <a:gd name="connsiteY30" fmla="*/ 2282283 h 7751588"/>
              <a:gd name="connsiteX31" fmla="*/ 5549310 w 7802051"/>
              <a:gd name="connsiteY31" fmla="*/ 3001346 h 7751588"/>
              <a:gd name="connsiteX32" fmla="*/ 6008747 w 7802051"/>
              <a:gd name="connsiteY32" fmla="*/ 2797213 h 7751588"/>
              <a:gd name="connsiteX33" fmla="*/ 6633974 w 7802051"/>
              <a:gd name="connsiteY33" fmla="*/ 3422441 h 7751588"/>
              <a:gd name="connsiteX34" fmla="*/ 6008747 w 7802051"/>
              <a:gd name="connsiteY34" fmla="*/ 4047670 h 7751588"/>
              <a:gd name="connsiteX35" fmla="*/ 5659175 w 7802051"/>
              <a:gd name="connsiteY35" fmla="*/ 3940890 h 7751588"/>
              <a:gd name="connsiteX36" fmla="*/ 4536367 w 7802051"/>
              <a:gd name="connsiteY36" fmla="*/ 5224392 h 7751588"/>
              <a:gd name="connsiteX37" fmla="*/ 4565475 w 7802051"/>
              <a:gd name="connsiteY37" fmla="*/ 5278017 h 7751588"/>
              <a:gd name="connsiteX38" fmla="*/ 4618758 w 7802051"/>
              <a:gd name="connsiteY38" fmla="*/ 5541937 h 7751588"/>
              <a:gd name="connsiteX39" fmla="*/ 3898615 w 7802051"/>
              <a:gd name="connsiteY39" fmla="*/ 7751588 h 7751588"/>
              <a:gd name="connsiteX40" fmla="*/ 7797230 w 7802051"/>
              <a:gd name="connsiteY40" fmla="*/ 3181174 h 7751588"/>
              <a:gd name="connsiteX41" fmla="*/ 7802051 w 7802051"/>
              <a:gd name="connsiteY41" fmla="*/ 3181174 h 7751588"/>
              <a:gd name="connsiteX42" fmla="*/ 3903436 w 7802051"/>
              <a:gd name="connsiteY42" fmla="*/ 0 h 7751588"/>
              <a:gd name="connsiteX43" fmla="*/ 4821 w 7802051"/>
              <a:gd name="connsiteY43" fmla="*/ 3181174 h 7751588"/>
              <a:gd name="connsiteX44" fmla="*/ 0 w 7802051"/>
              <a:gd name="connsiteY44" fmla="*/ 3181174 h 7751588"/>
              <a:gd name="connsiteX45" fmla="*/ 3898615 w 7802051"/>
              <a:gd name="connsiteY45"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3669750 w 7802051"/>
              <a:gd name="connsiteY5" fmla="*/ 4921020 h 7751588"/>
              <a:gd name="connsiteX6" fmla="*/ 4077374 w 7802051"/>
              <a:gd name="connsiteY6" fmla="*/ 4877682 h 7751588"/>
              <a:gd name="connsiteX7" fmla="*/ 5406368 w 7802051"/>
              <a:gd name="connsiteY7" fmla="*/ 3581135 h 7751588"/>
              <a:gd name="connsiteX8" fmla="*/ 5396221 w 7802051"/>
              <a:gd name="connsiteY8" fmla="*/ 3548447 h 7751588"/>
              <a:gd name="connsiteX9" fmla="*/ 5383519 w 7802051"/>
              <a:gd name="connsiteY9" fmla="*/ 3422441 h 7751588"/>
              <a:gd name="connsiteX10" fmla="*/ 5392133 w 7802051"/>
              <a:gd name="connsiteY10" fmla="*/ 3336986 h 7751588"/>
              <a:gd name="connsiteX11" fmla="*/ 4044164 w 7802051"/>
              <a:gd name="connsiteY11" fmla="*/ 4874334 h 7751588"/>
              <a:gd name="connsiteX12" fmla="*/ 4077374 w 7802051"/>
              <a:gd name="connsiteY12" fmla="*/ 4877682 h 7751588"/>
              <a:gd name="connsiteX13" fmla="*/ 4618758 w 7802051"/>
              <a:gd name="connsiteY13" fmla="*/ 5541937 h 7751588"/>
              <a:gd name="connsiteX14" fmla="*/ 3262698 w 7802051"/>
              <a:gd name="connsiteY14" fmla="*/ 5541937 h 7751588"/>
              <a:gd name="connsiteX15" fmla="*/ 3378494 w 7802051"/>
              <a:gd name="connsiteY15" fmla="*/ 5162844 h 7751588"/>
              <a:gd name="connsiteX16" fmla="*/ 3384198 w 7802051"/>
              <a:gd name="connsiteY16" fmla="*/ 5155931 h 7751588"/>
              <a:gd name="connsiteX17" fmla="*/ 2119419 w 7802051"/>
              <a:gd name="connsiteY17" fmla="*/ 3948859 h 7751588"/>
              <a:gd name="connsiteX18" fmla="*/ 1793305 w 7802051"/>
              <a:gd name="connsiteY18" fmla="*/ 4042906 h 7751588"/>
              <a:gd name="connsiteX19" fmla="*/ 1168076 w 7802051"/>
              <a:gd name="connsiteY19" fmla="*/ 3417678 h 7751588"/>
              <a:gd name="connsiteX20" fmla="*/ 1793304 w 7802051"/>
              <a:gd name="connsiteY20" fmla="*/ 2792451 h 7751588"/>
              <a:gd name="connsiteX21" fmla="*/ 2235408 w 7802051"/>
              <a:gd name="connsiteY21" fmla="*/ 2975575 h 7751588"/>
              <a:gd name="connsiteX22" fmla="*/ 2241113 w 7802051"/>
              <a:gd name="connsiteY22" fmla="*/ 2982489 h 7751588"/>
              <a:gd name="connsiteX23" fmla="*/ 3433657 w 7802051"/>
              <a:gd name="connsiteY23" fmla="*/ 2275919 h 7751588"/>
              <a:gd name="connsiteX24" fmla="*/ 3422279 w 7802051"/>
              <a:gd name="connsiteY24" fmla="*/ 2262129 h 7751588"/>
              <a:gd name="connsiteX25" fmla="*/ 3315500 w 7802051"/>
              <a:gd name="connsiteY25" fmla="*/ 1912558 h 7751588"/>
              <a:gd name="connsiteX26" fmla="*/ 3940728 w 7802051"/>
              <a:gd name="connsiteY26" fmla="*/ 1287330 h 7751588"/>
              <a:gd name="connsiteX27" fmla="*/ 4565956 w 7802051"/>
              <a:gd name="connsiteY27" fmla="*/ 1912558 h 7751588"/>
              <a:gd name="connsiteX28" fmla="*/ 4459177 w 7802051"/>
              <a:gd name="connsiteY28" fmla="*/ 2262129 h 7751588"/>
              <a:gd name="connsiteX29" fmla="*/ 4442548 w 7802051"/>
              <a:gd name="connsiteY29" fmla="*/ 2282283 h 7751588"/>
              <a:gd name="connsiteX30" fmla="*/ 5549310 w 7802051"/>
              <a:gd name="connsiteY30" fmla="*/ 3001346 h 7751588"/>
              <a:gd name="connsiteX31" fmla="*/ 6008747 w 7802051"/>
              <a:gd name="connsiteY31" fmla="*/ 2797213 h 7751588"/>
              <a:gd name="connsiteX32" fmla="*/ 6633974 w 7802051"/>
              <a:gd name="connsiteY32" fmla="*/ 3422441 h 7751588"/>
              <a:gd name="connsiteX33" fmla="*/ 6008747 w 7802051"/>
              <a:gd name="connsiteY33" fmla="*/ 4047670 h 7751588"/>
              <a:gd name="connsiteX34" fmla="*/ 5659175 w 7802051"/>
              <a:gd name="connsiteY34" fmla="*/ 3940890 h 7751588"/>
              <a:gd name="connsiteX35" fmla="*/ 4536367 w 7802051"/>
              <a:gd name="connsiteY35" fmla="*/ 5224392 h 7751588"/>
              <a:gd name="connsiteX36" fmla="*/ 4565475 w 7802051"/>
              <a:gd name="connsiteY36" fmla="*/ 5278017 h 7751588"/>
              <a:gd name="connsiteX37" fmla="*/ 4618758 w 7802051"/>
              <a:gd name="connsiteY37" fmla="*/ 5541937 h 7751588"/>
              <a:gd name="connsiteX38" fmla="*/ 3898615 w 7802051"/>
              <a:gd name="connsiteY38" fmla="*/ 7751588 h 7751588"/>
              <a:gd name="connsiteX39" fmla="*/ 7797230 w 7802051"/>
              <a:gd name="connsiteY39" fmla="*/ 3181174 h 7751588"/>
              <a:gd name="connsiteX40" fmla="*/ 7802051 w 7802051"/>
              <a:gd name="connsiteY40" fmla="*/ 3181174 h 7751588"/>
              <a:gd name="connsiteX41" fmla="*/ 3903436 w 7802051"/>
              <a:gd name="connsiteY41" fmla="*/ 0 h 7751588"/>
              <a:gd name="connsiteX42" fmla="*/ 4821 w 7802051"/>
              <a:gd name="connsiteY42" fmla="*/ 3181174 h 7751588"/>
              <a:gd name="connsiteX43" fmla="*/ 0 w 7802051"/>
              <a:gd name="connsiteY43" fmla="*/ 3181174 h 7751588"/>
              <a:gd name="connsiteX44" fmla="*/ 3898615 w 7802051"/>
              <a:gd name="connsiteY44"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77374 w 7802051"/>
              <a:gd name="connsiteY5" fmla="*/ 4877682 h 7751588"/>
              <a:gd name="connsiteX6" fmla="*/ 5406368 w 7802051"/>
              <a:gd name="connsiteY6" fmla="*/ 3581135 h 7751588"/>
              <a:gd name="connsiteX7" fmla="*/ 5396221 w 7802051"/>
              <a:gd name="connsiteY7" fmla="*/ 3548447 h 7751588"/>
              <a:gd name="connsiteX8" fmla="*/ 5383519 w 7802051"/>
              <a:gd name="connsiteY8" fmla="*/ 3422441 h 7751588"/>
              <a:gd name="connsiteX9" fmla="*/ 5392133 w 7802051"/>
              <a:gd name="connsiteY9" fmla="*/ 3336986 h 7751588"/>
              <a:gd name="connsiteX10" fmla="*/ 4044164 w 7802051"/>
              <a:gd name="connsiteY10" fmla="*/ 4874334 h 7751588"/>
              <a:gd name="connsiteX11" fmla="*/ 4077374 w 7802051"/>
              <a:gd name="connsiteY11" fmla="*/ 4877682 h 7751588"/>
              <a:gd name="connsiteX12" fmla="*/ 4618758 w 7802051"/>
              <a:gd name="connsiteY12" fmla="*/ 5541937 h 7751588"/>
              <a:gd name="connsiteX13" fmla="*/ 3262698 w 7802051"/>
              <a:gd name="connsiteY13" fmla="*/ 5541937 h 7751588"/>
              <a:gd name="connsiteX14" fmla="*/ 3378494 w 7802051"/>
              <a:gd name="connsiteY14" fmla="*/ 5162844 h 7751588"/>
              <a:gd name="connsiteX15" fmla="*/ 3384198 w 7802051"/>
              <a:gd name="connsiteY15" fmla="*/ 5155931 h 7751588"/>
              <a:gd name="connsiteX16" fmla="*/ 2119419 w 7802051"/>
              <a:gd name="connsiteY16" fmla="*/ 3948859 h 7751588"/>
              <a:gd name="connsiteX17" fmla="*/ 1793305 w 7802051"/>
              <a:gd name="connsiteY17" fmla="*/ 4042906 h 7751588"/>
              <a:gd name="connsiteX18" fmla="*/ 1168076 w 7802051"/>
              <a:gd name="connsiteY18" fmla="*/ 3417678 h 7751588"/>
              <a:gd name="connsiteX19" fmla="*/ 1793304 w 7802051"/>
              <a:gd name="connsiteY19" fmla="*/ 2792451 h 7751588"/>
              <a:gd name="connsiteX20" fmla="*/ 2235408 w 7802051"/>
              <a:gd name="connsiteY20" fmla="*/ 2975575 h 7751588"/>
              <a:gd name="connsiteX21" fmla="*/ 2241113 w 7802051"/>
              <a:gd name="connsiteY21" fmla="*/ 2982489 h 7751588"/>
              <a:gd name="connsiteX22" fmla="*/ 3433657 w 7802051"/>
              <a:gd name="connsiteY22" fmla="*/ 2275919 h 7751588"/>
              <a:gd name="connsiteX23" fmla="*/ 3422279 w 7802051"/>
              <a:gd name="connsiteY23" fmla="*/ 2262129 h 7751588"/>
              <a:gd name="connsiteX24" fmla="*/ 3315500 w 7802051"/>
              <a:gd name="connsiteY24" fmla="*/ 1912558 h 7751588"/>
              <a:gd name="connsiteX25" fmla="*/ 3940728 w 7802051"/>
              <a:gd name="connsiteY25" fmla="*/ 1287330 h 7751588"/>
              <a:gd name="connsiteX26" fmla="*/ 4565956 w 7802051"/>
              <a:gd name="connsiteY26" fmla="*/ 1912558 h 7751588"/>
              <a:gd name="connsiteX27" fmla="*/ 4459177 w 7802051"/>
              <a:gd name="connsiteY27" fmla="*/ 2262129 h 7751588"/>
              <a:gd name="connsiteX28" fmla="*/ 4442548 w 7802051"/>
              <a:gd name="connsiteY28" fmla="*/ 2282283 h 7751588"/>
              <a:gd name="connsiteX29" fmla="*/ 5549310 w 7802051"/>
              <a:gd name="connsiteY29" fmla="*/ 3001346 h 7751588"/>
              <a:gd name="connsiteX30" fmla="*/ 6008747 w 7802051"/>
              <a:gd name="connsiteY30" fmla="*/ 2797213 h 7751588"/>
              <a:gd name="connsiteX31" fmla="*/ 6633974 w 7802051"/>
              <a:gd name="connsiteY31" fmla="*/ 3422441 h 7751588"/>
              <a:gd name="connsiteX32" fmla="*/ 6008747 w 7802051"/>
              <a:gd name="connsiteY32" fmla="*/ 4047670 h 7751588"/>
              <a:gd name="connsiteX33" fmla="*/ 5659175 w 7802051"/>
              <a:gd name="connsiteY33" fmla="*/ 3940890 h 7751588"/>
              <a:gd name="connsiteX34" fmla="*/ 4536367 w 7802051"/>
              <a:gd name="connsiteY34" fmla="*/ 5224392 h 7751588"/>
              <a:gd name="connsiteX35" fmla="*/ 4565475 w 7802051"/>
              <a:gd name="connsiteY35" fmla="*/ 5278017 h 7751588"/>
              <a:gd name="connsiteX36" fmla="*/ 4618758 w 7802051"/>
              <a:gd name="connsiteY36" fmla="*/ 5541937 h 7751588"/>
              <a:gd name="connsiteX37" fmla="*/ 3898615 w 7802051"/>
              <a:gd name="connsiteY37" fmla="*/ 7751588 h 7751588"/>
              <a:gd name="connsiteX38" fmla="*/ 7797230 w 7802051"/>
              <a:gd name="connsiteY38" fmla="*/ 3181174 h 7751588"/>
              <a:gd name="connsiteX39" fmla="*/ 7802051 w 7802051"/>
              <a:gd name="connsiteY39" fmla="*/ 3181174 h 7751588"/>
              <a:gd name="connsiteX40" fmla="*/ 3903436 w 7802051"/>
              <a:gd name="connsiteY40" fmla="*/ 0 h 7751588"/>
              <a:gd name="connsiteX41" fmla="*/ 4821 w 7802051"/>
              <a:gd name="connsiteY41" fmla="*/ 3181174 h 7751588"/>
              <a:gd name="connsiteX42" fmla="*/ 0 w 7802051"/>
              <a:gd name="connsiteY42" fmla="*/ 3181174 h 7751588"/>
              <a:gd name="connsiteX43" fmla="*/ 3898615 w 7802051"/>
              <a:gd name="connsiteY43"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44164 w 7802051"/>
              <a:gd name="connsiteY5" fmla="*/ 4874334 h 7751588"/>
              <a:gd name="connsiteX6" fmla="*/ 5406368 w 7802051"/>
              <a:gd name="connsiteY6" fmla="*/ 3581135 h 7751588"/>
              <a:gd name="connsiteX7" fmla="*/ 5396221 w 7802051"/>
              <a:gd name="connsiteY7" fmla="*/ 3548447 h 7751588"/>
              <a:gd name="connsiteX8" fmla="*/ 5383519 w 7802051"/>
              <a:gd name="connsiteY8" fmla="*/ 3422441 h 7751588"/>
              <a:gd name="connsiteX9" fmla="*/ 5392133 w 7802051"/>
              <a:gd name="connsiteY9" fmla="*/ 3336986 h 7751588"/>
              <a:gd name="connsiteX10" fmla="*/ 4044164 w 7802051"/>
              <a:gd name="connsiteY10" fmla="*/ 4874334 h 7751588"/>
              <a:gd name="connsiteX11" fmla="*/ 4618758 w 7802051"/>
              <a:gd name="connsiteY11" fmla="*/ 5541937 h 7751588"/>
              <a:gd name="connsiteX12" fmla="*/ 3262698 w 7802051"/>
              <a:gd name="connsiteY12" fmla="*/ 5541937 h 7751588"/>
              <a:gd name="connsiteX13" fmla="*/ 3378494 w 7802051"/>
              <a:gd name="connsiteY13" fmla="*/ 5162844 h 7751588"/>
              <a:gd name="connsiteX14" fmla="*/ 3384198 w 7802051"/>
              <a:gd name="connsiteY14" fmla="*/ 5155931 h 7751588"/>
              <a:gd name="connsiteX15" fmla="*/ 2119419 w 7802051"/>
              <a:gd name="connsiteY15" fmla="*/ 3948859 h 7751588"/>
              <a:gd name="connsiteX16" fmla="*/ 1793305 w 7802051"/>
              <a:gd name="connsiteY16" fmla="*/ 4042906 h 7751588"/>
              <a:gd name="connsiteX17" fmla="*/ 1168076 w 7802051"/>
              <a:gd name="connsiteY17" fmla="*/ 3417678 h 7751588"/>
              <a:gd name="connsiteX18" fmla="*/ 1793304 w 7802051"/>
              <a:gd name="connsiteY18" fmla="*/ 2792451 h 7751588"/>
              <a:gd name="connsiteX19" fmla="*/ 2235408 w 7802051"/>
              <a:gd name="connsiteY19" fmla="*/ 2975575 h 7751588"/>
              <a:gd name="connsiteX20" fmla="*/ 2241113 w 7802051"/>
              <a:gd name="connsiteY20" fmla="*/ 2982489 h 7751588"/>
              <a:gd name="connsiteX21" fmla="*/ 3433657 w 7802051"/>
              <a:gd name="connsiteY21" fmla="*/ 2275919 h 7751588"/>
              <a:gd name="connsiteX22" fmla="*/ 3422279 w 7802051"/>
              <a:gd name="connsiteY22" fmla="*/ 2262129 h 7751588"/>
              <a:gd name="connsiteX23" fmla="*/ 3315500 w 7802051"/>
              <a:gd name="connsiteY23" fmla="*/ 1912558 h 7751588"/>
              <a:gd name="connsiteX24" fmla="*/ 3940728 w 7802051"/>
              <a:gd name="connsiteY24" fmla="*/ 1287330 h 7751588"/>
              <a:gd name="connsiteX25" fmla="*/ 4565956 w 7802051"/>
              <a:gd name="connsiteY25" fmla="*/ 1912558 h 7751588"/>
              <a:gd name="connsiteX26" fmla="*/ 4459177 w 7802051"/>
              <a:gd name="connsiteY26" fmla="*/ 2262129 h 7751588"/>
              <a:gd name="connsiteX27" fmla="*/ 4442548 w 7802051"/>
              <a:gd name="connsiteY27" fmla="*/ 2282283 h 7751588"/>
              <a:gd name="connsiteX28" fmla="*/ 5549310 w 7802051"/>
              <a:gd name="connsiteY28" fmla="*/ 3001346 h 7751588"/>
              <a:gd name="connsiteX29" fmla="*/ 6008747 w 7802051"/>
              <a:gd name="connsiteY29" fmla="*/ 2797213 h 7751588"/>
              <a:gd name="connsiteX30" fmla="*/ 6633974 w 7802051"/>
              <a:gd name="connsiteY30" fmla="*/ 3422441 h 7751588"/>
              <a:gd name="connsiteX31" fmla="*/ 6008747 w 7802051"/>
              <a:gd name="connsiteY31" fmla="*/ 4047670 h 7751588"/>
              <a:gd name="connsiteX32" fmla="*/ 5659175 w 7802051"/>
              <a:gd name="connsiteY32" fmla="*/ 3940890 h 7751588"/>
              <a:gd name="connsiteX33" fmla="*/ 4536367 w 7802051"/>
              <a:gd name="connsiteY33" fmla="*/ 5224392 h 7751588"/>
              <a:gd name="connsiteX34" fmla="*/ 4565475 w 7802051"/>
              <a:gd name="connsiteY34" fmla="*/ 5278017 h 7751588"/>
              <a:gd name="connsiteX35" fmla="*/ 4618758 w 7802051"/>
              <a:gd name="connsiteY35" fmla="*/ 5541937 h 7751588"/>
              <a:gd name="connsiteX36" fmla="*/ 3898615 w 7802051"/>
              <a:gd name="connsiteY36" fmla="*/ 7751588 h 7751588"/>
              <a:gd name="connsiteX37" fmla="*/ 7797230 w 7802051"/>
              <a:gd name="connsiteY37" fmla="*/ 3181174 h 7751588"/>
              <a:gd name="connsiteX38" fmla="*/ 7802051 w 7802051"/>
              <a:gd name="connsiteY38" fmla="*/ 3181174 h 7751588"/>
              <a:gd name="connsiteX39" fmla="*/ 3903436 w 7802051"/>
              <a:gd name="connsiteY39" fmla="*/ 0 h 7751588"/>
              <a:gd name="connsiteX40" fmla="*/ 4821 w 7802051"/>
              <a:gd name="connsiteY40" fmla="*/ 3181174 h 7751588"/>
              <a:gd name="connsiteX41" fmla="*/ 0 w 7802051"/>
              <a:gd name="connsiteY41" fmla="*/ 3181174 h 7751588"/>
              <a:gd name="connsiteX42" fmla="*/ 3898615 w 7802051"/>
              <a:gd name="connsiteY42"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44164 w 7802051"/>
              <a:gd name="connsiteY5" fmla="*/ 4874334 h 7751588"/>
              <a:gd name="connsiteX6" fmla="*/ 5406368 w 7802051"/>
              <a:gd name="connsiteY6" fmla="*/ 3581135 h 7751588"/>
              <a:gd name="connsiteX7" fmla="*/ 5396221 w 7802051"/>
              <a:gd name="connsiteY7" fmla="*/ 3548447 h 7751588"/>
              <a:gd name="connsiteX8" fmla="*/ 5392133 w 7802051"/>
              <a:gd name="connsiteY8" fmla="*/ 3336986 h 7751588"/>
              <a:gd name="connsiteX9" fmla="*/ 4044164 w 7802051"/>
              <a:gd name="connsiteY9" fmla="*/ 4874334 h 7751588"/>
              <a:gd name="connsiteX10" fmla="*/ 4618758 w 7802051"/>
              <a:gd name="connsiteY10" fmla="*/ 5541937 h 7751588"/>
              <a:gd name="connsiteX11" fmla="*/ 3262698 w 7802051"/>
              <a:gd name="connsiteY11" fmla="*/ 5541937 h 7751588"/>
              <a:gd name="connsiteX12" fmla="*/ 3378494 w 7802051"/>
              <a:gd name="connsiteY12" fmla="*/ 5162844 h 7751588"/>
              <a:gd name="connsiteX13" fmla="*/ 3384198 w 7802051"/>
              <a:gd name="connsiteY13" fmla="*/ 5155931 h 7751588"/>
              <a:gd name="connsiteX14" fmla="*/ 2119419 w 7802051"/>
              <a:gd name="connsiteY14" fmla="*/ 3948859 h 7751588"/>
              <a:gd name="connsiteX15" fmla="*/ 1793305 w 7802051"/>
              <a:gd name="connsiteY15" fmla="*/ 4042906 h 7751588"/>
              <a:gd name="connsiteX16" fmla="*/ 1168076 w 7802051"/>
              <a:gd name="connsiteY16" fmla="*/ 3417678 h 7751588"/>
              <a:gd name="connsiteX17" fmla="*/ 1793304 w 7802051"/>
              <a:gd name="connsiteY17" fmla="*/ 2792451 h 7751588"/>
              <a:gd name="connsiteX18" fmla="*/ 2235408 w 7802051"/>
              <a:gd name="connsiteY18" fmla="*/ 2975575 h 7751588"/>
              <a:gd name="connsiteX19" fmla="*/ 2241113 w 7802051"/>
              <a:gd name="connsiteY19" fmla="*/ 2982489 h 7751588"/>
              <a:gd name="connsiteX20" fmla="*/ 3433657 w 7802051"/>
              <a:gd name="connsiteY20" fmla="*/ 2275919 h 7751588"/>
              <a:gd name="connsiteX21" fmla="*/ 3422279 w 7802051"/>
              <a:gd name="connsiteY21" fmla="*/ 2262129 h 7751588"/>
              <a:gd name="connsiteX22" fmla="*/ 3315500 w 7802051"/>
              <a:gd name="connsiteY22" fmla="*/ 1912558 h 7751588"/>
              <a:gd name="connsiteX23" fmla="*/ 3940728 w 7802051"/>
              <a:gd name="connsiteY23" fmla="*/ 1287330 h 7751588"/>
              <a:gd name="connsiteX24" fmla="*/ 4565956 w 7802051"/>
              <a:gd name="connsiteY24" fmla="*/ 1912558 h 7751588"/>
              <a:gd name="connsiteX25" fmla="*/ 4459177 w 7802051"/>
              <a:gd name="connsiteY25" fmla="*/ 2262129 h 7751588"/>
              <a:gd name="connsiteX26" fmla="*/ 4442548 w 7802051"/>
              <a:gd name="connsiteY26" fmla="*/ 2282283 h 7751588"/>
              <a:gd name="connsiteX27" fmla="*/ 5549310 w 7802051"/>
              <a:gd name="connsiteY27" fmla="*/ 3001346 h 7751588"/>
              <a:gd name="connsiteX28" fmla="*/ 6008747 w 7802051"/>
              <a:gd name="connsiteY28" fmla="*/ 2797213 h 7751588"/>
              <a:gd name="connsiteX29" fmla="*/ 6633974 w 7802051"/>
              <a:gd name="connsiteY29" fmla="*/ 3422441 h 7751588"/>
              <a:gd name="connsiteX30" fmla="*/ 6008747 w 7802051"/>
              <a:gd name="connsiteY30" fmla="*/ 4047670 h 7751588"/>
              <a:gd name="connsiteX31" fmla="*/ 5659175 w 7802051"/>
              <a:gd name="connsiteY31" fmla="*/ 3940890 h 7751588"/>
              <a:gd name="connsiteX32" fmla="*/ 4536367 w 7802051"/>
              <a:gd name="connsiteY32" fmla="*/ 5224392 h 7751588"/>
              <a:gd name="connsiteX33" fmla="*/ 4565475 w 7802051"/>
              <a:gd name="connsiteY33" fmla="*/ 5278017 h 7751588"/>
              <a:gd name="connsiteX34" fmla="*/ 4618758 w 7802051"/>
              <a:gd name="connsiteY34" fmla="*/ 5541937 h 7751588"/>
              <a:gd name="connsiteX35" fmla="*/ 3898615 w 7802051"/>
              <a:gd name="connsiteY35" fmla="*/ 7751588 h 7751588"/>
              <a:gd name="connsiteX36" fmla="*/ 7797230 w 7802051"/>
              <a:gd name="connsiteY36" fmla="*/ 3181174 h 7751588"/>
              <a:gd name="connsiteX37" fmla="*/ 7802051 w 7802051"/>
              <a:gd name="connsiteY37" fmla="*/ 3181174 h 7751588"/>
              <a:gd name="connsiteX38" fmla="*/ 3903436 w 7802051"/>
              <a:gd name="connsiteY38" fmla="*/ 0 h 7751588"/>
              <a:gd name="connsiteX39" fmla="*/ 4821 w 7802051"/>
              <a:gd name="connsiteY39" fmla="*/ 3181174 h 7751588"/>
              <a:gd name="connsiteX40" fmla="*/ 0 w 7802051"/>
              <a:gd name="connsiteY40" fmla="*/ 3181174 h 7751588"/>
              <a:gd name="connsiteX41" fmla="*/ 3898615 w 7802051"/>
              <a:gd name="connsiteY41"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44164 w 7802051"/>
              <a:gd name="connsiteY5" fmla="*/ 4874334 h 7751588"/>
              <a:gd name="connsiteX6" fmla="*/ 5406368 w 7802051"/>
              <a:gd name="connsiteY6" fmla="*/ 3581135 h 7751588"/>
              <a:gd name="connsiteX7" fmla="*/ 5392133 w 7802051"/>
              <a:gd name="connsiteY7" fmla="*/ 3336986 h 7751588"/>
              <a:gd name="connsiteX8" fmla="*/ 4044164 w 7802051"/>
              <a:gd name="connsiteY8" fmla="*/ 4874334 h 7751588"/>
              <a:gd name="connsiteX9" fmla="*/ 4618758 w 7802051"/>
              <a:gd name="connsiteY9" fmla="*/ 5541937 h 7751588"/>
              <a:gd name="connsiteX10" fmla="*/ 3262698 w 7802051"/>
              <a:gd name="connsiteY10" fmla="*/ 5541937 h 7751588"/>
              <a:gd name="connsiteX11" fmla="*/ 3378494 w 7802051"/>
              <a:gd name="connsiteY11" fmla="*/ 5162844 h 7751588"/>
              <a:gd name="connsiteX12" fmla="*/ 3384198 w 7802051"/>
              <a:gd name="connsiteY12" fmla="*/ 5155931 h 7751588"/>
              <a:gd name="connsiteX13" fmla="*/ 2119419 w 7802051"/>
              <a:gd name="connsiteY13" fmla="*/ 3948859 h 7751588"/>
              <a:gd name="connsiteX14" fmla="*/ 1793305 w 7802051"/>
              <a:gd name="connsiteY14" fmla="*/ 4042906 h 7751588"/>
              <a:gd name="connsiteX15" fmla="*/ 1168076 w 7802051"/>
              <a:gd name="connsiteY15" fmla="*/ 3417678 h 7751588"/>
              <a:gd name="connsiteX16" fmla="*/ 1793304 w 7802051"/>
              <a:gd name="connsiteY16" fmla="*/ 2792451 h 7751588"/>
              <a:gd name="connsiteX17" fmla="*/ 2235408 w 7802051"/>
              <a:gd name="connsiteY17" fmla="*/ 2975575 h 7751588"/>
              <a:gd name="connsiteX18" fmla="*/ 2241113 w 7802051"/>
              <a:gd name="connsiteY18" fmla="*/ 2982489 h 7751588"/>
              <a:gd name="connsiteX19" fmla="*/ 3433657 w 7802051"/>
              <a:gd name="connsiteY19" fmla="*/ 2275919 h 7751588"/>
              <a:gd name="connsiteX20" fmla="*/ 3422279 w 7802051"/>
              <a:gd name="connsiteY20" fmla="*/ 2262129 h 7751588"/>
              <a:gd name="connsiteX21" fmla="*/ 3315500 w 7802051"/>
              <a:gd name="connsiteY21" fmla="*/ 1912558 h 7751588"/>
              <a:gd name="connsiteX22" fmla="*/ 3940728 w 7802051"/>
              <a:gd name="connsiteY22" fmla="*/ 1287330 h 7751588"/>
              <a:gd name="connsiteX23" fmla="*/ 4565956 w 7802051"/>
              <a:gd name="connsiteY23" fmla="*/ 1912558 h 7751588"/>
              <a:gd name="connsiteX24" fmla="*/ 4459177 w 7802051"/>
              <a:gd name="connsiteY24" fmla="*/ 2262129 h 7751588"/>
              <a:gd name="connsiteX25" fmla="*/ 4442548 w 7802051"/>
              <a:gd name="connsiteY25" fmla="*/ 2282283 h 7751588"/>
              <a:gd name="connsiteX26" fmla="*/ 5549310 w 7802051"/>
              <a:gd name="connsiteY26" fmla="*/ 3001346 h 7751588"/>
              <a:gd name="connsiteX27" fmla="*/ 6008747 w 7802051"/>
              <a:gd name="connsiteY27" fmla="*/ 2797213 h 7751588"/>
              <a:gd name="connsiteX28" fmla="*/ 6633974 w 7802051"/>
              <a:gd name="connsiteY28" fmla="*/ 3422441 h 7751588"/>
              <a:gd name="connsiteX29" fmla="*/ 6008747 w 7802051"/>
              <a:gd name="connsiteY29" fmla="*/ 4047670 h 7751588"/>
              <a:gd name="connsiteX30" fmla="*/ 5659175 w 7802051"/>
              <a:gd name="connsiteY30" fmla="*/ 3940890 h 7751588"/>
              <a:gd name="connsiteX31" fmla="*/ 4536367 w 7802051"/>
              <a:gd name="connsiteY31" fmla="*/ 5224392 h 7751588"/>
              <a:gd name="connsiteX32" fmla="*/ 4565475 w 7802051"/>
              <a:gd name="connsiteY32" fmla="*/ 5278017 h 7751588"/>
              <a:gd name="connsiteX33" fmla="*/ 4618758 w 7802051"/>
              <a:gd name="connsiteY33" fmla="*/ 5541937 h 7751588"/>
              <a:gd name="connsiteX34" fmla="*/ 3898615 w 7802051"/>
              <a:gd name="connsiteY34" fmla="*/ 7751588 h 7751588"/>
              <a:gd name="connsiteX35" fmla="*/ 7797230 w 7802051"/>
              <a:gd name="connsiteY35" fmla="*/ 3181174 h 7751588"/>
              <a:gd name="connsiteX36" fmla="*/ 7802051 w 7802051"/>
              <a:gd name="connsiteY36" fmla="*/ 3181174 h 7751588"/>
              <a:gd name="connsiteX37" fmla="*/ 3903436 w 7802051"/>
              <a:gd name="connsiteY37" fmla="*/ 0 h 7751588"/>
              <a:gd name="connsiteX38" fmla="*/ 4821 w 7802051"/>
              <a:gd name="connsiteY38" fmla="*/ 3181174 h 7751588"/>
              <a:gd name="connsiteX39" fmla="*/ 0 w 7802051"/>
              <a:gd name="connsiteY39" fmla="*/ 3181174 h 7751588"/>
              <a:gd name="connsiteX40" fmla="*/ 3898615 w 7802051"/>
              <a:gd name="connsiteY40"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44164 w 7802051"/>
              <a:gd name="connsiteY5" fmla="*/ 4874334 h 7751588"/>
              <a:gd name="connsiteX6" fmla="*/ 5406368 w 7802051"/>
              <a:gd name="connsiteY6" fmla="*/ 3581135 h 7751588"/>
              <a:gd name="connsiteX7" fmla="*/ 4044164 w 7802051"/>
              <a:gd name="connsiteY7" fmla="*/ 4874334 h 7751588"/>
              <a:gd name="connsiteX8" fmla="*/ 4618758 w 7802051"/>
              <a:gd name="connsiteY8" fmla="*/ 5541937 h 7751588"/>
              <a:gd name="connsiteX9" fmla="*/ 3262698 w 7802051"/>
              <a:gd name="connsiteY9" fmla="*/ 5541937 h 7751588"/>
              <a:gd name="connsiteX10" fmla="*/ 3378494 w 7802051"/>
              <a:gd name="connsiteY10" fmla="*/ 5162844 h 7751588"/>
              <a:gd name="connsiteX11" fmla="*/ 3384198 w 7802051"/>
              <a:gd name="connsiteY11" fmla="*/ 5155931 h 7751588"/>
              <a:gd name="connsiteX12" fmla="*/ 2119419 w 7802051"/>
              <a:gd name="connsiteY12" fmla="*/ 3948859 h 7751588"/>
              <a:gd name="connsiteX13" fmla="*/ 1793305 w 7802051"/>
              <a:gd name="connsiteY13" fmla="*/ 4042906 h 7751588"/>
              <a:gd name="connsiteX14" fmla="*/ 1168076 w 7802051"/>
              <a:gd name="connsiteY14" fmla="*/ 3417678 h 7751588"/>
              <a:gd name="connsiteX15" fmla="*/ 1793304 w 7802051"/>
              <a:gd name="connsiteY15" fmla="*/ 2792451 h 7751588"/>
              <a:gd name="connsiteX16" fmla="*/ 2235408 w 7802051"/>
              <a:gd name="connsiteY16" fmla="*/ 2975575 h 7751588"/>
              <a:gd name="connsiteX17" fmla="*/ 2241113 w 7802051"/>
              <a:gd name="connsiteY17" fmla="*/ 2982489 h 7751588"/>
              <a:gd name="connsiteX18" fmla="*/ 3433657 w 7802051"/>
              <a:gd name="connsiteY18" fmla="*/ 2275919 h 7751588"/>
              <a:gd name="connsiteX19" fmla="*/ 3422279 w 7802051"/>
              <a:gd name="connsiteY19" fmla="*/ 2262129 h 7751588"/>
              <a:gd name="connsiteX20" fmla="*/ 3315500 w 7802051"/>
              <a:gd name="connsiteY20" fmla="*/ 1912558 h 7751588"/>
              <a:gd name="connsiteX21" fmla="*/ 3940728 w 7802051"/>
              <a:gd name="connsiteY21" fmla="*/ 1287330 h 7751588"/>
              <a:gd name="connsiteX22" fmla="*/ 4565956 w 7802051"/>
              <a:gd name="connsiteY22" fmla="*/ 1912558 h 7751588"/>
              <a:gd name="connsiteX23" fmla="*/ 4459177 w 7802051"/>
              <a:gd name="connsiteY23" fmla="*/ 2262129 h 7751588"/>
              <a:gd name="connsiteX24" fmla="*/ 4442548 w 7802051"/>
              <a:gd name="connsiteY24" fmla="*/ 2282283 h 7751588"/>
              <a:gd name="connsiteX25" fmla="*/ 5549310 w 7802051"/>
              <a:gd name="connsiteY25" fmla="*/ 3001346 h 7751588"/>
              <a:gd name="connsiteX26" fmla="*/ 6008747 w 7802051"/>
              <a:gd name="connsiteY26" fmla="*/ 2797213 h 7751588"/>
              <a:gd name="connsiteX27" fmla="*/ 6633974 w 7802051"/>
              <a:gd name="connsiteY27" fmla="*/ 3422441 h 7751588"/>
              <a:gd name="connsiteX28" fmla="*/ 6008747 w 7802051"/>
              <a:gd name="connsiteY28" fmla="*/ 4047670 h 7751588"/>
              <a:gd name="connsiteX29" fmla="*/ 5659175 w 7802051"/>
              <a:gd name="connsiteY29" fmla="*/ 3940890 h 7751588"/>
              <a:gd name="connsiteX30" fmla="*/ 4536367 w 7802051"/>
              <a:gd name="connsiteY30" fmla="*/ 5224392 h 7751588"/>
              <a:gd name="connsiteX31" fmla="*/ 4565475 w 7802051"/>
              <a:gd name="connsiteY31" fmla="*/ 5278017 h 7751588"/>
              <a:gd name="connsiteX32" fmla="*/ 4618758 w 7802051"/>
              <a:gd name="connsiteY32" fmla="*/ 5541937 h 7751588"/>
              <a:gd name="connsiteX33" fmla="*/ 3898615 w 7802051"/>
              <a:gd name="connsiteY33" fmla="*/ 7751588 h 7751588"/>
              <a:gd name="connsiteX34" fmla="*/ 7797230 w 7802051"/>
              <a:gd name="connsiteY34" fmla="*/ 3181174 h 7751588"/>
              <a:gd name="connsiteX35" fmla="*/ 7802051 w 7802051"/>
              <a:gd name="connsiteY35" fmla="*/ 3181174 h 7751588"/>
              <a:gd name="connsiteX36" fmla="*/ 3903436 w 7802051"/>
              <a:gd name="connsiteY36" fmla="*/ 0 h 7751588"/>
              <a:gd name="connsiteX37" fmla="*/ 4821 w 7802051"/>
              <a:gd name="connsiteY37" fmla="*/ 3181174 h 7751588"/>
              <a:gd name="connsiteX38" fmla="*/ 0 w 7802051"/>
              <a:gd name="connsiteY38" fmla="*/ 3181174 h 7751588"/>
              <a:gd name="connsiteX39" fmla="*/ 3898615 w 7802051"/>
              <a:gd name="connsiteY39"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44164 w 7802051"/>
              <a:gd name="connsiteY5" fmla="*/ 4874334 h 7751588"/>
              <a:gd name="connsiteX6" fmla="*/ 5406368 w 7802051"/>
              <a:gd name="connsiteY6" fmla="*/ 3581135 h 7751588"/>
              <a:gd name="connsiteX7" fmla="*/ 4044164 w 7802051"/>
              <a:gd name="connsiteY7" fmla="*/ 4874334 h 7751588"/>
              <a:gd name="connsiteX8" fmla="*/ 4618758 w 7802051"/>
              <a:gd name="connsiteY8" fmla="*/ 5541937 h 7751588"/>
              <a:gd name="connsiteX9" fmla="*/ 3262698 w 7802051"/>
              <a:gd name="connsiteY9" fmla="*/ 5541937 h 7751588"/>
              <a:gd name="connsiteX10" fmla="*/ 3378494 w 7802051"/>
              <a:gd name="connsiteY10" fmla="*/ 5162844 h 7751588"/>
              <a:gd name="connsiteX11" fmla="*/ 3384198 w 7802051"/>
              <a:gd name="connsiteY11" fmla="*/ 5155931 h 7751588"/>
              <a:gd name="connsiteX12" fmla="*/ 2119419 w 7802051"/>
              <a:gd name="connsiteY12" fmla="*/ 3948859 h 7751588"/>
              <a:gd name="connsiteX13" fmla="*/ 1793305 w 7802051"/>
              <a:gd name="connsiteY13" fmla="*/ 4042906 h 7751588"/>
              <a:gd name="connsiteX14" fmla="*/ 1168076 w 7802051"/>
              <a:gd name="connsiteY14" fmla="*/ 3417678 h 7751588"/>
              <a:gd name="connsiteX15" fmla="*/ 1793304 w 7802051"/>
              <a:gd name="connsiteY15" fmla="*/ 2792451 h 7751588"/>
              <a:gd name="connsiteX16" fmla="*/ 2235408 w 7802051"/>
              <a:gd name="connsiteY16" fmla="*/ 2975575 h 7751588"/>
              <a:gd name="connsiteX17" fmla="*/ 2241113 w 7802051"/>
              <a:gd name="connsiteY17" fmla="*/ 2982489 h 7751588"/>
              <a:gd name="connsiteX18" fmla="*/ 3433657 w 7802051"/>
              <a:gd name="connsiteY18" fmla="*/ 2275919 h 7751588"/>
              <a:gd name="connsiteX19" fmla="*/ 3422279 w 7802051"/>
              <a:gd name="connsiteY19" fmla="*/ 2262129 h 7751588"/>
              <a:gd name="connsiteX20" fmla="*/ 3315500 w 7802051"/>
              <a:gd name="connsiteY20" fmla="*/ 1912558 h 7751588"/>
              <a:gd name="connsiteX21" fmla="*/ 3940728 w 7802051"/>
              <a:gd name="connsiteY21" fmla="*/ 1287330 h 7751588"/>
              <a:gd name="connsiteX22" fmla="*/ 4565956 w 7802051"/>
              <a:gd name="connsiteY22" fmla="*/ 1912558 h 7751588"/>
              <a:gd name="connsiteX23" fmla="*/ 4459177 w 7802051"/>
              <a:gd name="connsiteY23" fmla="*/ 2262129 h 7751588"/>
              <a:gd name="connsiteX24" fmla="*/ 4442548 w 7802051"/>
              <a:gd name="connsiteY24" fmla="*/ 2282283 h 7751588"/>
              <a:gd name="connsiteX25" fmla="*/ 5549310 w 7802051"/>
              <a:gd name="connsiteY25" fmla="*/ 3001346 h 7751588"/>
              <a:gd name="connsiteX26" fmla="*/ 6008747 w 7802051"/>
              <a:gd name="connsiteY26" fmla="*/ 2797213 h 7751588"/>
              <a:gd name="connsiteX27" fmla="*/ 6633974 w 7802051"/>
              <a:gd name="connsiteY27" fmla="*/ 3422441 h 7751588"/>
              <a:gd name="connsiteX28" fmla="*/ 6008747 w 7802051"/>
              <a:gd name="connsiteY28" fmla="*/ 4047670 h 7751588"/>
              <a:gd name="connsiteX29" fmla="*/ 5659175 w 7802051"/>
              <a:gd name="connsiteY29" fmla="*/ 3940890 h 7751588"/>
              <a:gd name="connsiteX30" fmla="*/ 4536367 w 7802051"/>
              <a:gd name="connsiteY30" fmla="*/ 5224392 h 7751588"/>
              <a:gd name="connsiteX31" fmla="*/ 4618758 w 7802051"/>
              <a:gd name="connsiteY31" fmla="*/ 5541937 h 7751588"/>
              <a:gd name="connsiteX32" fmla="*/ 3898615 w 7802051"/>
              <a:gd name="connsiteY32" fmla="*/ 7751588 h 7751588"/>
              <a:gd name="connsiteX33" fmla="*/ 7797230 w 7802051"/>
              <a:gd name="connsiteY33" fmla="*/ 3181174 h 7751588"/>
              <a:gd name="connsiteX34" fmla="*/ 7802051 w 7802051"/>
              <a:gd name="connsiteY34" fmla="*/ 3181174 h 7751588"/>
              <a:gd name="connsiteX35" fmla="*/ 3903436 w 7802051"/>
              <a:gd name="connsiteY35" fmla="*/ 0 h 7751588"/>
              <a:gd name="connsiteX36" fmla="*/ 4821 w 7802051"/>
              <a:gd name="connsiteY36" fmla="*/ 3181174 h 7751588"/>
              <a:gd name="connsiteX37" fmla="*/ 0 w 7802051"/>
              <a:gd name="connsiteY37" fmla="*/ 3181174 h 7751588"/>
              <a:gd name="connsiteX38" fmla="*/ 3898615 w 7802051"/>
              <a:gd name="connsiteY38"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618758 w 7802051"/>
              <a:gd name="connsiteY5" fmla="*/ 5541937 h 7751588"/>
              <a:gd name="connsiteX6" fmla="*/ 3262698 w 7802051"/>
              <a:gd name="connsiteY6" fmla="*/ 5541937 h 7751588"/>
              <a:gd name="connsiteX7" fmla="*/ 3378494 w 7802051"/>
              <a:gd name="connsiteY7" fmla="*/ 5162844 h 7751588"/>
              <a:gd name="connsiteX8" fmla="*/ 3384198 w 7802051"/>
              <a:gd name="connsiteY8" fmla="*/ 5155931 h 7751588"/>
              <a:gd name="connsiteX9" fmla="*/ 2119419 w 7802051"/>
              <a:gd name="connsiteY9" fmla="*/ 3948859 h 7751588"/>
              <a:gd name="connsiteX10" fmla="*/ 1793305 w 7802051"/>
              <a:gd name="connsiteY10" fmla="*/ 4042906 h 7751588"/>
              <a:gd name="connsiteX11" fmla="*/ 1168076 w 7802051"/>
              <a:gd name="connsiteY11" fmla="*/ 3417678 h 7751588"/>
              <a:gd name="connsiteX12" fmla="*/ 1793304 w 7802051"/>
              <a:gd name="connsiteY12" fmla="*/ 2792451 h 7751588"/>
              <a:gd name="connsiteX13" fmla="*/ 2235408 w 7802051"/>
              <a:gd name="connsiteY13" fmla="*/ 2975575 h 7751588"/>
              <a:gd name="connsiteX14" fmla="*/ 2241113 w 7802051"/>
              <a:gd name="connsiteY14" fmla="*/ 2982489 h 7751588"/>
              <a:gd name="connsiteX15" fmla="*/ 3433657 w 7802051"/>
              <a:gd name="connsiteY15" fmla="*/ 2275919 h 7751588"/>
              <a:gd name="connsiteX16" fmla="*/ 3422279 w 7802051"/>
              <a:gd name="connsiteY16" fmla="*/ 2262129 h 7751588"/>
              <a:gd name="connsiteX17" fmla="*/ 3315500 w 7802051"/>
              <a:gd name="connsiteY17" fmla="*/ 1912558 h 7751588"/>
              <a:gd name="connsiteX18" fmla="*/ 3940728 w 7802051"/>
              <a:gd name="connsiteY18" fmla="*/ 1287330 h 7751588"/>
              <a:gd name="connsiteX19" fmla="*/ 4565956 w 7802051"/>
              <a:gd name="connsiteY19" fmla="*/ 1912558 h 7751588"/>
              <a:gd name="connsiteX20" fmla="*/ 4459177 w 7802051"/>
              <a:gd name="connsiteY20" fmla="*/ 2262129 h 7751588"/>
              <a:gd name="connsiteX21" fmla="*/ 4442548 w 7802051"/>
              <a:gd name="connsiteY21" fmla="*/ 2282283 h 7751588"/>
              <a:gd name="connsiteX22" fmla="*/ 5549310 w 7802051"/>
              <a:gd name="connsiteY22" fmla="*/ 3001346 h 7751588"/>
              <a:gd name="connsiteX23" fmla="*/ 6008747 w 7802051"/>
              <a:gd name="connsiteY23" fmla="*/ 2797213 h 7751588"/>
              <a:gd name="connsiteX24" fmla="*/ 6633974 w 7802051"/>
              <a:gd name="connsiteY24" fmla="*/ 3422441 h 7751588"/>
              <a:gd name="connsiteX25" fmla="*/ 6008747 w 7802051"/>
              <a:gd name="connsiteY25" fmla="*/ 4047670 h 7751588"/>
              <a:gd name="connsiteX26" fmla="*/ 5659175 w 7802051"/>
              <a:gd name="connsiteY26" fmla="*/ 3940890 h 7751588"/>
              <a:gd name="connsiteX27" fmla="*/ 4536367 w 7802051"/>
              <a:gd name="connsiteY27" fmla="*/ 5224392 h 7751588"/>
              <a:gd name="connsiteX28" fmla="*/ 4618758 w 7802051"/>
              <a:gd name="connsiteY28" fmla="*/ 5541937 h 7751588"/>
              <a:gd name="connsiteX29" fmla="*/ 3898615 w 7802051"/>
              <a:gd name="connsiteY29" fmla="*/ 7751588 h 7751588"/>
              <a:gd name="connsiteX30" fmla="*/ 7797230 w 7802051"/>
              <a:gd name="connsiteY30" fmla="*/ 3181174 h 7751588"/>
              <a:gd name="connsiteX31" fmla="*/ 7802051 w 7802051"/>
              <a:gd name="connsiteY31" fmla="*/ 3181174 h 7751588"/>
              <a:gd name="connsiteX32" fmla="*/ 3903436 w 7802051"/>
              <a:gd name="connsiteY32" fmla="*/ 0 h 7751588"/>
              <a:gd name="connsiteX33" fmla="*/ 4821 w 7802051"/>
              <a:gd name="connsiteY33" fmla="*/ 3181174 h 7751588"/>
              <a:gd name="connsiteX34" fmla="*/ 0 w 7802051"/>
              <a:gd name="connsiteY34" fmla="*/ 3181174 h 7751588"/>
              <a:gd name="connsiteX35" fmla="*/ 3898615 w 7802051"/>
              <a:gd name="connsiteY35"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618758 w 7802051"/>
              <a:gd name="connsiteY5" fmla="*/ 5541937 h 7751588"/>
              <a:gd name="connsiteX6" fmla="*/ 3262698 w 7802051"/>
              <a:gd name="connsiteY6" fmla="*/ 5541937 h 7751588"/>
              <a:gd name="connsiteX7" fmla="*/ 3378494 w 7802051"/>
              <a:gd name="connsiteY7" fmla="*/ 5162844 h 7751588"/>
              <a:gd name="connsiteX8" fmla="*/ 3384198 w 7802051"/>
              <a:gd name="connsiteY8" fmla="*/ 5155931 h 7751588"/>
              <a:gd name="connsiteX9" fmla="*/ 2119419 w 7802051"/>
              <a:gd name="connsiteY9" fmla="*/ 3948859 h 7751588"/>
              <a:gd name="connsiteX10" fmla="*/ 1793305 w 7802051"/>
              <a:gd name="connsiteY10" fmla="*/ 4042906 h 7751588"/>
              <a:gd name="connsiteX11" fmla="*/ 1168076 w 7802051"/>
              <a:gd name="connsiteY11" fmla="*/ 3417678 h 7751588"/>
              <a:gd name="connsiteX12" fmla="*/ 1793304 w 7802051"/>
              <a:gd name="connsiteY12" fmla="*/ 2792451 h 7751588"/>
              <a:gd name="connsiteX13" fmla="*/ 2235408 w 7802051"/>
              <a:gd name="connsiteY13" fmla="*/ 2975575 h 7751588"/>
              <a:gd name="connsiteX14" fmla="*/ 2241113 w 7802051"/>
              <a:gd name="connsiteY14" fmla="*/ 2982489 h 7751588"/>
              <a:gd name="connsiteX15" fmla="*/ 3433657 w 7802051"/>
              <a:gd name="connsiteY15" fmla="*/ 2275919 h 7751588"/>
              <a:gd name="connsiteX16" fmla="*/ 3422279 w 7802051"/>
              <a:gd name="connsiteY16" fmla="*/ 2262129 h 7751588"/>
              <a:gd name="connsiteX17" fmla="*/ 3315500 w 7802051"/>
              <a:gd name="connsiteY17" fmla="*/ 1912558 h 7751588"/>
              <a:gd name="connsiteX18" fmla="*/ 3940728 w 7802051"/>
              <a:gd name="connsiteY18" fmla="*/ 1287330 h 7751588"/>
              <a:gd name="connsiteX19" fmla="*/ 4565956 w 7802051"/>
              <a:gd name="connsiteY19" fmla="*/ 1912558 h 7751588"/>
              <a:gd name="connsiteX20" fmla="*/ 4459177 w 7802051"/>
              <a:gd name="connsiteY20" fmla="*/ 2262129 h 7751588"/>
              <a:gd name="connsiteX21" fmla="*/ 4442548 w 7802051"/>
              <a:gd name="connsiteY21" fmla="*/ 2282283 h 7751588"/>
              <a:gd name="connsiteX22" fmla="*/ 6008747 w 7802051"/>
              <a:gd name="connsiteY22" fmla="*/ 2797213 h 7751588"/>
              <a:gd name="connsiteX23" fmla="*/ 6633974 w 7802051"/>
              <a:gd name="connsiteY23" fmla="*/ 3422441 h 7751588"/>
              <a:gd name="connsiteX24" fmla="*/ 6008747 w 7802051"/>
              <a:gd name="connsiteY24" fmla="*/ 4047670 h 7751588"/>
              <a:gd name="connsiteX25" fmla="*/ 5659175 w 7802051"/>
              <a:gd name="connsiteY25" fmla="*/ 3940890 h 7751588"/>
              <a:gd name="connsiteX26" fmla="*/ 4536367 w 7802051"/>
              <a:gd name="connsiteY26" fmla="*/ 5224392 h 7751588"/>
              <a:gd name="connsiteX27" fmla="*/ 4618758 w 7802051"/>
              <a:gd name="connsiteY27" fmla="*/ 5541937 h 7751588"/>
              <a:gd name="connsiteX28" fmla="*/ 3898615 w 7802051"/>
              <a:gd name="connsiteY28" fmla="*/ 7751588 h 7751588"/>
              <a:gd name="connsiteX29" fmla="*/ 7797230 w 7802051"/>
              <a:gd name="connsiteY29" fmla="*/ 3181174 h 7751588"/>
              <a:gd name="connsiteX30" fmla="*/ 7802051 w 7802051"/>
              <a:gd name="connsiteY30" fmla="*/ 3181174 h 7751588"/>
              <a:gd name="connsiteX31" fmla="*/ 3903436 w 7802051"/>
              <a:gd name="connsiteY31" fmla="*/ 0 h 7751588"/>
              <a:gd name="connsiteX32" fmla="*/ 4821 w 7802051"/>
              <a:gd name="connsiteY32" fmla="*/ 3181174 h 7751588"/>
              <a:gd name="connsiteX33" fmla="*/ 0 w 7802051"/>
              <a:gd name="connsiteY33" fmla="*/ 3181174 h 7751588"/>
              <a:gd name="connsiteX34" fmla="*/ 3898615 w 7802051"/>
              <a:gd name="connsiteY34" fmla="*/ 7751588 h 7751588"/>
              <a:gd name="connsiteX0" fmla="*/ 3726054 w 7802051"/>
              <a:gd name="connsiteY0" fmla="*/ 2529358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4618758 w 7802051"/>
              <a:gd name="connsiteY4" fmla="*/ 5541937 h 7751588"/>
              <a:gd name="connsiteX5" fmla="*/ 3262698 w 7802051"/>
              <a:gd name="connsiteY5" fmla="*/ 5541937 h 7751588"/>
              <a:gd name="connsiteX6" fmla="*/ 3378494 w 7802051"/>
              <a:gd name="connsiteY6" fmla="*/ 5162844 h 7751588"/>
              <a:gd name="connsiteX7" fmla="*/ 3384198 w 7802051"/>
              <a:gd name="connsiteY7" fmla="*/ 5155931 h 7751588"/>
              <a:gd name="connsiteX8" fmla="*/ 2119419 w 7802051"/>
              <a:gd name="connsiteY8" fmla="*/ 3948859 h 7751588"/>
              <a:gd name="connsiteX9" fmla="*/ 1793305 w 7802051"/>
              <a:gd name="connsiteY9" fmla="*/ 4042906 h 7751588"/>
              <a:gd name="connsiteX10" fmla="*/ 1168076 w 7802051"/>
              <a:gd name="connsiteY10" fmla="*/ 3417678 h 7751588"/>
              <a:gd name="connsiteX11" fmla="*/ 1793304 w 7802051"/>
              <a:gd name="connsiteY11" fmla="*/ 2792451 h 7751588"/>
              <a:gd name="connsiteX12" fmla="*/ 2235408 w 7802051"/>
              <a:gd name="connsiteY12" fmla="*/ 2975575 h 7751588"/>
              <a:gd name="connsiteX13" fmla="*/ 2241113 w 7802051"/>
              <a:gd name="connsiteY13" fmla="*/ 2982489 h 7751588"/>
              <a:gd name="connsiteX14" fmla="*/ 3433657 w 7802051"/>
              <a:gd name="connsiteY14" fmla="*/ 2275919 h 7751588"/>
              <a:gd name="connsiteX15" fmla="*/ 3422279 w 7802051"/>
              <a:gd name="connsiteY15" fmla="*/ 2262129 h 7751588"/>
              <a:gd name="connsiteX16" fmla="*/ 3315500 w 7802051"/>
              <a:gd name="connsiteY16" fmla="*/ 1912558 h 7751588"/>
              <a:gd name="connsiteX17" fmla="*/ 3940728 w 7802051"/>
              <a:gd name="connsiteY17" fmla="*/ 1287330 h 7751588"/>
              <a:gd name="connsiteX18" fmla="*/ 4565956 w 7802051"/>
              <a:gd name="connsiteY18" fmla="*/ 1912558 h 7751588"/>
              <a:gd name="connsiteX19" fmla="*/ 4459177 w 7802051"/>
              <a:gd name="connsiteY19" fmla="*/ 2262129 h 7751588"/>
              <a:gd name="connsiteX20" fmla="*/ 4442548 w 7802051"/>
              <a:gd name="connsiteY20" fmla="*/ 2282283 h 7751588"/>
              <a:gd name="connsiteX21" fmla="*/ 6008747 w 7802051"/>
              <a:gd name="connsiteY21" fmla="*/ 2797213 h 7751588"/>
              <a:gd name="connsiteX22" fmla="*/ 6633974 w 7802051"/>
              <a:gd name="connsiteY22" fmla="*/ 3422441 h 7751588"/>
              <a:gd name="connsiteX23" fmla="*/ 6008747 w 7802051"/>
              <a:gd name="connsiteY23" fmla="*/ 4047670 h 7751588"/>
              <a:gd name="connsiteX24" fmla="*/ 5659175 w 7802051"/>
              <a:gd name="connsiteY24" fmla="*/ 3940890 h 7751588"/>
              <a:gd name="connsiteX25" fmla="*/ 4536367 w 7802051"/>
              <a:gd name="connsiteY25" fmla="*/ 5224392 h 7751588"/>
              <a:gd name="connsiteX26" fmla="*/ 4618758 w 7802051"/>
              <a:gd name="connsiteY26" fmla="*/ 5541937 h 7751588"/>
              <a:gd name="connsiteX27" fmla="*/ 3898615 w 7802051"/>
              <a:gd name="connsiteY27" fmla="*/ 7751588 h 7751588"/>
              <a:gd name="connsiteX28" fmla="*/ 7797230 w 7802051"/>
              <a:gd name="connsiteY28" fmla="*/ 3181174 h 7751588"/>
              <a:gd name="connsiteX29" fmla="*/ 7802051 w 7802051"/>
              <a:gd name="connsiteY29" fmla="*/ 3181174 h 7751588"/>
              <a:gd name="connsiteX30" fmla="*/ 3903436 w 7802051"/>
              <a:gd name="connsiteY30" fmla="*/ 0 h 7751588"/>
              <a:gd name="connsiteX31" fmla="*/ 4821 w 7802051"/>
              <a:gd name="connsiteY31" fmla="*/ 3181174 h 7751588"/>
              <a:gd name="connsiteX32" fmla="*/ 0 w 7802051"/>
              <a:gd name="connsiteY32" fmla="*/ 3181174 h 7751588"/>
              <a:gd name="connsiteX33" fmla="*/ 3898615 w 7802051"/>
              <a:gd name="connsiteY33" fmla="*/ 7751588 h 7751588"/>
              <a:gd name="connsiteX0" fmla="*/ 3726054 w 7802051"/>
              <a:gd name="connsiteY0" fmla="*/ 2529358 h 7751588"/>
              <a:gd name="connsiteX1" fmla="*/ 3676808 w 7802051"/>
              <a:gd name="connsiteY1" fmla="*/ 4917189 h 7751588"/>
              <a:gd name="connsiteX2" fmla="*/ 3726054 w 7802051"/>
              <a:gd name="connsiteY2" fmla="*/ 2529358 h 7751588"/>
              <a:gd name="connsiteX3" fmla="*/ 4618758 w 7802051"/>
              <a:gd name="connsiteY3" fmla="*/ 5541937 h 7751588"/>
              <a:gd name="connsiteX4" fmla="*/ 3262698 w 7802051"/>
              <a:gd name="connsiteY4" fmla="*/ 5541937 h 7751588"/>
              <a:gd name="connsiteX5" fmla="*/ 3378494 w 7802051"/>
              <a:gd name="connsiteY5" fmla="*/ 5162844 h 7751588"/>
              <a:gd name="connsiteX6" fmla="*/ 3384198 w 7802051"/>
              <a:gd name="connsiteY6" fmla="*/ 5155931 h 7751588"/>
              <a:gd name="connsiteX7" fmla="*/ 2119419 w 7802051"/>
              <a:gd name="connsiteY7" fmla="*/ 3948859 h 7751588"/>
              <a:gd name="connsiteX8" fmla="*/ 1793305 w 7802051"/>
              <a:gd name="connsiteY8" fmla="*/ 4042906 h 7751588"/>
              <a:gd name="connsiteX9" fmla="*/ 1168076 w 7802051"/>
              <a:gd name="connsiteY9" fmla="*/ 3417678 h 7751588"/>
              <a:gd name="connsiteX10" fmla="*/ 1793304 w 7802051"/>
              <a:gd name="connsiteY10" fmla="*/ 2792451 h 7751588"/>
              <a:gd name="connsiteX11" fmla="*/ 2235408 w 7802051"/>
              <a:gd name="connsiteY11" fmla="*/ 2975575 h 7751588"/>
              <a:gd name="connsiteX12" fmla="*/ 2241113 w 7802051"/>
              <a:gd name="connsiteY12" fmla="*/ 2982489 h 7751588"/>
              <a:gd name="connsiteX13" fmla="*/ 3433657 w 7802051"/>
              <a:gd name="connsiteY13" fmla="*/ 2275919 h 7751588"/>
              <a:gd name="connsiteX14" fmla="*/ 3422279 w 7802051"/>
              <a:gd name="connsiteY14" fmla="*/ 2262129 h 7751588"/>
              <a:gd name="connsiteX15" fmla="*/ 3315500 w 7802051"/>
              <a:gd name="connsiteY15" fmla="*/ 1912558 h 7751588"/>
              <a:gd name="connsiteX16" fmla="*/ 3940728 w 7802051"/>
              <a:gd name="connsiteY16" fmla="*/ 1287330 h 7751588"/>
              <a:gd name="connsiteX17" fmla="*/ 4565956 w 7802051"/>
              <a:gd name="connsiteY17" fmla="*/ 1912558 h 7751588"/>
              <a:gd name="connsiteX18" fmla="*/ 4459177 w 7802051"/>
              <a:gd name="connsiteY18" fmla="*/ 2262129 h 7751588"/>
              <a:gd name="connsiteX19" fmla="*/ 4442548 w 7802051"/>
              <a:gd name="connsiteY19" fmla="*/ 2282283 h 7751588"/>
              <a:gd name="connsiteX20" fmla="*/ 6008747 w 7802051"/>
              <a:gd name="connsiteY20" fmla="*/ 2797213 h 7751588"/>
              <a:gd name="connsiteX21" fmla="*/ 6633974 w 7802051"/>
              <a:gd name="connsiteY21" fmla="*/ 3422441 h 7751588"/>
              <a:gd name="connsiteX22" fmla="*/ 6008747 w 7802051"/>
              <a:gd name="connsiteY22" fmla="*/ 4047670 h 7751588"/>
              <a:gd name="connsiteX23" fmla="*/ 5659175 w 7802051"/>
              <a:gd name="connsiteY23" fmla="*/ 3940890 h 7751588"/>
              <a:gd name="connsiteX24" fmla="*/ 4536367 w 7802051"/>
              <a:gd name="connsiteY24" fmla="*/ 5224392 h 7751588"/>
              <a:gd name="connsiteX25" fmla="*/ 4618758 w 7802051"/>
              <a:gd name="connsiteY25" fmla="*/ 5541937 h 7751588"/>
              <a:gd name="connsiteX26" fmla="*/ 3898615 w 7802051"/>
              <a:gd name="connsiteY26" fmla="*/ 7751588 h 7751588"/>
              <a:gd name="connsiteX27" fmla="*/ 7797230 w 7802051"/>
              <a:gd name="connsiteY27" fmla="*/ 3181174 h 7751588"/>
              <a:gd name="connsiteX28" fmla="*/ 7802051 w 7802051"/>
              <a:gd name="connsiteY28" fmla="*/ 3181174 h 7751588"/>
              <a:gd name="connsiteX29" fmla="*/ 3903436 w 7802051"/>
              <a:gd name="connsiteY29" fmla="*/ 0 h 7751588"/>
              <a:gd name="connsiteX30" fmla="*/ 4821 w 7802051"/>
              <a:gd name="connsiteY30" fmla="*/ 3181174 h 7751588"/>
              <a:gd name="connsiteX31" fmla="*/ 0 w 7802051"/>
              <a:gd name="connsiteY31" fmla="*/ 3181174 h 7751588"/>
              <a:gd name="connsiteX32" fmla="*/ 3898615 w 7802051"/>
              <a:gd name="connsiteY32" fmla="*/ 7751588 h 7751588"/>
              <a:gd name="connsiteX0" fmla="*/ 4618758 w 7802051"/>
              <a:gd name="connsiteY0" fmla="*/ 5541937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2119419 w 7802051"/>
              <a:gd name="connsiteY4" fmla="*/ 3948859 h 7751588"/>
              <a:gd name="connsiteX5" fmla="*/ 1793305 w 7802051"/>
              <a:gd name="connsiteY5" fmla="*/ 4042906 h 7751588"/>
              <a:gd name="connsiteX6" fmla="*/ 1168076 w 7802051"/>
              <a:gd name="connsiteY6" fmla="*/ 3417678 h 7751588"/>
              <a:gd name="connsiteX7" fmla="*/ 1793304 w 7802051"/>
              <a:gd name="connsiteY7" fmla="*/ 2792451 h 7751588"/>
              <a:gd name="connsiteX8" fmla="*/ 2235408 w 7802051"/>
              <a:gd name="connsiteY8" fmla="*/ 2975575 h 7751588"/>
              <a:gd name="connsiteX9" fmla="*/ 2241113 w 7802051"/>
              <a:gd name="connsiteY9" fmla="*/ 2982489 h 7751588"/>
              <a:gd name="connsiteX10" fmla="*/ 3433657 w 7802051"/>
              <a:gd name="connsiteY10" fmla="*/ 2275919 h 7751588"/>
              <a:gd name="connsiteX11" fmla="*/ 3422279 w 7802051"/>
              <a:gd name="connsiteY11" fmla="*/ 2262129 h 7751588"/>
              <a:gd name="connsiteX12" fmla="*/ 3315500 w 7802051"/>
              <a:gd name="connsiteY12" fmla="*/ 1912558 h 7751588"/>
              <a:gd name="connsiteX13" fmla="*/ 3940728 w 7802051"/>
              <a:gd name="connsiteY13" fmla="*/ 1287330 h 7751588"/>
              <a:gd name="connsiteX14" fmla="*/ 4565956 w 7802051"/>
              <a:gd name="connsiteY14" fmla="*/ 1912558 h 7751588"/>
              <a:gd name="connsiteX15" fmla="*/ 4459177 w 7802051"/>
              <a:gd name="connsiteY15" fmla="*/ 2262129 h 7751588"/>
              <a:gd name="connsiteX16" fmla="*/ 4442548 w 7802051"/>
              <a:gd name="connsiteY16" fmla="*/ 2282283 h 7751588"/>
              <a:gd name="connsiteX17" fmla="*/ 6008747 w 7802051"/>
              <a:gd name="connsiteY17" fmla="*/ 2797213 h 7751588"/>
              <a:gd name="connsiteX18" fmla="*/ 6633974 w 7802051"/>
              <a:gd name="connsiteY18" fmla="*/ 3422441 h 7751588"/>
              <a:gd name="connsiteX19" fmla="*/ 6008747 w 7802051"/>
              <a:gd name="connsiteY19" fmla="*/ 4047670 h 7751588"/>
              <a:gd name="connsiteX20" fmla="*/ 5659175 w 7802051"/>
              <a:gd name="connsiteY20" fmla="*/ 3940890 h 7751588"/>
              <a:gd name="connsiteX21" fmla="*/ 4536367 w 7802051"/>
              <a:gd name="connsiteY21" fmla="*/ 5224392 h 7751588"/>
              <a:gd name="connsiteX22" fmla="*/ 4618758 w 7802051"/>
              <a:gd name="connsiteY22" fmla="*/ 5541937 h 7751588"/>
              <a:gd name="connsiteX23" fmla="*/ 3898615 w 7802051"/>
              <a:gd name="connsiteY23" fmla="*/ 7751588 h 7751588"/>
              <a:gd name="connsiteX24" fmla="*/ 7797230 w 7802051"/>
              <a:gd name="connsiteY24" fmla="*/ 3181174 h 7751588"/>
              <a:gd name="connsiteX25" fmla="*/ 7802051 w 7802051"/>
              <a:gd name="connsiteY25" fmla="*/ 3181174 h 7751588"/>
              <a:gd name="connsiteX26" fmla="*/ 3903436 w 7802051"/>
              <a:gd name="connsiteY26" fmla="*/ 0 h 7751588"/>
              <a:gd name="connsiteX27" fmla="*/ 4821 w 7802051"/>
              <a:gd name="connsiteY27" fmla="*/ 3181174 h 7751588"/>
              <a:gd name="connsiteX28" fmla="*/ 0 w 7802051"/>
              <a:gd name="connsiteY28" fmla="*/ 3181174 h 7751588"/>
              <a:gd name="connsiteX29" fmla="*/ 3898615 w 7802051"/>
              <a:gd name="connsiteY29" fmla="*/ 7751588 h 7751588"/>
              <a:gd name="connsiteX0" fmla="*/ 4618758 w 7802051"/>
              <a:gd name="connsiteY0" fmla="*/ 5541937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2119419 w 7802051"/>
              <a:gd name="connsiteY4" fmla="*/ 3948859 h 7751588"/>
              <a:gd name="connsiteX5" fmla="*/ 1793305 w 7802051"/>
              <a:gd name="connsiteY5" fmla="*/ 4042906 h 7751588"/>
              <a:gd name="connsiteX6" fmla="*/ 1168076 w 7802051"/>
              <a:gd name="connsiteY6" fmla="*/ 3417678 h 7751588"/>
              <a:gd name="connsiteX7" fmla="*/ 1793304 w 7802051"/>
              <a:gd name="connsiteY7" fmla="*/ 2792451 h 7751588"/>
              <a:gd name="connsiteX8" fmla="*/ 2235408 w 7802051"/>
              <a:gd name="connsiteY8" fmla="*/ 2975575 h 7751588"/>
              <a:gd name="connsiteX9" fmla="*/ 2241113 w 7802051"/>
              <a:gd name="connsiteY9" fmla="*/ 2982489 h 7751588"/>
              <a:gd name="connsiteX10" fmla="*/ 3433657 w 7802051"/>
              <a:gd name="connsiteY10" fmla="*/ 2275919 h 7751588"/>
              <a:gd name="connsiteX11" fmla="*/ 3315500 w 7802051"/>
              <a:gd name="connsiteY11" fmla="*/ 1912558 h 7751588"/>
              <a:gd name="connsiteX12" fmla="*/ 3940728 w 7802051"/>
              <a:gd name="connsiteY12" fmla="*/ 1287330 h 7751588"/>
              <a:gd name="connsiteX13" fmla="*/ 4565956 w 7802051"/>
              <a:gd name="connsiteY13" fmla="*/ 1912558 h 7751588"/>
              <a:gd name="connsiteX14" fmla="*/ 4459177 w 7802051"/>
              <a:gd name="connsiteY14" fmla="*/ 2262129 h 7751588"/>
              <a:gd name="connsiteX15" fmla="*/ 4442548 w 7802051"/>
              <a:gd name="connsiteY15" fmla="*/ 2282283 h 7751588"/>
              <a:gd name="connsiteX16" fmla="*/ 6008747 w 7802051"/>
              <a:gd name="connsiteY16" fmla="*/ 2797213 h 7751588"/>
              <a:gd name="connsiteX17" fmla="*/ 6633974 w 7802051"/>
              <a:gd name="connsiteY17" fmla="*/ 3422441 h 7751588"/>
              <a:gd name="connsiteX18" fmla="*/ 6008747 w 7802051"/>
              <a:gd name="connsiteY18" fmla="*/ 4047670 h 7751588"/>
              <a:gd name="connsiteX19" fmla="*/ 5659175 w 7802051"/>
              <a:gd name="connsiteY19" fmla="*/ 3940890 h 7751588"/>
              <a:gd name="connsiteX20" fmla="*/ 4536367 w 7802051"/>
              <a:gd name="connsiteY20" fmla="*/ 5224392 h 7751588"/>
              <a:gd name="connsiteX21" fmla="*/ 4618758 w 7802051"/>
              <a:gd name="connsiteY21" fmla="*/ 5541937 h 7751588"/>
              <a:gd name="connsiteX22" fmla="*/ 3898615 w 7802051"/>
              <a:gd name="connsiteY22" fmla="*/ 7751588 h 7751588"/>
              <a:gd name="connsiteX23" fmla="*/ 7797230 w 7802051"/>
              <a:gd name="connsiteY23" fmla="*/ 3181174 h 7751588"/>
              <a:gd name="connsiteX24" fmla="*/ 7802051 w 7802051"/>
              <a:gd name="connsiteY24" fmla="*/ 3181174 h 7751588"/>
              <a:gd name="connsiteX25" fmla="*/ 3903436 w 7802051"/>
              <a:gd name="connsiteY25" fmla="*/ 0 h 7751588"/>
              <a:gd name="connsiteX26" fmla="*/ 4821 w 7802051"/>
              <a:gd name="connsiteY26" fmla="*/ 3181174 h 7751588"/>
              <a:gd name="connsiteX27" fmla="*/ 0 w 7802051"/>
              <a:gd name="connsiteY27" fmla="*/ 3181174 h 7751588"/>
              <a:gd name="connsiteX28" fmla="*/ 3898615 w 7802051"/>
              <a:gd name="connsiteY28" fmla="*/ 7751588 h 7751588"/>
              <a:gd name="connsiteX0" fmla="*/ 4536367 w 7802051"/>
              <a:gd name="connsiteY0" fmla="*/ 5224392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2119419 w 7802051"/>
              <a:gd name="connsiteY4" fmla="*/ 3948859 h 7751588"/>
              <a:gd name="connsiteX5" fmla="*/ 1793305 w 7802051"/>
              <a:gd name="connsiteY5" fmla="*/ 4042906 h 7751588"/>
              <a:gd name="connsiteX6" fmla="*/ 1168076 w 7802051"/>
              <a:gd name="connsiteY6" fmla="*/ 3417678 h 7751588"/>
              <a:gd name="connsiteX7" fmla="*/ 1793304 w 7802051"/>
              <a:gd name="connsiteY7" fmla="*/ 2792451 h 7751588"/>
              <a:gd name="connsiteX8" fmla="*/ 2235408 w 7802051"/>
              <a:gd name="connsiteY8" fmla="*/ 2975575 h 7751588"/>
              <a:gd name="connsiteX9" fmla="*/ 2241113 w 7802051"/>
              <a:gd name="connsiteY9" fmla="*/ 2982489 h 7751588"/>
              <a:gd name="connsiteX10" fmla="*/ 3433657 w 7802051"/>
              <a:gd name="connsiteY10" fmla="*/ 2275919 h 7751588"/>
              <a:gd name="connsiteX11" fmla="*/ 3315500 w 7802051"/>
              <a:gd name="connsiteY11" fmla="*/ 1912558 h 7751588"/>
              <a:gd name="connsiteX12" fmla="*/ 3940728 w 7802051"/>
              <a:gd name="connsiteY12" fmla="*/ 1287330 h 7751588"/>
              <a:gd name="connsiteX13" fmla="*/ 4565956 w 7802051"/>
              <a:gd name="connsiteY13" fmla="*/ 1912558 h 7751588"/>
              <a:gd name="connsiteX14" fmla="*/ 4459177 w 7802051"/>
              <a:gd name="connsiteY14" fmla="*/ 2262129 h 7751588"/>
              <a:gd name="connsiteX15" fmla="*/ 4442548 w 7802051"/>
              <a:gd name="connsiteY15" fmla="*/ 2282283 h 7751588"/>
              <a:gd name="connsiteX16" fmla="*/ 6008747 w 7802051"/>
              <a:gd name="connsiteY16" fmla="*/ 2797213 h 7751588"/>
              <a:gd name="connsiteX17" fmla="*/ 6633974 w 7802051"/>
              <a:gd name="connsiteY17" fmla="*/ 3422441 h 7751588"/>
              <a:gd name="connsiteX18" fmla="*/ 6008747 w 7802051"/>
              <a:gd name="connsiteY18" fmla="*/ 4047670 h 7751588"/>
              <a:gd name="connsiteX19" fmla="*/ 5659175 w 7802051"/>
              <a:gd name="connsiteY19" fmla="*/ 3940890 h 7751588"/>
              <a:gd name="connsiteX20" fmla="*/ 4536367 w 7802051"/>
              <a:gd name="connsiteY20" fmla="*/ 5224392 h 7751588"/>
              <a:gd name="connsiteX21" fmla="*/ 3898615 w 7802051"/>
              <a:gd name="connsiteY21" fmla="*/ 7751588 h 7751588"/>
              <a:gd name="connsiteX22" fmla="*/ 7797230 w 7802051"/>
              <a:gd name="connsiteY22" fmla="*/ 3181174 h 7751588"/>
              <a:gd name="connsiteX23" fmla="*/ 7802051 w 7802051"/>
              <a:gd name="connsiteY23" fmla="*/ 3181174 h 7751588"/>
              <a:gd name="connsiteX24" fmla="*/ 3903436 w 7802051"/>
              <a:gd name="connsiteY24" fmla="*/ 0 h 7751588"/>
              <a:gd name="connsiteX25" fmla="*/ 4821 w 7802051"/>
              <a:gd name="connsiteY25" fmla="*/ 3181174 h 7751588"/>
              <a:gd name="connsiteX26" fmla="*/ 0 w 7802051"/>
              <a:gd name="connsiteY26" fmla="*/ 3181174 h 7751588"/>
              <a:gd name="connsiteX27" fmla="*/ 3898615 w 7802051"/>
              <a:gd name="connsiteY27" fmla="*/ 7751588 h 7751588"/>
              <a:gd name="connsiteX0" fmla="*/ 5659175 w 7802051"/>
              <a:gd name="connsiteY0" fmla="*/ 394089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2119419 w 7802051"/>
              <a:gd name="connsiteY4" fmla="*/ 3948859 h 7751588"/>
              <a:gd name="connsiteX5" fmla="*/ 1793305 w 7802051"/>
              <a:gd name="connsiteY5" fmla="*/ 4042906 h 7751588"/>
              <a:gd name="connsiteX6" fmla="*/ 1168076 w 7802051"/>
              <a:gd name="connsiteY6" fmla="*/ 3417678 h 7751588"/>
              <a:gd name="connsiteX7" fmla="*/ 1793304 w 7802051"/>
              <a:gd name="connsiteY7" fmla="*/ 2792451 h 7751588"/>
              <a:gd name="connsiteX8" fmla="*/ 2235408 w 7802051"/>
              <a:gd name="connsiteY8" fmla="*/ 2975575 h 7751588"/>
              <a:gd name="connsiteX9" fmla="*/ 2241113 w 7802051"/>
              <a:gd name="connsiteY9" fmla="*/ 2982489 h 7751588"/>
              <a:gd name="connsiteX10" fmla="*/ 3433657 w 7802051"/>
              <a:gd name="connsiteY10" fmla="*/ 2275919 h 7751588"/>
              <a:gd name="connsiteX11" fmla="*/ 3315500 w 7802051"/>
              <a:gd name="connsiteY11" fmla="*/ 1912558 h 7751588"/>
              <a:gd name="connsiteX12" fmla="*/ 3940728 w 7802051"/>
              <a:gd name="connsiteY12" fmla="*/ 1287330 h 7751588"/>
              <a:gd name="connsiteX13" fmla="*/ 4565956 w 7802051"/>
              <a:gd name="connsiteY13" fmla="*/ 1912558 h 7751588"/>
              <a:gd name="connsiteX14" fmla="*/ 4459177 w 7802051"/>
              <a:gd name="connsiteY14" fmla="*/ 2262129 h 7751588"/>
              <a:gd name="connsiteX15" fmla="*/ 4442548 w 7802051"/>
              <a:gd name="connsiteY15" fmla="*/ 2282283 h 7751588"/>
              <a:gd name="connsiteX16" fmla="*/ 6008747 w 7802051"/>
              <a:gd name="connsiteY16" fmla="*/ 2797213 h 7751588"/>
              <a:gd name="connsiteX17" fmla="*/ 6633974 w 7802051"/>
              <a:gd name="connsiteY17" fmla="*/ 3422441 h 7751588"/>
              <a:gd name="connsiteX18" fmla="*/ 6008747 w 7802051"/>
              <a:gd name="connsiteY18" fmla="*/ 4047670 h 7751588"/>
              <a:gd name="connsiteX19" fmla="*/ 5659175 w 7802051"/>
              <a:gd name="connsiteY19" fmla="*/ 3940890 h 7751588"/>
              <a:gd name="connsiteX20" fmla="*/ 3898615 w 7802051"/>
              <a:gd name="connsiteY20" fmla="*/ 7751588 h 7751588"/>
              <a:gd name="connsiteX21" fmla="*/ 7797230 w 7802051"/>
              <a:gd name="connsiteY21" fmla="*/ 3181174 h 7751588"/>
              <a:gd name="connsiteX22" fmla="*/ 7802051 w 7802051"/>
              <a:gd name="connsiteY22" fmla="*/ 3181174 h 7751588"/>
              <a:gd name="connsiteX23" fmla="*/ 3903436 w 7802051"/>
              <a:gd name="connsiteY23" fmla="*/ 0 h 7751588"/>
              <a:gd name="connsiteX24" fmla="*/ 4821 w 7802051"/>
              <a:gd name="connsiteY24" fmla="*/ 3181174 h 7751588"/>
              <a:gd name="connsiteX25" fmla="*/ 0 w 7802051"/>
              <a:gd name="connsiteY25" fmla="*/ 3181174 h 7751588"/>
              <a:gd name="connsiteX26" fmla="*/ 3898615 w 7802051"/>
              <a:gd name="connsiteY26" fmla="*/ 7751588 h 7751588"/>
              <a:gd name="connsiteX0" fmla="*/ 6008747 w 7802051"/>
              <a:gd name="connsiteY0" fmla="*/ 404767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2119419 w 7802051"/>
              <a:gd name="connsiteY4" fmla="*/ 3948859 h 7751588"/>
              <a:gd name="connsiteX5" fmla="*/ 1793305 w 7802051"/>
              <a:gd name="connsiteY5" fmla="*/ 4042906 h 7751588"/>
              <a:gd name="connsiteX6" fmla="*/ 1168076 w 7802051"/>
              <a:gd name="connsiteY6" fmla="*/ 3417678 h 7751588"/>
              <a:gd name="connsiteX7" fmla="*/ 1793304 w 7802051"/>
              <a:gd name="connsiteY7" fmla="*/ 2792451 h 7751588"/>
              <a:gd name="connsiteX8" fmla="*/ 2235408 w 7802051"/>
              <a:gd name="connsiteY8" fmla="*/ 2975575 h 7751588"/>
              <a:gd name="connsiteX9" fmla="*/ 2241113 w 7802051"/>
              <a:gd name="connsiteY9" fmla="*/ 2982489 h 7751588"/>
              <a:gd name="connsiteX10" fmla="*/ 3433657 w 7802051"/>
              <a:gd name="connsiteY10" fmla="*/ 2275919 h 7751588"/>
              <a:gd name="connsiteX11" fmla="*/ 3315500 w 7802051"/>
              <a:gd name="connsiteY11" fmla="*/ 1912558 h 7751588"/>
              <a:gd name="connsiteX12" fmla="*/ 3940728 w 7802051"/>
              <a:gd name="connsiteY12" fmla="*/ 1287330 h 7751588"/>
              <a:gd name="connsiteX13" fmla="*/ 4565956 w 7802051"/>
              <a:gd name="connsiteY13" fmla="*/ 1912558 h 7751588"/>
              <a:gd name="connsiteX14" fmla="*/ 4459177 w 7802051"/>
              <a:gd name="connsiteY14" fmla="*/ 2262129 h 7751588"/>
              <a:gd name="connsiteX15" fmla="*/ 4442548 w 7802051"/>
              <a:gd name="connsiteY15" fmla="*/ 2282283 h 7751588"/>
              <a:gd name="connsiteX16" fmla="*/ 6008747 w 7802051"/>
              <a:gd name="connsiteY16" fmla="*/ 2797213 h 7751588"/>
              <a:gd name="connsiteX17" fmla="*/ 6633974 w 7802051"/>
              <a:gd name="connsiteY17" fmla="*/ 3422441 h 7751588"/>
              <a:gd name="connsiteX18" fmla="*/ 6008747 w 7802051"/>
              <a:gd name="connsiteY18" fmla="*/ 4047670 h 7751588"/>
              <a:gd name="connsiteX19" fmla="*/ 3898615 w 7802051"/>
              <a:gd name="connsiteY19" fmla="*/ 7751588 h 7751588"/>
              <a:gd name="connsiteX20" fmla="*/ 7797230 w 7802051"/>
              <a:gd name="connsiteY20" fmla="*/ 3181174 h 7751588"/>
              <a:gd name="connsiteX21" fmla="*/ 7802051 w 7802051"/>
              <a:gd name="connsiteY21" fmla="*/ 3181174 h 7751588"/>
              <a:gd name="connsiteX22" fmla="*/ 3903436 w 7802051"/>
              <a:gd name="connsiteY22" fmla="*/ 0 h 7751588"/>
              <a:gd name="connsiteX23" fmla="*/ 4821 w 7802051"/>
              <a:gd name="connsiteY23" fmla="*/ 3181174 h 7751588"/>
              <a:gd name="connsiteX24" fmla="*/ 0 w 7802051"/>
              <a:gd name="connsiteY24" fmla="*/ 3181174 h 7751588"/>
              <a:gd name="connsiteX25" fmla="*/ 3898615 w 7802051"/>
              <a:gd name="connsiteY25" fmla="*/ 7751588 h 7751588"/>
              <a:gd name="connsiteX0" fmla="*/ 6008747 w 7802051"/>
              <a:gd name="connsiteY0" fmla="*/ 404767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1793305 w 7802051"/>
              <a:gd name="connsiteY4" fmla="*/ 4042906 h 7751588"/>
              <a:gd name="connsiteX5" fmla="*/ 1168076 w 7802051"/>
              <a:gd name="connsiteY5" fmla="*/ 3417678 h 7751588"/>
              <a:gd name="connsiteX6" fmla="*/ 1793304 w 7802051"/>
              <a:gd name="connsiteY6" fmla="*/ 2792451 h 7751588"/>
              <a:gd name="connsiteX7" fmla="*/ 2235408 w 7802051"/>
              <a:gd name="connsiteY7" fmla="*/ 2975575 h 7751588"/>
              <a:gd name="connsiteX8" fmla="*/ 2241113 w 7802051"/>
              <a:gd name="connsiteY8" fmla="*/ 2982489 h 7751588"/>
              <a:gd name="connsiteX9" fmla="*/ 3433657 w 7802051"/>
              <a:gd name="connsiteY9" fmla="*/ 2275919 h 7751588"/>
              <a:gd name="connsiteX10" fmla="*/ 3315500 w 7802051"/>
              <a:gd name="connsiteY10" fmla="*/ 1912558 h 7751588"/>
              <a:gd name="connsiteX11" fmla="*/ 3940728 w 7802051"/>
              <a:gd name="connsiteY11" fmla="*/ 1287330 h 7751588"/>
              <a:gd name="connsiteX12" fmla="*/ 4565956 w 7802051"/>
              <a:gd name="connsiteY12" fmla="*/ 1912558 h 7751588"/>
              <a:gd name="connsiteX13" fmla="*/ 4459177 w 7802051"/>
              <a:gd name="connsiteY13" fmla="*/ 2262129 h 7751588"/>
              <a:gd name="connsiteX14" fmla="*/ 4442548 w 7802051"/>
              <a:gd name="connsiteY14" fmla="*/ 2282283 h 7751588"/>
              <a:gd name="connsiteX15" fmla="*/ 6008747 w 7802051"/>
              <a:gd name="connsiteY15" fmla="*/ 2797213 h 7751588"/>
              <a:gd name="connsiteX16" fmla="*/ 6633974 w 7802051"/>
              <a:gd name="connsiteY16" fmla="*/ 3422441 h 7751588"/>
              <a:gd name="connsiteX17" fmla="*/ 6008747 w 7802051"/>
              <a:gd name="connsiteY17" fmla="*/ 4047670 h 7751588"/>
              <a:gd name="connsiteX18" fmla="*/ 3898615 w 7802051"/>
              <a:gd name="connsiteY18" fmla="*/ 7751588 h 7751588"/>
              <a:gd name="connsiteX19" fmla="*/ 7797230 w 7802051"/>
              <a:gd name="connsiteY19" fmla="*/ 3181174 h 7751588"/>
              <a:gd name="connsiteX20" fmla="*/ 7802051 w 7802051"/>
              <a:gd name="connsiteY20" fmla="*/ 3181174 h 7751588"/>
              <a:gd name="connsiteX21" fmla="*/ 3903436 w 7802051"/>
              <a:gd name="connsiteY21" fmla="*/ 0 h 7751588"/>
              <a:gd name="connsiteX22" fmla="*/ 4821 w 7802051"/>
              <a:gd name="connsiteY22" fmla="*/ 3181174 h 7751588"/>
              <a:gd name="connsiteX23" fmla="*/ 0 w 7802051"/>
              <a:gd name="connsiteY23" fmla="*/ 3181174 h 7751588"/>
              <a:gd name="connsiteX24" fmla="*/ 3898615 w 7802051"/>
              <a:gd name="connsiteY24" fmla="*/ 7751588 h 7751588"/>
              <a:gd name="connsiteX0" fmla="*/ 6008747 w 7802051"/>
              <a:gd name="connsiteY0" fmla="*/ 404767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1168076 w 7802051"/>
              <a:gd name="connsiteY4" fmla="*/ 3417678 h 7751588"/>
              <a:gd name="connsiteX5" fmla="*/ 1793304 w 7802051"/>
              <a:gd name="connsiteY5" fmla="*/ 2792451 h 7751588"/>
              <a:gd name="connsiteX6" fmla="*/ 2235408 w 7802051"/>
              <a:gd name="connsiteY6" fmla="*/ 2975575 h 7751588"/>
              <a:gd name="connsiteX7" fmla="*/ 2241113 w 7802051"/>
              <a:gd name="connsiteY7" fmla="*/ 2982489 h 7751588"/>
              <a:gd name="connsiteX8" fmla="*/ 3433657 w 7802051"/>
              <a:gd name="connsiteY8" fmla="*/ 2275919 h 7751588"/>
              <a:gd name="connsiteX9" fmla="*/ 3315500 w 7802051"/>
              <a:gd name="connsiteY9" fmla="*/ 1912558 h 7751588"/>
              <a:gd name="connsiteX10" fmla="*/ 3940728 w 7802051"/>
              <a:gd name="connsiteY10" fmla="*/ 1287330 h 7751588"/>
              <a:gd name="connsiteX11" fmla="*/ 4565956 w 7802051"/>
              <a:gd name="connsiteY11" fmla="*/ 1912558 h 7751588"/>
              <a:gd name="connsiteX12" fmla="*/ 4459177 w 7802051"/>
              <a:gd name="connsiteY12" fmla="*/ 2262129 h 7751588"/>
              <a:gd name="connsiteX13" fmla="*/ 4442548 w 7802051"/>
              <a:gd name="connsiteY13" fmla="*/ 2282283 h 7751588"/>
              <a:gd name="connsiteX14" fmla="*/ 6008747 w 7802051"/>
              <a:gd name="connsiteY14" fmla="*/ 2797213 h 7751588"/>
              <a:gd name="connsiteX15" fmla="*/ 6633974 w 7802051"/>
              <a:gd name="connsiteY15" fmla="*/ 3422441 h 7751588"/>
              <a:gd name="connsiteX16" fmla="*/ 6008747 w 7802051"/>
              <a:gd name="connsiteY16" fmla="*/ 4047670 h 7751588"/>
              <a:gd name="connsiteX17" fmla="*/ 3898615 w 7802051"/>
              <a:gd name="connsiteY17" fmla="*/ 7751588 h 7751588"/>
              <a:gd name="connsiteX18" fmla="*/ 7797230 w 7802051"/>
              <a:gd name="connsiteY18" fmla="*/ 3181174 h 7751588"/>
              <a:gd name="connsiteX19" fmla="*/ 7802051 w 7802051"/>
              <a:gd name="connsiteY19" fmla="*/ 3181174 h 7751588"/>
              <a:gd name="connsiteX20" fmla="*/ 3903436 w 7802051"/>
              <a:gd name="connsiteY20" fmla="*/ 0 h 7751588"/>
              <a:gd name="connsiteX21" fmla="*/ 4821 w 7802051"/>
              <a:gd name="connsiteY21" fmla="*/ 3181174 h 7751588"/>
              <a:gd name="connsiteX22" fmla="*/ 0 w 7802051"/>
              <a:gd name="connsiteY22" fmla="*/ 3181174 h 7751588"/>
              <a:gd name="connsiteX23" fmla="*/ 3898615 w 7802051"/>
              <a:gd name="connsiteY23" fmla="*/ 7751588 h 7751588"/>
              <a:gd name="connsiteX0" fmla="*/ 6008747 w 7802051"/>
              <a:gd name="connsiteY0" fmla="*/ 404767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1168076 w 7802051"/>
              <a:gd name="connsiteY4" fmla="*/ 3417678 h 7751588"/>
              <a:gd name="connsiteX5" fmla="*/ 1793304 w 7802051"/>
              <a:gd name="connsiteY5" fmla="*/ 2792451 h 7751588"/>
              <a:gd name="connsiteX6" fmla="*/ 2235408 w 7802051"/>
              <a:gd name="connsiteY6" fmla="*/ 2975575 h 7751588"/>
              <a:gd name="connsiteX7" fmla="*/ 3433657 w 7802051"/>
              <a:gd name="connsiteY7" fmla="*/ 2275919 h 7751588"/>
              <a:gd name="connsiteX8" fmla="*/ 3315500 w 7802051"/>
              <a:gd name="connsiteY8" fmla="*/ 1912558 h 7751588"/>
              <a:gd name="connsiteX9" fmla="*/ 3940728 w 7802051"/>
              <a:gd name="connsiteY9" fmla="*/ 1287330 h 7751588"/>
              <a:gd name="connsiteX10" fmla="*/ 4565956 w 7802051"/>
              <a:gd name="connsiteY10" fmla="*/ 1912558 h 7751588"/>
              <a:gd name="connsiteX11" fmla="*/ 4459177 w 7802051"/>
              <a:gd name="connsiteY11" fmla="*/ 2262129 h 7751588"/>
              <a:gd name="connsiteX12" fmla="*/ 4442548 w 7802051"/>
              <a:gd name="connsiteY12" fmla="*/ 2282283 h 7751588"/>
              <a:gd name="connsiteX13" fmla="*/ 6008747 w 7802051"/>
              <a:gd name="connsiteY13" fmla="*/ 2797213 h 7751588"/>
              <a:gd name="connsiteX14" fmla="*/ 6633974 w 7802051"/>
              <a:gd name="connsiteY14" fmla="*/ 3422441 h 7751588"/>
              <a:gd name="connsiteX15" fmla="*/ 6008747 w 7802051"/>
              <a:gd name="connsiteY15" fmla="*/ 4047670 h 7751588"/>
              <a:gd name="connsiteX16" fmla="*/ 3898615 w 7802051"/>
              <a:gd name="connsiteY16" fmla="*/ 7751588 h 7751588"/>
              <a:gd name="connsiteX17" fmla="*/ 7797230 w 7802051"/>
              <a:gd name="connsiteY17" fmla="*/ 3181174 h 7751588"/>
              <a:gd name="connsiteX18" fmla="*/ 7802051 w 7802051"/>
              <a:gd name="connsiteY18" fmla="*/ 3181174 h 7751588"/>
              <a:gd name="connsiteX19" fmla="*/ 3903436 w 7802051"/>
              <a:gd name="connsiteY19" fmla="*/ 0 h 7751588"/>
              <a:gd name="connsiteX20" fmla="*/ 4821 w 7802051"/>
              <a:gd name="connsiteY20" fmla="*/ 3181174 h 7751588"/>
              <a:gd name="connsiteX21" fmla="*/ 0 w 7802051"/>
              <a:gd name="connsiteY21" fmla="*/ 3181174 h 7751588"/>
              <a:gd name="connsiteX22" fmla="*/ 3898615 w 7802051"/>
              <a:gd name="connsiteY22" fmla="*/ 7751588 h 7751588"/>
              <a:gd name="connsiteX0" fmla="*/ 6008747 w 7802051"/>
              <a:gd name="connsiteY0" fmla="*/ 404767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1168076 w 7802051"/>
              <a:gd name="connsiteY4" fmla="*/ 3417678 h 7751588"/>
              <a:gd name="connsiteX5" fmla="*/ 1793304 w 7802051"/>
              <a:gd name="connsiteY5" fmla="*/ 2792451 h 7751588"/>
              <a:gd name="connsiteX6" fmla="*/ 2235408 w 7802051"/>
              <a:gd name="connsiteY6" fmla="*/ 2975575 h 7751588"/>
              <a:gd name="connsiteX7" fmla="*/ 3433657 w 7802051"/>
              <a:gd name="connsiteY7" fmla="*/ 2275919 h 7751588"/>
              <a:gd name="connsiteX8" fmla="*/ 3315500 w 7802051"/>
              <a:gd name="connsiteY8" fmla="*/ 1912558 h 7751588"/>
              <a:gd name="connsiteX9" fmla="*/ 3940728 w 7802051"/>
              <a:gd name="connsiteY9" fmla="*/ 1287330 h 7751588"/>
              <a:gd name="connsiteX10" fmla="*/ 4565956 w 7802051"/>
              <a:gd name="connsiteY10" fmla="*/ 1912558 h 7751588"/>
              <a:gd name="connsiteX11" fmla="*/ 4459177 w 7802051"/>
              <a:gd name="connsiteY11" fmla="*/ 2262129 h 7751588"/>
              <a:gd name="connsiteX12" fmla="*/ 6008747 w 7802051"/>
              <a:gd name="connsiteY12" fmla="*/ 2797213 h 7751588"/>
              <a:gd name="connsiteX13" fmla="*/ 6633974 w 7802051"/>
              <a:gd name="connsiteY13" fmla="*/ 3422441 h 7751588"/>
              <a:gd name="connsiteX14" fmla="*/ 6008747 w 7802051"/>
              <a:gd name="connsiteY14" fmla="*/ 4047670 h 7751588"/>
              <a:gd name="connsiteX15" fmla="*/ 3898615 w 7802051"/>
              <a:gd name="connsiteY15" fmla="*/ 7751588 h 7751588"/>
              <a:gd name="connsiteX16" fmla="*/ 7797230 w 7802051"/>
              <a:gd name="connsiteY16" fmla="*/ 3181174 h 7751588"/>
              <a:gd name="connsiteX17" fmla="*/ 7802051 w 7802051"/>
              <a:gd name="connsiteY17" fmla="*/ 3181174 h 7751588"/>
              <a:gd name="connsiteX18" fmla="*/ 3903436 w 7802051"/>
              <a:gd name="connsiteY18" fmla="*/ 0 h 7751588"/>
              <a:gd name="connsiteX19" fmla="*/ 4821 w 7802051"/>
              <a:gd name="connsiteY19" fmla="*/ 3181174 h 7751588"/>
              <a:gd name="connsiteX20" fmla="*/ 0 w 7802051"/>
              <a:gd name="connsiteY20" fmla="*/ 3181174 h 7751588"/>
              <a:gd name="connsiteX21" fmla="*/ 3898615 w 7802051"/>
              <a:gd name="connsiteY21" fmla="*/ 7751588 h 7751588"/>
              <a:gd name="connsiteX0" fmla="*/ 6008747 w 7802051"/>
              <a:gd name="connsiteY0" fmla="*/ 4047670 h 7751588"/>
              <a:gd name="connsiteX1" fmla="*/ 3378494 w 7802051"/>
              <a:gd name="connsiteY1" fmla="*/ 5162844 h 7751588"/>
              <a:gd name="connsiteX2" fmla="*/ 3384198 w 7802051"/>
              <a:gd name="connsiteY2" fmla="*/ 5155931 h 7751588"/>
              <a:gd name="connsiteX3" fmla="*/ 1168076 w 7802051"/>
              <a:gd name="connsiteY3" fmla="*/ 3417678 h 7751588"/>
              <a:gd name="connsiteX4" fmla="*/ 1793304 w 7802051"/>
              <a:gd name="connsiteY4" fmla="*/ 2792451 h 7751588"/>
              <a:gd name="connsiteX5" fmla="*/ 2235408 w 7802051"/>
              <a:gd name="connsiteY5" fmla="*/ 2975575 h 7751588"/>
              <a:gd name="connsiteX6" fmla="*/ 3433657 w 7802051"/>
              <a:gd name="connsiteY6" fmla="*/ 2275919 h 7751588"/>
              <a:gd name="connsiteX7" fmla="*/ 3315500 w 7802051"/>
              <a:gd name="connsiteY7" fmla="*/ 1912558 h 7751588"/>
              <a:gd name="connsiteX8" fmla="*/ 3940728 w 7802051"/>
              <a:gd name="connsiteY8" fmla="*/ 1287330 h 7751588"/>
              <a:gd name="connsiteX9" fmla="*/ 4565956 w 7802051"/>
              <a:gd name="connsiteY9" fmla="*/ 1912558 h 7751588"/>
              <a:gd name="connsiteX10" fmla="*/ 4459177 w 7802051"/>
              <a:gd name="connsiteY10" fmla="*/ 2262129 h 7751588"/>
              <a:gd name="connsiteX11" fmla="*/ 6008747 w 7802051"/>
              <a:gd name="connsiteY11" fmla="*/ 2797213 h 7751588"/>
              <a:gd name="connsiteX12" fmla="*/ 6633974 w 7802051"/>
              <a:gd name="connsiteY12" fmla="*/ 3422441 h 7751588"/>
              <a:gd name="connsiteX13" fmla="*/ 6008747 w 7802051"/>
              <a:gd name="connsiteY13" fmla="*/ 4047670 h 7751588"/>
              <a:gd name="connsiteX14" fmla="*/ 3898615 w 7802051"/>
              <a:gd name="connsiteY14" fmla="*/ 7751588 h 7751588"/>
              <a:gd name="connsiteX15" fmla="*/ 7797230 w 7802051"/>
              <a:gd name="connsiteY15" fmla="*/ 3181174 h 7751588"/>
              <a:gd name="connsiteX16" fmla="*/ 7802051 w 7802051"/>
              <a:gd name="connsiteY16" fmla="*/ 3181174 h 7751588"/>
              <a:gd name="connsiteX17" fmla="*/ 3903436 w 7802051"/>
              <a:gd name="connsiteY17" fmla="*/ 0 h 7751588"/>
              <a:gd name="connsiteX18" fmla="*/ 4821 w 7802051"/>
              <a:gd name="connsiteY18" fmla="*/ 3181174 h 7751588"/>
              <a:gd name="connsiteX19" fmla="*/ 0 w 7802051"/>
              <a:gd name="connsiteY19" fmla="*/ 3181174 h 7751588"/>
              <a:gd name="connsiteX20" fmla="*/ 3898615 w 7802051"/>
              <a:gd name="connsiteY20" fmla="*/ 7751588 h 7751588"/>
              <a:gd name="connsiteX0" fmla="*/ 6008747 w 7802051"/>
              <a:gd name="connsiteY0" fmla="*/ 4047670 h 7751588"/>
              <a:gd name="connsiteX1" fmla="*/ 3378494 w 7802051"/>
              <a:gd name="connsiteY1" fmla="*/ 5162844 h 7751588"/>
              <a:gd name="connsiteX2" fmla="*/ 1168076 w 7802051"/>
              <a:gd name="connsiteY2" fmla="*/ 3417678 h 7751588"/>
              <a:gd name="connsiteX3" fmla="*/ 1793304 w 7802051"/>
              <a:gd name="connsiteY3" fmla="*/ 2792451 h 7751588"/>
              <a:gd name="connsiteX4" fmla="*/ 2235408 w 7802051"/>
              <a:gd name="connsiteY4" fmla="*/ 2975575 h 7751588"/>
              <a:gd name="connsiteX5" fmla="*/ 3433657 w 7802051"/>
              <a:gd name="connsiteY5" fmla="*/ 2275919 h 7751588"/>
              <a:gd name="connsiteX6" fmla="*/ 3315500 w 7802051"/>
              <a:gd name="connsiteY6" fmla="*/ 1912558 h 7751588"/>
              <a:gd name="connsiteX7" fmla="*/ 3940728 w 7802051"/>
              <a:gd name="connsiteY7" fmla="*/ 1287330 h 7751588"/>
              <a:gd name="connsiteX8" fmla="*/ 4565956 w 7802051"/>
              <a:gd name="connsiteY8" fmla="*/ 1912558 h 7751588"/>
              <a:gd name="connsiteX9" fmla="*/ 4459177 w 7802051"/>
              <a:gd name="connsiteY9" fmla="*/ 2262129 h 7751588"/>
              <a:gd name="connsiteX10" fmla="*/ 6008747 w 7802051"/>
              <a:gd name="connsiteY10" fmla="*/ 2797213 h 7751588"/>
              <a:gd name="connsiteX11" fmla="*/ 6633974 w 7802051"/>
              <a:gd name="connsiteY11" fmla="*/ 3422441 h 7751588"/>
              <a:gd name="connsiteX12" fmla="*/ 6008747 w 7802051"/>
              <a:gd name="connsiteY12" fmla="*/ 4047670 h 7751588"/>
              <a:gd name="connsiteX13" fmla="*/ 3898615 w 7802051"/>
              <a:gd name="connsiteY13" fmla="*/ 7751588 h 7751588"/>
              <a:gd name="connsiteX14" fmla="*/ 7797230 w 7802051"/>
              <a:gd name="connsiteY14" fmla="*/ 3181174 h 7751588"/>
              <a:gd name="connsiteX15" fmla="*/ 7802051 w 7802051"/>
              <a:gd name="connsiteY15" fmla="*/ 3181174 h 7751588"/>
              <a:gd name="connsiteX16" fmla="*/ 3903436 w 7802051"/>
              <a:gd name="connsiteY16" fmla="*/ 0 h 7751588"/>
              <a:gd name="connsiteX17" fmla="*/ 4821 w 7802051"/>
              <a:gd name="connsiteY17" fmla="*/ 3181174 h 7751588"/>
              <a:gd name="connsiteX18" fmla="*/ 0 w 7802051"/>
              <a:gd name="connsiteY18" fmla="*/ 3181174 h 7751588"/>
              <a:gd name="connsiteX19" fmla="*/ 3898615 w 7802051"/>
              <a:gd name="connsiteY19" fmla="*/ 7751588 h 7751588"/>
              <a:gd name="connsiteX0" fmla="*/ 6008747 w 7802051"/>
              <a:gd name="connsiteY0" fmla="*/ 4047670 h 7751588"/>
              <a:gd name="connsiteX1" fmla="*/ 3378494 w 7802051"/>
              <a:gd name="connsiteY1" fmla="*/ 5162844 h 7751588"/>
              <a:gd name="connsiteX2" fmla="*/ 1168076 w 7802051"/>
              <a:gd name="connsiteY2" fmla="*/ 3417678 h 7751588"/>
              <a:gd name="connsiteX3" fmla="*/ 1793304 w 7802051"/>
              <a:gd name="connsiteY3" fmla="*/ 2792451 h 7751588"/>
              <a:gd name="connsiteX4" fmla="*/ 2235408 w 7802051"/>
              <a:gd name="connsiteY4" fmla="*/ 2975575 h 7751588"/>
              <a:gd name="connsiteX5" fmla="*/ 3433657 w 7802051"/>
              <a:gd name="connsiteY5" fmla="*/ 2275919 h 7751588"/>
              <a:gd name="connsiteX6" fmla="*/ 3315500 w 7802051"/>
              <a:gd name="connsiteY6" fmla="*/ 1912558 h 7751588"/>
              <a:gd name="connsiteX7" fmla="*/ 3940728 w 7802051"/>
              <a:gd name="connsiteY7" fmla="*/ 1287330 h 7751588"/>
              <a:gd name="connsiteX8" fmla="*/ 4565956 w 7802051"/>
              <a:gd name="connsiteY8" fmla="*/ 1912558 h 7751588"/>
              <a:gd name="connsiteX9" fmla="*/ 4459177 w 7802051"/>
              <a:gd name="connsiteY9" fmla="*/ 2262129 h 7751588"/>
              <a:gd name="connsiteX10" fmla="*/ 6008747 w 7802051"/>
              <a:gd name="connsiteY10" fmla="*/ 2797213 h 7751588"/>
              <a:gd name="connsiteX11" fmla="*/ 6008747 w 7802051"/>
              <a:gd name="connsiteY11" fmla="*/ 4047670 h 7751588"/>
              <a:gd name="connsiteX12" fmla="*/ 3898615 w 7802051"/>
              <a:gd name="connsiteY12" fmla="*/ 7751588 h 7751588"/>
              <a:gd name="connsiteX13" fmla="*/ 7797230 w 7802051"/>
              <a:gd name="connsiteY13" fmla="*/ 3181174 h 7751588"/>
              <a:gd name="connsiteX14" fmla="*/ 7802051 w 7802051"/>
              <a:gd name="connsiteY14" fmla="*/ 3181174 h 7751588"/>
              <a:gd name="connsiteX15" fmla="*/ 3903436 w 7802051"/>
              <a:gd name="connsiteY15" fmla="*/ 0 h 7751588"/>
              <a:gd name="connsiteX16" fmla="*/ 4821 w 7802051"/>
              <a:gd name="connsiteY16" fmla="*/ 3181174 h 7751588"/>
              <a:gd name="connsiteX17" fmla="*/ 0 w 7802051"/>
              <a:gd name="connsiteY17" fmla="*/ 3181174 h 7751588"/>
              <a:gd name="connsiteX18" fmla="*/ 3898615 w 7802051"/>
              <a:gd name="connsiteY18" fmla="*/ 7751588 h 7751588"/>
              <a:gd name="connsiteX0" fmla="*/ 6008747 w 7802051"/>
              <a:gd name="connsiteY0" fmla="*/ 2797213 h 7751588"/>
              <a:gd name="connsiteX1" fmla="*/ 3378494 w 7802051"/>
              <a:gd name="connsiteY1" fmla="*/ 5162844 h 7751588"/>
              <a:gd name="connsiteX2" fmla="*/ 1168076 w 7802051"/>
              <a:gd name="connsiteY2" fmla="*/ 3417678 h 7751588"/>
              <a:gd name="connsiteX3" fmla="*/ 1793304 w 7802051"/>
              <a:gd name="connsiteY3" fmla="*/ 2792451 h 7751588"/>
              <a:gd name="connsiteX4" fmla="*/ 2235408 w 7802051"/>
              <a:gd name="connsiteY4" fmla="*/ 2975575 h 7751588"/>
              <a:gd name="connsiteX5" fmla="*/ 3433657 w 7802051"/>
              <a:gd name="connsiteY5" fmla="*/ 2275919 h 7751588"/>
              <a:gd name="connsiteX6" fmla="*/ 3315500 w 7802051"/>
              <a:gd name="connsiteY6" fmla="*/ 1912558 h 7751588"/>
              <a:gd name="connsiteX7" fmla="*/ 3940728 w 7802051"/>
              <a:gd name="connsiteY7" fmla="*/ 1287330 h 7751588"/>
              <a:gd name="connsiteX8" fmla="*/ 4565956 w 7802051"/>
              <a:gd name="connsiteY8" fmla="*/ 1912558 h 7751588"/>
              <a:gd name="connsiteX9" fmla="*/ 4459177 w 7802051"/>
              <a:gd name="connsiteY9" fmla="*/ 2262129 h 7751588"/>
              <a:gd name="connsiteX10" fmla="*/ 6008747 w 7802051"/>
              <a:gd name="connsiteY10" fmla="*/ 2797213 h 7751588"/>
              <a:gd name="connsiteX11" fmla="*/ 3898615 w 7802051"/>
              <a:gd name="connsiteY11" fmla="*/ 7751588 h 7751588"/>
              <a:gd name="connsiteX12" fmla="*/ 7797230 w 7802051"/>
              <a:gd name="connsiteY12" fmla="*/ 3181174 h 7751588"/>
              <a:gd name="connsiteX13" fmla="*/ 7802051 w 7802051"/>
              <a:gd name="connsiteY13" fmla="*/ 3181174 h 7751588"/>
              <a:gd name="connsiteX14" fmla="*/ 3903436 w 7802051"/>
              <a:gd name="connsiteY14" fmla="*/ 0 h 7751588"/>
              <a:gd name="connsiteX15" fmla="*/ 4821 w 7802051"/>
              <a:gd name="connsiteY15" fmla="*/ 3181174 h 7751588"/>
              <a:gd name="connsiteX16" fmla="*/ 0 w 7802051"/>
              <a:gd name="connsiteY16" fmla="*/ 3181174 h 7751588"/>
              <a:gd name="connsiteX17" fmla="*/ 3898615 w 7802051"/>
              <a:gd name="connsiteY17" fmla="*/ 7751588 h 7751588"/>
              <a:gd name="connsiteX0" fmla="*/ 4459177 w 7802051"/>
              <a:gd name="connsiteY0" fmla="*/ 2262129 h 7751588"/>
              <a:gd name="connsiteX1" fmla="*/ 3378494 w 7802051"/>
              <a:gd name="connsiteY1" fmla="*/ 5162844 h 7751588"/>
              <a:gd name="connsiteX2" fmla="*/ 1168076 w 7802051"/>
              <a:gd name="connsiteY2" fmla="*/ 3417678 h 7751588"/>
              <a:gd name="connsiteX3" fmla="*/ 1793304 w 7802051"/>
              <a:gd name="connsiteY3" fmla="*/ 2792451 h 7751588"/>
              <a:gd name="connsiteX4" fmla="*/ 2235408 w 7802051"/>
              <a:gd name="connsiteY4" fmla="*/ 2975575 h 7751588"/>
              <a:gd name="connsiteX5" fmla="*/ 3433657 w 7802051"/>
              <a:gd name="connsiteY5" fmla="*/ 2275919 h 7751588"/>
              <a:gd name="connsiteX6" fmla="*/ 3315500 w 7802051"/>
              <a:gd name="connsiteY6" fmla="*/ 1912558 h 7751588"/>
              <a:gd name="connsiteX7" fmla="*/ 3940728 w 7802051"/>
              <a:gd name="connsiteY7" fmla="*/ 1287330 h 7751588"/>
              <a:gd name="connsiteX8" fmla="*/ 4565956 w 7802051"/>
              <a:gd name="connsiteY8" fmla="*/ 1912558 h 7751588"/>
              <a:gd name="connsiteX9" fmla="*/ 4459177 w 7802051"/>
              <a:gd name="connsiteY9" fmla="*/ 2262129 h 7751588"/>
              <a:gd name="connsiteX10" fmla="*/ 3898615 w 7802051"/>
              <a:gd name="connsiteY10" fmla="*/ 7751588 h 7751588"/>
              <a:gd name="connsiteX11" fmla="*/ 7797230 w 7802051"/>
              <a:gd name="connsiteY11" fmla="*/ 3181174 h 7751588"/>
              <a:gd name="connsiteX12" fmla="*/ 7802051 w 7802051"/>
              <a:gd name="connsiteY12" fmla="*/ 3181174 h 7751588"/>
              <a:gd name="connsiteX13" fmla="*/ 3903436 w 7802051"/>
              <a:gd name="connsiteY13" fmla="*/ 0 h 7751588"/>
              <a:gd name="connsiteX14" fmla="*/ 4821 w 7802051"/>
              <a:gd name="connsiteY14" fmla="*/ 3181174 h 7751588"/>
              <a:gd name="connsiteX15" fmla="*/ 0 w 7802051"/>
              <a:gd name="connsiteY15" fmla="*/ 3181174 h 7751588"/>
              <a:gd name="connsiteX16" fmla="*/ 3898615 w 7802051"/>
              <a:gd name="connsiteY16" fmla="*/ 7751588 h 7751588"/>
              <a:gd name="connsiteX0" fmla="*/ 4459177 w 7802051"/>
              <a:gd name="connsiteY0" fmla="*/ 2262129 h 7751588"/>
              <a:gd name="connsiteX1" fmla="*/ 1168076 w 7802051"/>
              <a:gd name="connsiteY1" fmla="*/ 3417678 h 7751588"/>
              <a:gd name="connsiteX2" fmla="*/ 1793304 w 7802051"/>
              <a:gd name="connsiteY2" fmla="*/ 2792451 h 7751588"/>
              <a:gd name="connsiteX3" fmla="*/ 2235408 w 7802051"/>
              <a:gd name="connsiteY3" fmla="*/ 2975575 h 7751588"/>
              <a:gd name="connsiteX4" fmla="*/ 3433657 w 7802051"/>
              <a:gd name="connsiteY4" fmla="*/ 2275919 h 7751588"/>
              <a:gd name="connsiteX5" fmla="*/ 3315500 w 7802051"/>
              <a:gd name="connsiteY5" fmla="*/ 1912558 h 7751588"/>
              <a:gd name="connsiteX6" fmla="*/ 3940728 w 7802051"/>
              <a:gd name="connsiteY6" fmla="*/ 1287330 h 7751588"/>
              <a:gd name="connsiteX7" fmla="*/ 4565956 w 7802051"/>
              <a:gd name="connsiteY7" fmla="*/ 1912558 h 7751588"/>
              <a:gd name="connsiteX8" fmla="*/ 4459177 w 7802051"/>
              <a:gd name="connsiteY8" fmla="*/ 2262129 h 7751588"/>
              <a:gd name="connsiteX9" fmla="*/ 3898615 w 7802051"/>
              <a:gd name="connsiteY9" fmla="*/ 7751588 h 7751588"/>
              <a:gd name="connsiteX10" fmla="*/ 7797230 w 7802051"/>
              <a:gd name="connsiteY10" fmla="*/ 3181174 h 7751588"/>
              <a:gd name="connsiteX11" fmla="*/ 7802051 w 7802051"/>
              <a:gd name="connsiteY11" fmla="*/ 3181174 h 7751588"/>
              <a:gd name="connsiteX12" fmla="*/ 3903436 w 7802051"/>
              <a:gd name="connsiteY12" fmla="*/ 0 h 7751588"/>
              <a:gd name="connsiteX13" fmla="*/ 4821 w 7802051"/>
              <a:gd name="connsiteY13" fmla="*/ 3181174 h 7751588"/>
              <a:gd name="connsiteX14" fmla="*/ 0 w 7802051"/>
              <a:gd name="connsiteY14" fmla="*/ 3181174 h 7751588"/>
              <a:gd name="connsiteX15" fmla="*/ 3898615 w 7802051"/>
              <a:gd name="connsiteY15" fmla="*/ 7751588 h 7751588"/>
              <a:gd name="connsiteX0" fmla="*/ 4459177 w 7802051"/>
              <a:gd name="connsiteY0" fmla="*/ 2262129 h 7751588"/>
              <a:gd name="connsiteX1" fmla="*/ 1168076 w 7802051"/>
              <a:gd name="connsiteY1" fmla="*/ 3417678 h 7751588"/>
              <a:gd name="connsiteX2" fmla="*/ 2235408 w 7802051"/>
              <a:gd name="connsiteY2" fmla="*/ 2975575 h 7751588"/>
              <a:gd name="connsiteX3" fmla="*/ 3433657 w 7802051"/>
              <a:gd name="connsiteY3" fmla="*/ 2275919 h 7751588"/>
              <a:gd name="connsiteX4" fmla="*/ 3315500 w 7802051"/>
              <a:gd name="connsiteY4" fmla="*/ 1912558 h 7751588"/>
              <a:gd name="connsiteX5" fmla="*/ 3940728 w 7802051"/>
              <a:gd name="connsiteY5" fmla="*/ 1287330 h 7751588"/>
              <a:gd name="connsiteX6" fmla="*/ 4565956 w 7802051"/>
              <a:gd name="connsiteY6" fmla="*/ 1912558 h 7751588"/>
              <a:gd name="connsiteX7" fmla="*/ 4459177 w 7802051"/>
              <a:gd name="connsiteY7" fmla="*/ 2262129 h 7751588"/>
              <a:gd name="connsiteX8" fmla="*/ 3898615 w 7802051"/>
              <a:gd name="connsiteY8" fmla="*/ 7751588 h 7751588"/>
              <a:gd name="connsiteX9" fmla="*/ 7797230 w 7802051"/>
              <a:gd name="connsiteY9" fmla="*/ 3181174 h 7751588"/>
              <a:gd name="connsiteX10" fmla="*/ 7802051 w 7802051"/>
              <a:gd name="connsiteY10" fmla="*/ 3181174 h 7751588"/>
              <a:gd name="connsiteX11" fmla="*/ 3903436 w 7802051"/>
              <a:gd name="connsiteY11" fmla="*/ 0 h 7751588"/>
              <a:gd name="connsiteX12" fmla="*/ 4821 w 7802051"/>
              <a:gd name="connsiteY12" fmla="*/ 3181174 h 7751588"/>
              <a:gd name="connsiteX13" fmla="*/ 0 w 7802051"/>
              <a:gd name="connsiteY13" fmla="*/ 3181174 h 7751588"/>
              <a:gd name="connsiteX14" fmla="*/ 3898615 w 7802051"/>
              <a:gd name="connsiteY14" fmla="*/ 7751588 h 7751588"/>
              <a:gd name="connsiteX0" fmla="*/ 4459177 w 7802051"/>
              <a:gd name="connsiteY0" fmla="*/ 2262129 h 7751588"/>
              <a:gd name="connsiteX1" fmla="*/ 1168076 w 7802051"/>
              <a:gd name="connsiteY1" fmla="*/ 3417678 h 7751588"/>
              <a:gd name="connsiteX2" fmla="*/ 3433657 w 7802051"/>
              <a:gd name="connsiteY2" fmla="*/ 2275919 h 7751588"/>
              <a:gd name="connsiteX3" fmla="*/ 3315500 w 7802051"/>
              <a:gd name="connsiteY3" fmla="*/ 1912558 h 7751588"/>
              <a:gd name="connsiteX4" fmla="*/ 3940728 w 7802051"/>
              <a:gd name="connsiteY4" fmla="*/ 1287330 h 7751588"/>
              <a:gd name="connsiteX5" fmla="*/ 4565956 w 7802051"/>
              <a:gd name="connsiteY5" fmla="*/ 1912558 h 7751588"/>
              <a:gd name="connsiteX6" fmla="*/ 4459177 w 7802051"/>
              <a:gd name="connsiteY6" fmla="*/ 2262129 h 7751588"/>
              <a:gd name="connsiteX7" fmla="*/ 3898615 w 7802051"/>
              <a:gd name="connsiteY7" fmla="*/ 7751588 h 7751588"/>
              <a:gd name="connsiteX8" fmla="*/ 7797230 w 7802051"/>
              <a:gd name="connsiteY8" fmla="*/ 3181174 h 7751588"/>
              <a:gd name="connsiteX9" fmla="*/ 7802051 w 7802051"/>
              <a:gd name="connsiteY9" fmla="*/ 3181174 h 7751588"/>
              <a:gd name="connsiteX10" fmla="*/ 3903436 w 7802051"/>
              <a:gd name="connsiteY10" fmla="*/ 0 h 7751588"/>
              <a:gd name="connsiteX11" fmla="*/ 4821 w 7802051"/>
              <a:gd name="connsiteY11" fmla="*/ 3181174 h 7751588"/>
              <a:gd name="connsiteX12" fmla="*/ 0 w 7802051"/>
              <a:gd name="connsiteY12" fmla="*/ 3181174 h 7751588"/>
              <a:gd name="connsiteX13" fmla="*/ 3898615 w 7802051"/>
              <a:gd name="connsiteY13" fmla="*/ 7751588 h 7751588"/>
              <a:gd name="connsiteX0" fmla="*/ 4459177 w 7802051"/>
              <a:gd name="connsiteY0" fmla="*/ 2262129 h 7751588"/>
              <a:gd name="connsiteX1" fmla="*/ 3433657 w 7802051"/>
              <a:gd name="connsiteY1" fmla="*/ 2275919 h 7751588"/>
              <a:gd name="connsiteX2" fmla="*/ 3315500 w 7802051"/>
              <a:gd name="connsiteY2" fmla="*/ 1912558 h 7751588"/>
              <a:gd name="connsiteX3" fmla="*/ 3940728 w 7802051"/>
              <a:gd name="connsiteY3" fmla="*/ 1287330 h 7751588"/>
              <a:gd name="connsiteX4" fmla="*/ 4565956 w 7802051"/>
              <a:gd name="connsiteY4" fmla="*/ 1912558 h 7751588"/>
              <a:gd name="connsiteX5" fmla="*/ 4459177 w 7802051"/>
              <a:gd name="connsiteY5" fmla="*/ 2262129 h 7751588"/>
              <a:gd name="connsiteX6" fmla="*/ 3898615 w 7802051"/>
              <a:gd name="connsiteY6" fmla="*/ 7751588 h 7751588"/>
              <a:gd name="connsiteX7" fmla="*/ 7797230 w 7802051"/>
              <a:gd name="connsiteY7" fmla="*/ 3181174 h 7751588"/>
              <a:gd name="connsiteX8" fmla="*/ 7802051 w 7802051"/>
              <a:gd name="connsiteY8" fmla="*/ 3181174 h 7751588"/>
              <a:gd name="connsiteX9" fmla="*/ 3903436 w 7802051"/>
              <a:gd name="connsiteY9" fmla="*/ 0 h 7751588"/>
              <a:gd name="connsiteX10" fmla="*/ 4821 w 7802051"/>
              <a:gd name="connsiteY10" fmla="*/ 3181174 h 7751588"/>
              <a:gd name="connsiteX11" fmla="*/ 0 w 7802051"/>
              <a:gd name="connsiteY11" fmla="*/ 3181174 h 7751588"/>
              <a:gd name="connsiteX12" fmla="*/ 3898615 w 7802051"/>
              <a:gd name="connsiteY12" fmla="*/ 7751588 h 7751588"/>
              <a:gd name="connsiteX0" fmla="*/ 4565956 w 7802051"/>
              <a:gd name="connsiteY0" fmla="*/ 1912558 h 7751588"/>
              <a:gd name="connsiteX1" fmla="*/ 3433657 w 7802051"/>
              <a:gd name="connsiteY1" fmla="*/ 2275919 h 7751588"/>
              <a:gd name="connsiteX2" fmla="*/ 3315500 w 7802051"/>
              <a:gd name="connsiteY2" fmla="*/ 1912558 h 7751588"/>
              <a:gd name="connsiteX3" fmla="*/ 3940728 w 7802051"/>
              <a:gd name="connsiteY3" fmla="*/ 1287330 h 7751588"/>
              <a:gd name="connsiteX4" fmla="*/ 4565956 w 7802051"/>
              <a:gd name="connsiteY4" fmla="*/ 1912558 h 7751588"/>
              <a:gd name="connsiteX5" fmla="*/ 3898615 w 7802051"/>
              <a:gd name="connsiteY5" fmla="*/ 7751588 h 7751588"/>
              <a:gd name="connsiteX6" fmla="*/ 7797230 w 7802051"/>
              <a:gd name="connsiteY6" fmla="*/ 3181174 h 7751588"/>
              <a:gd name="connsiteX7" fmla="*/ 7802051 w 7802051"/>
              <a:gd name="connsiteY7" fmla="*/ 3181174 h 7751588"/>
              <a:gd name="connsiteX8" fmla="*/ 3903436 w 7802051"/>
              <a:gd name="connsiteY8" fmla="*/ 0 h 7751588"/>
              <a:gd name="connsiteX9" fmla="*/ 4821 w 7802051"/>
              <a:gd name="connsiteY9" fmla="*/ 3181174 h 7751588"/>
              <a:gd name="connsiteX10" fmla="*/ 0 w 7802051"/>
              <a:gd name="connsiteY10" fmla="*/ 3181174 h 7751588"/>
              <a:gd name="connsiteX11" fmla="*/ 3898615 w 7802051"/>
              <a:gd name="connsiteY11" fmla="*/ 7751588 h 7751588"/>
              <a:gd name="connsiteX0" fmla="*/ 4565956 w 7802051"/>
              <a:gd name="connsiteY0" fmla="*/ 1912558 h 7751588"/>
              <a:gd name="connsiteX1" fmla="*/ 3433657 w 7802051"/>
              <a:gd name="connsiteY1" fmla="*/ 2275919 h 7751588"/>
              <a:gd name="connsiteX2" fmla="*/ 3315500 w 7802051"/>
              <a:gd name="connsiteY2" fmla="*/ 1912558 h 7751588"/>
              <a:gd name="connsiteX3" fmla="*/ 4565956 w 7802051"/>
              <a:gd name="connsiteY3" fmla="*/ 1912558 h 7751588"/>
              <a:gd name="connsiteX4" fmla="*/ 3898615 w 7802051"/>
              <a:gd name="connsiteY4" fmla="*/ 7751588 h 7751588"/>
              <a:gd name="connsiteX5" fmla="*/ 7797230 w 7802051"/>
              <a:gd name="connsiteY5" fmla="*/ 3181174 h 7751588"/>
              <a:gd name="connsiteX6" fmla="*/ 7802051 w 7802051"/>
              <a:gd name="connsiteY6" fmla="*/ 3181174 h 7751588"/>
              <a:gd name="connsiteX7" fmla="*/ 3903436 w 7802051"/>
              <a:gd name="connsiteY7" fmla="*/ 0 h 7751588"/>
              <a:gd name="connsiteX8" fmla="*/ 4821 w 7802051"/>
              <a:gd name="connsiteY8" fmla="*/ 3181174 h 7751588"/>
              <a:gd name="connsiteX9" fmla="*/ 0 w 7802051"/>
              <a:gd name="connsiteY9" fmla="*/ 3181174 h 7751588"/>
              <a:gd name="connsiteX10" fmla="*/ 3898615 w 7802051"/>
              <a:gd name="connsiteY10" fmla="*/ 7751588 h 7751588"/>
              <a:gd name="connsiteX0" fmla="*/ 3315500 w 7802051"/>
              <a:gd name="connsiteY0" fmla="*/ 1912558 h 7751588"/>
              <a:gd name="connsiteX1" fmla="*/ 3433657 w 7802051"/>
              <a:gd name="connsiteY1" fmla="*/ 2275919 h 7751588"/>
              <a:gd name="connsiteX2" fmla="*/ 3315500 w 7802051"/>
              <a:gd name="connsiteY2" fmla="*/ 1912558 h 7751588"/>
              <a:gd name="connsiteX3" fmla="*/ 3898615 w 7802051"/>
              <a:gd name="connsiteY3" fmla="*/ 7751588 h 7751588"/>
              <a:gd name="connsiteX4" fmla="*/ 7797230 w 7802051"/>
              <a:gd name="connsiteY4" fmla="*/ 3181174 h 7751588"/>
              <a:gd name="connsiteX5" fmla="*/ 7802051 w 7802051"/>
              <a:gd name="connsiteY5" fmla="*/ 3181174 h 7751588"/>
              <a:gd name="connsiteX6" fmla="*/ 3903436 w 7802051"/>
              <a:gd name="connsiteY6" fmla="*/ 0 h 7751588"/>
              <a:gd name="connsiteX7" fmla="*/ 4821 w 7802051"/>
              <a:gd name="connsiteY7" fmla="*/ 3181174 h 7751588"/>
              <a:gd name="connsiteX8" fmla="*/ 0 w 7802051"/>
              <a:gd name="connsiteY8" fmla="*/ 3181174 h 7751588"/>
              <a:gd name="connsiteX9" fmla="*/ 3898615 w 7802051"/>
              <a:gd name="connsiteY9" fmla="*/ 7751588 h 7751588"/>
              <a:gd name="connsiteX0" fmla="*/ 3898615 w 7802051"/>
              <a:gd name="connsiteY0" fmla="*/ 7751588 h 7751588"/>
              <a:gd name="connsiteX1" fmla="*/ 7797230 w 7802051"/>
              <a:gd name="connsiteY1" fmla="*/ 3181174 h 7751588"/>
              <a:gd name="connsiteX2" fmla="*/ 7802051 w 7802051"/>
              <a:gd name="connsiteY2" fmla="*/ 3181174 h 7751588"/>
              <a:gd name="connsiteX3" fmla="*/ 3903436 w 7802051"/>
              <a:gd name="connsiteY3" fmla="*/ 0 h 7751588"/>
              <a:gd name="connsiteX4" fmla="*/ 4821 w 7802051"/>
              <a:gd name="connsiteY4" fmla="*/ 3181174 h 7751588"/>
              <a:gd name="connsiteX5" fmla="*/ 0 w 7802051"/>
              <a:gd name="connsiteY5" fmla="*/ 3181174 h 7751588"/>
              <a:gd name="connsiteX6" fmla="*/ 3898615 w 7802051"/>
              <a:gd name="connsiteY6" fmla="*/ 7751588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2051" h="7751588">
                <a:moveTo>
                  <a:pt x="3898615" y="7751588"/>
                </a:moveTo>
                <a:lnTo>
                  <a:pt x="7797230" y="3181174"/>
                </a:lnTo>
                <a:lnTo>
                  <a:pt x="7802051" y="3181174"/>
                </a:lnTo>
                <a:lnTo>
                  <a:pt x="3903436" y="0"/>
                </a:lnTo>
                <a:lnTo>
                  <a:pt x="4821" y="3181174"/>
                </a:lnTo>
                <a:lnTo>
                  <a:pt x="0" y="3181174"/>
                </a:lnTo>
                <a:lnTo>
                  <a:pt x="3898615" y="7751588"/>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42E0F551-20A5-4A91-BD66-3FBDFA263FF0}"/>
              </a:ext>
            </a:extLst>
          </p:cNvPr>
          <p:cNvSpPr txBox="1"/>
          <p:nvPr/>
        </p:nvSpPr>
        <p:spPr>
          <a:xfrm>
            <a:off x="457999" y="4630738"/>
            <a:ext cx="2254399" cy="742021"/>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0</a:t>
            </a:r>
            <a:r>
              <a:rPr kumimoji="0" lang="en-US" sz="2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endParaRPr kumimoji="0" lang="en-US" sz="2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Y</a:t>
            </a:r>
          </a:p>
        </p:txBody>
      </p:sp>
      <p:sp>
        <p:nvSpPr>
          <p:cNvPr id="115" name="TextBox 114">
            <a:extLst>
              <a:ext uri="{FF2B5EF4-FFF2-40B4-BE49-F238E27FC236}">
                <a16:creationId xmlns:a16="http://schemas.microsoft.com/office/drawing/2014/main" id="{83B96CBB-1C00-480C-9381-BBE5A98A11A3}"/>
              </a:ext>
            </a:extLst>
          </p:cNvPr>
          <p:cNvSpPr txBox="1"/>
          <p:nvPr/>
        </p:nvSpPr>
        <p:spPr>
          <a:xfrm>
            <a:off x="2719907" y="4630738"/>
            <a:ext cx="2254399" cy="742021"/>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5</a:t>
            </a:r>
            <a:r>
              <a:rPr kumimoji="0" lang="en-US" sz="2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Y</a:t>
            </a:r>
          </a:p>
        </p:txBody>
      </p:sp>
      <p:sp>
        <p:nvSpPr>
          <p:cNvPr id="116" name="TextBox 115">
            <a:extLst>
              <a:ext uri="{FF2B5EF4-FFF2-40B4-BE49-F238E27FC236}">
                <a16:creationId xmlns:a16="http://schemas.microsoft.com/office/drawing/2014/main" id="{135489EE-55E6-46AD-8C01-4CDA84D236B1}"/>
              </a:ext>
            </a:extLst>
          </p:cNvPr>
          <p:cNvSpPr txBox="1"/>
          <p:nvPr/>
        </p:nvSpPr>
        <p:spPr>
          <a:xfrm>
            <a:off x="7221194" y="4630738"/>
            <a:ext cx="2254399" cy="742021"/>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65</a:t>
            </a:r>
            <a:r>
              <a:rPr kumimoji="0" lang="en-US" sz="2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Y</a:t>
            </a:r>
          </a:p>
        </p:txBody>
      </p:sp>
      <p:sp>
        <p:nvSpPr>
          <p:cNvPr id="117" name="TextBox 116">
            <a:extLst>
              <a:ext uri="{FF2B5EF4-FFF2-40B4-BE49-F238E27FC236}">
                <a16:creationId xmlns:a16="http://schemas.microsoft.com/office/drawing/2014/main" id="{42AE8212-28E6-41F1-945A-02C59FC139D9}"/>
              </a:ext>
            </a:extLst>
          </p:cNvPr>
          <p:cNvSpPr txBox="1"/>
          <p:nvPr/>
        </p:nvSpPr>
        <p:spPr>
          <a:xfrm>
            <a:off x="4966796" y="4630738"/>
            <a:ext cx="2254399" cy="742021"/>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150</a:t>
            </a:r>
            <a:r>
              <a:rPr kumimoji="0" lang="en-US" sz="2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Y</a:t>
            </a:r>
          </a:p>
        </p:txBody>
      </p:sp>
      <p:sp>
        <p:nvSpPr>
          <p:cNvPr id="126" name="Rectangle 125">
            <a:extLst>
              <a:ext uri="{FF2B5EF4-FFF2-40B4-BE49-F238E27FC236}">
                <a16:creationId xmlns:a16="http://schemas.microsoft.com/office/drawing/2014/main" id="{F12C88D2-8923-4F11-986E-7127E3D9C4F7}"/>
              </a:ext>
            </a:extLst>
          </p:cNvPr>
          <p:cNvSpPr/>
          <p:nvPr/>
        </p:nvSpPr>
        <p:spPr>
          <a:xfrm>
            <a:off x="648044" y="1223720"/>
            <a:ext cx="10895932" cy="461665"/>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 Every Office 365 and Microsoft Azure customer uses Azure Active Directory —</a:t>
            </a:r>
          </a:p>
        </p:txBody>
      </p:sp>
    </p:spTree>
    <p:extLst>
      <p:ext uri="{BB962C8B-B14F-4D97-AF65-F5344CB8AC3E}">
        <p14:creationId xmlns:p14="http://schemas.microsoft.com/office/powerpoint/2010/main" val="322845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400"/>
                                  </p:stCondLst>
                                  <p:childTnLst>
                                    <p:set>
                                      <p:cBhvr>
                                        <p:cTn id="6" dur="1" fill="hold">
                                          <p:stCondLst>
                                            <p:cond delay="0"/>
                                          </p:stCondLst>
                                        </p:cTn>
                                        <p:tgtEl>
                                          <p:spTgt spid="560"/>
                                        </p:tgtEl>
                                        <p:attrNameLst>
                                          <p:attrName>style.visibility</p:attrName>
                                        </p:attrNameLst>
                                      </p:cBhvr>
                                      <p:to>
                                        <p:strVal val="visible"/>
                                      </p:to>
                                    </p:set>
                                    <p:animEffect transition="in" filter="fade">
                                      <p:cBhvr>
                                        <p:cTn id="7" dur="250"/>
                                        <p:tgtEl>
                                          <p:spTgt spid="560"/>
                                        </p:tgtEl>
                                      </p:cBhvr>
                                    </p:animEffect>
                                  </p:childTnLst>
                                </p:cTn>
                              </p:par>
                              <p:par>
                                <p:cTn id="8" presetID="42" presetClass="path" presetSubtype="0" decel="100000" fill="hold" nodeType="withEffect">
                                  <p:stCondLst>
                                    <p:cond delay="1000"/>
                                  </p:stCondLst>
                                  <p:childTnLst>
                                    <p:animMotion origin="layout" path="M 2.08333E-6 1.85185E-6 L 2.08333E-6 0.25 " pathEditMode="relative" rAng="0" ptsTypes="AA">
                                      <p:cBhvr>
                                        <p:cTn id="9" dur="750" spd="-100000" fill="hold"/>
                                        <p:tgtEl>
                                          <p:spTgt spid="560"/>
                                        </p:tgtEl>
                                        <p:attrNameLst>
                                          <p:attrName>ppt_x</p:attrName>
                                          <p:attrName>ppt_y</p:attrName>
                                        </p:attrNameLst>
                                      </p:cBhvr>
                                      <p:rCtr x="0" y="12500"/>
                                    </p:animMotion>
                                  </p:childTnLst>
                                </p:cTn>
                              </p:par>
                              <p:par>
                                <p:cTn id="10" presetID="1" presetClass="entr" presetSubtype="0" fill="hold" grpId="0" nodeType="withEffect">
                                  <p:stCondLst>
                                    <p:cond delay="1000"/>
                                  </p:stCondLst>
                                  <p:childTnLst>
                                    <p:set>
                                      <p:cBhvr>
                                        <p:cTn id="11" dur="1" fill="hold">
                                          <p:stCondLst>
                                            <p:cond delay="499"/>
                                          </p:stCondLst>
                                        </p:cTn>
                                        <p:tgtEl>
                                          <p:spTgt spid="128"/>
                                        </p:tgtEl>
                                        <p:attrNameLst>
                                          <p:attrName>style.visibility</p:attrName>
                                        </p:attrNameLst>
                                      </p:cBhvr>
                                      <p:to>
                                        <p:strVal val="visible"/>
                                      </p:to>
                                    </p:set>
                                  </p:childTnLst>
                                </p:cTn>
                              </p:par>
                              <p:par>
                                <p:cTn id="12" presetID="6" presetClass="emph" presetSubtype="0" accel="100000" autoRev="1" fill="hold" grpId="1" nodeType="withEffect">
                                  <p:stCondLst>
                                    <p:cond delay="1000"/>
                                  </p:stCondLst>
                                  <p:childTnLst>
                                    <p:animScale>
                                      <p:cBhvr>
                                        <p:cTn id="13" dur="500" fill="hold"/>
                                        <p:tgtEl>
                                          <p:spTgt spid="128"/>
                                        </p:tgtEl>
                                      </p:cBhvr>
                                      <p:by x="0" y="0"/>
                                    </p:animScale>
                                  </p:childTnLst>
                                </p:cTn>
                              </p:par>
                              <p:par>
                                <p:cTn id="14" presetID="1" presetClass="entr" presetSubtype="0" fill="hold" grpId="0" nodeType="withEffect">
                                  <p:stCondLst>
                                    <p:cond delay="1000"/>
                                  </p:stCondLst>
                                  <p:childTnLst>
                                    <p:set>
                                      <p:cBhvr>
                                        <p:cTn id="15" dur="1" fill="hold">
                                          <p:stCondLst>
                                            <p:cond delay="499"/>
                                          </p:stCondLst>
                                        </p:cTn>
                                        <p:tgtEl>
                                          <p:spTgt spid="114"/>
                                        </p:tgtEl>
                                        <p:attrNameLst>
                                          <p:attrName>style.visibility</p:attrName>
                                        </p:attrNameLst>
                                      </p:cBhvr>
                                      <p:to>
                                        <p:strVal val="visible"/>
                                      </p:to>
                                    </p:set>
                                  </p:childTnLst>
                                </p:cTn>
                              </p:par>
                              <p:par>
                                <p:cTn id="16" presetID="6" presetClass="emph" presetSubtype="0" accel="100000" autoRev="1" fill="hold" grpId="1" nodeType="withEffect">
                                  <p:stCondLst>
                                    <p:cond delay="1000"/>
                                  </p:stCondLst>
                                  <p:childTnLst>
                                    <p:animScale>
                                      <p:cBhvr>
                                        <p:cTn id="17" dur="500" fill="hold"/>
                                        <p:tgtEl>
                                          <p:spTgt spid="114"/>
                                        </p:tgtEl>
                                      </p:cBhvr>
                                      <p:by x="0" y="0"/>
                                    </p:animScale>
                                  </p:childTnLst>
                                </p:cTn>
                              </p:par>
                              <p:par>
                                <p:cTn id="18" presetID="16" presetClass="entr" presetSubtype="42" fill="hold" nodeType="withEffect">
                                  <p:stCondLst>
                                    <p:cond delay="1000"/>
                                  </p:stCondLst>
                                  <p:childTnLst>
                                    <p:set>
                                      <p:cBhvr>
                                        <p:cTn id="19" dur="1" fill="hold">
                                          <p:stCondLst>
                                            <p:cond delay="0"/>
                                          </p:stCondLst>
                                        </p:cTn>
                                        <p:tgtEl>
                                          <p:spTgt spid="574"/>
                                        </p:tgtEl>
                                        <p:attrNameLst>
                                          <p:attrName>style.visibility</p:attrName>
                                        </p:attrNameLst>
                                      </p:cBhvr>
                                      <p:to>
                                        <p:strVal val="visible"/>
                                      </p:to>
                                    </p:set>
                                    <p:animEffect transition="in" filter="barn(outHorizontal)">
                                      <p:cBhvr>
                                        <p:cTn id="20" dur="500"/>
                                        <p:tgtEl>
                                          <p:spTgt spid="574"/>
                                        </p:tgtEl>
                                      </p:cBhvr>
                                    </p:animEffect>
                                  </p:childTnLst>
                                </p:cTn>
                              </p:par>
                            </p:childTnLst>
                          </p:cTn>
                        </p:par>
                        <p:par>
                          <p:cTn id="21" fill="hold">
                            <p:stCondLst>
                              <p:cond delay="2000"/>
                            </p:stCondLst>
                            <p:childTnLst>
                              <p:par>
                                <p:cTn id="22" presetID="10" presetClass="entr" presetSubtype="0" fill="hold" nodeType="afterEffect">
                                  <p:stCondLst>
                                    <p:cond delay="400"/>
                                  </p:stCondLst>
                                  <p:childTnLst>
                                    <p:set>
                                      <p:cBhvr>
                                        <p:cTn id="23" dur="1" fill="hold">
                                          <p:stCondLst>
                                            <p:cond delay="0"/>
                                          </p:stCondLst>
                                        </p:cTn>
                                        <p:tgtEl>
                                          <p:spTgt spid="457"/>
                                        </p:tgtEl>
                                        <p:attrNameLst>
                                          <p:attrName>style.visibility</p:attrName>
                                        </p:attrNameLst>
                                      </p:cBhvr>
                                      <p:to>
                                        <p:strVal val="visible"/>
                                      </p:to>
                                    </p:set>
                                    <p:animEffect transition="in" filter="fade">
                                      <p:cBhvr>
                                        <p:cTn id="24" dur="250"/>
                                        <p:tgtEl>
                                          <p:spTgt spid="457"/>
                                        </p:tgtEl>
                                      </p:cBhvr>
                                    </p:animEffect>
                                  </p:childTnLst>
                                </p:cTn>
                              </p:par>
                              <p:par>
                                <p:cTn id="25" presetID="42" presetClass="path" presetSubtype="0" decel="100000" fill="hold" nodeType="withEffect">
                                  <p:stCondLst>
                                    <p:cond delay="0"/>
                                  </p:stCondLst>
                                  <p:childTnLst>
                                    <p:animMotion origin="layout" path="M -3.75E-6 -1.11111E-6 L -3.75E-6 0.25 " pathEditMode="relative" rAng="0" ptsTypes="AA">
                                      <p:cBhvr>
                                        <p:cTn id="26" dur="750" spd="-100000" fill="hold"/>
                                        <p:tgtEl>
                                          <p:spTgt spid="457"/>
                                        </p:tgtEl>
                                        <p:attrNameLst>
                                          <p:attrName>ppt_x</p:attrName>
                                          <p:attrName>ppt_y</p:attrName>
                                        </p:attrNameLst>
                                      </p:cBhvr>
                                      <p:rCtr x="0" y="12500"/>
                                    </p:animMotion>
                                  </p:childTnLst>
                                </p:cTn>
                              </p:par>
                              <p:par>
                                <p:cTn id="27" presetID="1" presetClass="entr" presetSubtype="0" fill="hold" grpId="0" nodeType="withEffect">
                                  <p:stCondLst>
                                    <p:cond delay="0"/>
                                  </p:stCondLst>
                                  <p:childTnLst>
                                    <p:set>
                                      <p:cBhvr>
                                        <p:cTn id="28" dur="1" fill="hold">
                                          <p:stCondLst>
                                            <p:cond delay="499"/>
                                          </p:stCondLst>
                                        </p:cTn>
                                        <p:tgtEl>
                                          <p:spTgt spid="121"/>
                                        </p:tgtEl>
                                        <p:attrNameLst>
                                          <p:attrName>style.visibility</p:attrName>
                                        </p:attrNameLst>
                                      </p:cBhvr>
                                      <p:to>
                                        <p:strVal val="visible"/>
                                      </p:to>
                                    </p:set>
                                  </p:childTnLst>
                                </p:cTn>
                              </p:par>
                              <p:par>
                                <p:cTn id="29" presetID="6" presetClass="emph" presetSubtype="0" accel="100000" autoRev="1" fill="hold" grpId="1" nodeType="withEffect">
                                  <p:stCondLst>
                                    <p:cond delay="0"/>
                                  </p:stCondLst>
                                  <p:childTnLst>
                                    <p:animScale>
                                      <p:cBhvr>
                                        <p:cTn id="30" dur="500" fill="hold"/>
                                        <p:tgtEl>
                                          <p:spTgt spid="121"/>
                                        </p:tgtEl>
                                      </p:cBhvr>
                                      <p:by x="0" y="0"/>
                                    </p:animScale>
                                  </p:childTnLst>
                                </p:cTn>
                              </p:par>
                              <p:par>
                                <p:cTn id="31" presetID="1" presetClass="entr" presetSubtype="0" fill="hold" grpId="0" nodeType="withEffect">
                                  <p:stCondLst>
                                    <p:cond delay="0"/>
                                  </p:stCondLst>
                                  <p:childTnLst>
                                    <p:set>
                                      <p:cBhvr>
                                        <p:cTn id="32" dur="1" fill="hold">
                                          <p:stCondLst>
                                            <p:cond delay="499"/>
                                          </p:stCondLst>
                                        </p:cTn>
                                        <p:tgtEl>
                                          <p:spTgt spid="115"/>
                                        </p:tgtEl>
                                        <p:attrNameLst>
                                          <p:attrName>style.visibility</p:attrName>
                                        </p:attrNameLst>
                                      </p:cBhvr>
                                      <p:to>
                                        <p:strVal val="visible"/>
                                      </p:to>
                                    </p:set>
                                  </p:childTnLst>
                                </p:cTn>
                              </p:par>
                              <p:par>
                                <p:cTn id="33" presetID="6" presetClass="emph" presetSubtype="0" accel="100000" autoRev="1" fill="hold" grpId="1" nodeType="withEffect">
                                  <p:stCondLst>
                                    <p:cond delay="0"/>
                                  </p:stCondLst>
                                  <p:childTnLst>
                                    <p:animScale>
                                      <p:cBhvr>
                                        <p:cTn id="34" dur="500" fill="hold"/>
                                        <p:tgtEl>
                                          <p:spTgt spid="115"/>
                                        </p:tgtEl>
                                      </p:cBhvr>
                                      <p:by x="0" y="0"/>
                                    </p:animScale>
                                  </p:childTnLst>
                                </p:cTn>
                              </p:par>
                              <p:par>
                                <p:cTn id="35" presetID="16" presetClass="entr" presetSubtype="42" fill="hold" nodeType="withEffect">
                                  <p:stCondLst>
                                    <p:cond delay="0"/>
                                  </p:stCondLst>
                                  <p:childTnLst>
                                    <p:set>
                                      <p:cBhvr>
                                        <p:cTn id="36" dur="1" fill="hold">
                                          <p:stCondLst>
                                            <p:cond delay="0"/>
                                          </p:stCondLst>
                                        </p:cTn>
                                        <p:tgtEl>
                                          <p:spTgt spid="583"/>
                                        </p:tgtEl>
                                        <p:attrNameLst>
                                          <p:attrName>style.visibility</p:attrName>
                                        </p:attrNameLst>
                                      </p:cBhvr>
                                      <p:to>
                                        <p:strVal val="visible"/>
                                      </p:to>
                                    </p:set>
                                    <p:animEffect transition="in" filter="barn(outHorizontal)">
                                      <p:cBhvr>
                                        <p:cTn id="37" dur="500"/>
                                        <p:tgtEl>
                                          <p:spTgt spid="583"/>
                                        </p:tgtEl>
                                      </p:cBhvr>
                                    </p:animEffect>
                                  </p:childTnLst>
                                </p:cTn>
                              </p:par>
                            </p:childTnLst>
                          </p:cTn>
                        </p:par>
                        <p:par>
                          <p:cTn id="38" fill="hold">
                            <p:stCondLst>
                              <p:cond delay="3000"/>
                            </p:stCondLst>
                            <p:childTnLst>
                              <p:par>
                                <p:cTn id="39" presetID="10" presetClass="entr" presetSubtype="0" fill="hold" nodeType="afterEffect">
                                  <p:stCondLst>
                                    <p:cond delay="400"/>
                                  </p:stCondLst>
                                  <p:childTnLst>
                                    <p:set>
                                      <p:cBhvr>
                                        <p:cTn id="40" dur="1" fill="hold">
                                          <p:stCondLst>
                                            <p:cond delay="0"/>
                                          </p:stCondLst>
                                        </p:cTn>
                                        <p:tgtEl>
                                          <p:spTgt spid="563"/>
                                        </p:tgtEl>
                                        <p:attrNameLst>
                                          <p:attrName>style.visibility</p:attrName>
                                        </p:attrNameLst>
                                      </p:cBhvr>
                                      <p:to>
                                        <p:strVal val="visible"/>
                                      </p:to>
                                    </p:set>
                                    <p:animEffect transition="in" filter="fade">
                                      <p:cBhvr>
                                        <p:cTn id="41" dur="250"/>
                                        <p:tgtEl>
                                          <p:spTgt spid="563"/>
                                        </p:tgtEl>
                                      </p:cBhvr>
                                    </p:animEffect>
                                  </p:childTnLst>
                                </p:cTn>
                              </p:par>
                              <p:par>
                                <p:cTn id="42" presetID="42" presetClass="path" presetSubtype="0" decel="100000" fill="hold" nodeType="withEffect">
                                  <p:stCondLst>
                                    <p:cond delay="0"/>
                                  </p:stCondLst>
                                  <p:childTnLst>
                                    <p:animMotion origin="layout" path="M 2.08333E-7 3.33333E-6 L 2.08333E-7 0.25 " pathEditMode="relative" rAng="0" ptsTypes="AA">
                                      <p:cBhvr>
                                        <p:cTn id="43" dur="750" spd="-100000" fill="hold"/>
                                        <p:tgtEl>
                                          <p:spTgt spid="563"/>
                                        </p:tgtEl>
                                        <p:attrNameLst>
                                          <p:attrName>ppt_x</p:attrName>
                                          <p:attrName>ppt_y</p:attrName>
                                        </p:attrNameLst>
                                      </p:cBhvr>
                                      <p:rCtr x="0" y="12500"/>
                                    </p:animMotion>
                                  </p:childTnLst>
                                </p:cTn>
                              </p:par>
                              <p:par>
                                <p:cTn id="44" presetID="1" presetClass="entr" presetSubtype="0" fill="hold" grpId="0" nodeType="withEffect">
                                  <p:stCondLst>
                                    <p:cond delay="0"/>
                                  </p:stCondLst>
                                  <p:childTnLst>
                                    <p:set>
                                      <p:cBhvr>
                                        <p:cTn id="45" dur="1" fill="hold">
                                          <p:stCondLst>
                                            <p:cond delay="499"/>
                                          </p:stCondLst>
                                        </p:cTn>
                                        <p:tgtEl>
                                          <p:spTgt spid="122"/>
                                        </p:tgtEl>
                                        <p:attrNameLst>
                                          <p:attrName>style.visibility</p:attrName>
                                        </p:attrNameLst>
                                      </p:cBhvr>
                                      <p:to>
                                        <p:strVal val="visible"/>
                                      </p:to>
                                    </p:set>
                                  </p:childTnLst>
                                </p:cTn>
                              </p:par>
                              <p:par>
                                <p:cTn id="46" presetID="6" presetClass="emph" presetSubtype="0" accel="100000" autoRev="1" fill="hold" grpId="1" nodeType="withEffect">
                                  <p:stCondLst>
                                    <p:cond delay="0"/>
                                  </p:stCondLst>
                                  <p:childTnLst>
                                    <p:animScale>
                                      <p:cBhvr>
                                        <p:cTn id="47" dur="500" fill="hold"/>
                                        <p:tgtEl>
                                          <p:spTgt spid="122"/>
                                        </p:tgtEl>
                                      </p:cBhvr>
                                      <p:by x="0" y="0"/>
                                    </p:animScale>
                                  </p:childTnLst>
                                </p:cTn>
                              </p:par>
                              <p:par>
                                <p:cTn id="48" presetID="1" presetClass="entr" presetSubtype="0" fill="hold" grpId="0" nodeType="withEffect">
                                  <p:stCondLst>
                                    <p:cond delay="0"/>
                                  </p:stCondLst>
                                  <p:childTnLst>
                                    <p:set>
                                      <p:cBhvr>
                                        <p:cTn id="49" dur="1" fill="hold">
                                          <p:stCondLst>
                                            <p:cond delay="499"/>
                                          </p:stCondLst>
                                        </p:cTn>
                                        <p:tgtEl>
                                          <p:spTgt spid="117"/>
                                        </p:tgtEl>
                                        <p:attrNameLst>
                                          <p:attrName>style.visibility</p:attrName>
                                        </p:attrNameLst>
                                      </p:cBhvr>
                                      <p:to>
                                        <p:strVal val="visible"/>
                                      </p:to>
                                    </p:set>
                                  </p:childTnLst>
                                </p:cTn>
                              </p:par>
                              <p:par>
                                <p:cTn id="50" presetID="6" presetClass="emph" presetSubtype="0" accel="100000" autoRev="1" fill="hold" grpId="1" nodeType="withEffect">
                                  <p:stCondLst>
                                    <p:cond delay="0"/>
                                  </p:stCondLst>
                                  <p:childTnLst>
                                    <p:animScale>
                                      <p:cBhvr>
                                        <p:cTn id="51" dur="500" fill="hold"/>
                                        <p:tgtEl>
                                          <p:spTgt spid="117"/>
                                        </p:tgtEl>
                                      </p:cBhvr>
                                      <p:by x="0" y="0"/>
                                    </p:animScale>
                                  </p:childTnLst>
                                </p:cTn>
                              </p:par>
                              <p:par>
                                <p:cTn id="52" presetID="16" presetClass="entr" presetSubtype="42" fill="hold" nodeType="withEffect">
                                  <p:stCondLst>
                                    <p:cond delay="0"/>
                                  </p:stCondLst>
                                  <p:childTnLst>
                                    <p:set>
                                      <p:cBhvr>
                                        <p:cTn id="53" dur="1" fill="hold">
                                          <p:stCondLst>
                                            <p:cond delay="0"/>
                                          </p:stCondLst>
                                        </p:cTn>
                                        <p:tgtEl>
                                          <p:spTgt spid="582"/>
                                        </p:tgtEl>
                                        <p:attrNameLst>
                                          <p:attrName>style.visibility</p:attrName>
                                        </p:attrNameLst>
                                      </p:cBhvr>
                                      <p:to>
                                        <p:strVal val="visible"/>
                                      </p:to>
                                    </p:set>
                                    <p:animEffect transition="in" filter="barn(outHorizontal)">
                                      <p:cBhvr>
                                        <p:cTn id="54" dur="500"/>
                                        <p:tgtEl>
                                          <p:spTgt spid="582"/>
                                        </p:tgtEl>
                                      </p:cBhvr>
                                    </p:animEffect>
                                  </p:childTnLst>
                                </p:cTn>
                              </p:par>
                            </p:childTnLst>
                          </p:cTn>
                        </p:par>
                        <p:par>
                          <p:cTn id="55" fill="hold">
                            <p:stCondLst>
                              <p:cond delay="4000"/>
                            </p:stCondLst>
                            <p:childTnLst>
                              <p:par>
                                <p:cTn id="56" presetID="10" presetClass="entr" presetSubtype="0" fill="hold" nodeType="afterEffect">
                                  <p:stCondLst>
                                    <p:cond delay="400"/>
                                  </p:stCondLst>
                                  <p:childTnLst>
                                    <p:set>
                                      <p:cBhvr>
                                        <p:cTn id="57" dur="1" fill="hold">
                                          <p:stCondLst>
                                            <p:cond delay="0"/>
                                          </p:stCondLst>
                                        </p:cTn>
                                        <p:tgtEl>
                                          <p:spTgt spid="569"/>
                                        </p:tgtEl>
                                        <p:attrNameLst>
                                          <p:attrName>style.visibility</p:attrName>
                                        </p:attrNameLst>
                                      </p:cBhvr>
                                      <p:to>
                                        <p:strVal val="visible"/>
                                      </p:to>
                                    </p:set>
                                    <p:animEffect transition="in" filter="fade">
                                      <p:cBhvr>
                                        <p:cTn id="58" dur="250"/>
                                        <p:tgtEl>
                                          <p:spTgt spid="569"/>
                                        </p:tgtEl>
                                      </p:cBhvr>
                                    </p:animEffect>
                                  </p:childTnLst>
                                </p:cTn>
                              </p:par>
                              <p:par>
                                <p:cTn id="59" presetID="42" presetClass="path" presetSubtype="0" decel="100000" fill="hold" nodeType="withEffect">
                                  <p:stCondLst>
                                    <p:cond delay="0"/>
                                  </p:stCondLst>
                                  <p:childTnLst>
                                    <p:animMotion origin="layout" path="M 4.375E-6 3.33333E-6 L 4.375E-6 0.25 " pathEditMode="relative" rAng="0" ptsTypes="AA">
                                      <p:cBhvr>
                                        <p:cTn id="60" dur="750" spd="-100000" fill="hold"/>
                                        <p:tgtEl>
                                          <p:spTgt spid="569"/>
                                        </p:tgtEl>
                                        <p:attrNameLst>
                                          <p:attrName>ppt_x</p:attrName>
                                          <p:attrName>ppt_y</p:attrName>
                                        </p:attrNameLst>
                                      </p:cBhvr>
                                      <p:rCtr x="0" y="12500"/>
                                    </p:animMotion>
                                  </p:childTnLst>
                                </p:cTn>
                              </p:par>
                              <p:par>
                                <p:cTn id="61" presetID="1" presetClass="entr" presetSubtype="0" fill="hold" grpId="0" nodeType="withEffect">
                                  <p:stCondLst>
                                    <p:cond delay="0"/>
                                  </p:stCondLst>
                                  <p:childTnLst>
                                    <p:set>
                                      <p:cBhvr>
                                        <p:cTn id="62" dur="1" fill="hold">
                                          <p:stCondLst>
                                            <p:cond delay="499"/>
                                          </p:stCondLst>
                                        </p:cTn>
                                        <p:tgtEl>
                                          <p:spTgt spid="120"/>
                                        </p:tgtEl>
                                        <p:attrNameLst>
                                          <p:attrName>style.visibility</p:attrName>
                                        </p:attrNameLst>
                                      </p:cBhvr>
                                      <p:to>
                                        <p:strVal val="visible"/>
                                      </p:to>
                                    </p:set>
                                  </p:childTnLst>
                                </p:cTn>
                              </p:par>
                              <p:par>
                                <p:cTn id="63" presetID="6" presetClass="emph" presetSubtype="0" accel="100000" autoRev="1" fill="hold" grpId="1" nodeType="withEffect">
                                  <p:stCondLst>
                                    <p:cond delay="0"/>
                                  </p:stCondLst>
                                  <p:childTnLst>
                                    <p:animScale>
                                      <p:cBhvr>
                                        <p:cTn id="64" dur="500" fill="hold"/>
                                        <p:tgtEl>
                                          <p:spTgt spid="120"/>
                                        </p:tgtEl>
                                      </p:cBhvr>
                                      <p:by x="0" y="0"/>
                                    </p:animScale>
                                  </p:childTnLst>
                                </p:cTn>
                              </p:par>
                              <p:par>
                                <p:cTn id="65" presetID="1" presetClass="entr" presetSubtype="0" fill="hold" grpId="0" nodeType="withEffect">
                                  <p:stCondLst>
                                    <p:cond delay="0"/>
                                  </p:stCondLst>
                                  <p:childTnLst>
                                    <p:set>
                                      <p:cBhvr>
                                        <p:cTn id="66" dur="1" fill="hold">
                                          <p:stCondLst>
                                            <p:cond delay="499"/>
                                          </p:stCondLst>
                                        </p:cTn>
                                        <p:tgtEl>
                                          <p:spTgt spid="116"/>
                                        </p:tgtEl>
                                        <p:attrNameLst>
                                          <p:attrName>style.visibility</p:attrName>
                                        </p:attrNameLst>
                                      </p:cBhvr>
                                      <p:to>
                                        <p:strVal val="visible"/>
                                      </p:to>
                                    </p:set>
                                  </p:childTnLst>
                                </p:cTn>
                              </p:par>
                              <p:par>
                                <p:cTn id="67" presetID="6" presetClass="emph" presetSubtype="0" accel="100000" autoRev="1" fill="hold" grpId="1" nodeType="withEffect">
                                  <p:stCondLst>
                                    <p:cond delay="0"/>
                                  </p:stCondLst>
                                  <p:childTnLst>
                                    <p:animScale>
                                      <p:cBhvr>
                                        <p:cTn id="68" dur="500" fill="hold"/>
                                        <p:tgtEl>
                                          <p:spTgt spid="116"/>
                                        </p:tgtEl>
                                      </p:cBhvr>
                                      <p:by x="0" y="0"/>
                                    </p:animScale>
                                  </p:childTnLst>
                                </p:cTn>
                              </p:par>
                              <p:par>
                                <p:cTn id="69" presetID="16" presetClass="entr" presetSubtype="42" fill="hold" nodeType="withEffect">
                                  <p:stCondLst>
                                    <p:cond delay="0"/>
                                  </p:stCondLst>
                                  <p:childTnLst>
                                    <p:set>
                                      <p:cBhvr>
                                        <p:cTn id="70" dur="1" fill="hold">
                                          <p:stCondLst>
                                            <p:cond delay="0"/>
                                          </p:stCondLst>
                                        </p:cTn>
                                        <p:tgtEl>
                                          <p:spTgt spid="581"/>
                                        </p:tgtEl>
                                        <p:attrNameLst>
                                          <p:attrName>style.visibility</p:attrName>
                                        </p:attrNameLst>
                                      </p:cBhvr>
                                      <p:to>
                                        <p:strVal val="visible"/>
                                      </p:to>
                                    </p:set>
                                    <p:animEffect transition="in" filter="barn(outHorizontal)">
                                      <p:cBhvr>
                                        <p:cTn id="71" dur="500"/>
                                        <p:tgtEl>
                                          <p:spTgt spid="581"/>
                                        </p:tgtEl>
                                      </p:cBhvr>
                                    </p:animEffect>
                                  </p:childTnLst>
                                </p:cTn>
                              </p:par>
                            </p:childTnLst>
                          </p:cTn>
                        </p:par>
                        <p:par>
                          <p:cTn id="72" fill="hold">
                            <p:stCondLst>
                              <p:cond delay="5000"/>
                            </p:stCondLst>
                            <p:childTnLst>
                              <p:par>
                                <p:cTn id="73" presetID="10" presetClass="entr" presetSubtype="0" fill="hold" nodeType="afterEffect">
                                  <p:stCondLst>
                                    <p:cond delay="400"/>
                                  </p:stCondLst>
                                  <p:childTnLst>
                                    <p:set>
                                      <p:cBhvr>
                                        <p:cTn id="74" dur="1" fill="hold">
                                          <p:stCondLst>
                                            <p:cond delay="0"/>
                                          </p:stCondLst>
                                        </p:cTn>
                                        <p:tgtEl>
                                          <p:spTgt spid="566"/>
                                        </p:tgtEl>
                                        <p:attrNameLst>
                                          <p:attrName>style.visibility</p:attrName>
                                        </p:attrNameLst>
                                      </p:cBhvr>
                                      <p:to>
                                        <p:strVal val="visible"/>
                                      </p:to>
                                    </p:set>
                                    <p:animEffect transition="in" filter="fade">
                                      <p:cBhvr>
                                        <p:cTn id="75" dur="250"/>
                                        <p:tgtEl>
                                          <p:spTgt spid="566"/>
                                        </p:tgtEl>
                                      </p:cBhvr>
                                    </p:animEffect>
                                  </p:childTnLst>
                                </p:cTn>
                              </p:par>
                              <p:par>
                                <p:cTn id="76" presetID="42" presetClass="path" presetSubtype="0" decel="100000" fill="hold" nodeType="withEffect">
                                  <p:stCondLst>
                                    <p:cond delay="0"/>
                                  </p:stCondLst>
                                  <p:childTnLst>
                                    <p:animMotion origin="layout" path="M -1.45833E-6 -3.7037E-6 L -1.45833E-6 0.25 " pathEditMode="relative" rAng="0" ptsTypes="AA">
                                      <p:cBhvr>
                                        <p:cTn id="77" dur="750" spd="-100000" fill="hold"/>
                                        <p:tgtEl>
                                          <p:spTgt spid="566"/>
                                        </p:tgtEl>
                                        <p:attrNameLst>
                                          <p:attrName>ppt_x</p:attrName>
                                          <p:attrName>ppt_y</p:attrName>
                                        </p:attrNameLst>
                                      </p:cBhvr>
                                      <p:rCtr x="0" y="12500"/>
                                    </p:animMotion>
                                  </p:childTnLst>
                                </p:cTn>
                              </p:par>
                              <p:par>
                                <p:cTn id="78" presetID="16" presetClass="entr" presetSubtype="42" fill="hold" nodeType="withEffect">
                                  <p:stCondLst>
                                    <p:cond delay="0"/>
                                  </p:stCondLst>
                                  <p:childTnLst>
                                    <p:set>
                                      <p:cBhvr>
                                        <p:cTn id="79" dur="1" fill="hold">
                                          <p:stCondLst>
                                            <p:cond delay="0"/>
                                          </p:stCondLst>
                                        </p:cTn>
                                        <p:tgtEl>
                                          <p:spTgt spid="580"/>
                                        </p:tgtEl>
                                        <p:attrNameLst>
                                          <p:attrName>style.visibility</p:attrName>
                                        </p:attrNameLst>
                                      </p:cBhvr>
                                      <p:to>
                                        <p:strVal val="visible"/>
                                      </p:to>
                                    </p:set>
                                    <p:animEffect transition="in" filter="barn(outHorizontal)">
                                      <p:cBhvr>
                                        <p:cTn id="80" dur="500"/>
                                        <p:tgtEl>
                                          <p:spTgt spid="580"/>
                                        </p:tgtEl>
                                      </p:cBhvr>
                                    </p:animEffect>
                                  </p:childTnLst>
                                </p:cTn>
                              </p:par>
                            </p:childTnLst>
                          </p:cTn>
                        </p:par>
                        <p:par>
                          <p:cTn id="81" fill="hold">
                            <p:stCondLst>
                              <p:cond delay="5750"/>
                            </p:stCondLst>
                            <p:childTnLst>
                              <p:par>
                                <p:cTn id="82" presetID="16" presetClass="entr" presetSubtype="42" fill="hold" nodeType="afterEffect">
                                  <p:stCondLst>
                                    <p:cond delay="0"/>
                                  </p:stCondLst>
                                  <p:childTnLst>
                                    <p:set>
                                      <p:cBhvr>
                                        <p:cTn id="83" dur="1" fill="hold">
                                          <p:stCondLst>
                                            <p:cond delay="0"/>
                                          </p:stCondLst>
                                        </p:cTn>
                                        <p:tgtEl>
                                          <p:spTgt spid="578"/>
                                        </p:tgtEl>
                                        <p:attrNameLst>
                                          <p:attrName>style.visibility</p:attrName>
                                        </p:attrNameLst>
                                      </p:cBhvr>
                                      <p:to>
                                        <p:strVal val="visible"/>
                                      </p:to>
                                    </p:set>
                                    <p:animEffect transition="in" filter="barn(outHorizontal)">
                                      <p:cBhvr>
                                        <p:cTn id="84" dur="500"/>
                                        <p:tgtEl>
                                          <p:spTgt spid="5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120" grpId="1" animBg="1"/>
      <p:bldP spid="121" grpId="0" animBg="1"/>
      <p:bldP spid="121" grpId="1" animBg="1"/>
      <p:bldP spid="122" grpId="0" animBg="1"/>
      <p:bldP spid="122" grpId="1" animBg="1"/>
      <p:bldP spid="128" grpId="0" animBg="1"/>
      <p:bldP spid="128" grpId="1" animBg="1"/>
      <p:bldP spid="114" grpId="0"/>
      <p:bldP spid="114" grpId="1"/>
      <p:bldP spid="115" grpId="0"/>
      <p:bldP spid="115" grpId="1"/>
      <p:bldP spid="116" grpId="0"/>
      <p:bldP spid="116" grpId="1"/>
      <p:bldP spid="117" grpId="0"/>
      <p:bldP spid="117"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DEAB57-60D8-4D41-AC11-606AF55321B3}"/>
              </a:ext>
            </a:extLst>
          </p:cNvPr>
          <p:cNvSpPr>
            <a:spLocks noGrp="1"/>
          </p:cNvSpPr>
          <p:nvPr>
            <p:ph type="title"/>
          </p:nvPr>
        </p:nvSpPr>
        <p:spPr/>
        <p:txBody>
          <a:bodyPr/>
          <a:lstStyle/>
          <a:p>
            <a:pPr algn="ctr"/>
            <a:r>
              <a:rPr lang="en-US"/>
              <a:t>Azure Active Directory</a:t>
            </a:r>
          </a:p>
        </p:txBody>
      </p:sp>
      <p:sp>
        <p:nvSpPr>
          <p:cNvPr id="6" name="Rectangle 5">
            <a:extLst>
              <a:ext uri="{FF2B5EF4-FFF2-40B4-BE49-F238E27FC236}">
                <a16:creationId xmlns:a16="http://schemas.microsoft.com/office/drawing/2014/main" id="{8A8BC7AA-6613-45FD-AE45-0F542A974541}"/>
              </a:ext>
            </a:extLst>
          </p:cNvPr>
          <p:cNvSpPr/>
          <p:nvPr/>
        </p:nvSpPr>
        <p:spPr>
          <a:xfrm>
            <a:off x="681512" y="1223720"/>
            <a:ext cx="10828994" cy="468972"/>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 Identity and access management for employees, partners, and customers —</a:t>
            </a:r>
          </a:p>
        </p:txBody>
      </p:sp>
      <p:pic>
        <p:nvPicPr>
          <p:cNvPr id="66" name="Picture 65">
            <a:extLst>
              <a:ext uri="{FF2B5EF4-FFF2-40B4-BE49-F238E27FC236}">
                <a16:creationId xmlns:a16="http://schemas.microsoft.com/office/drawing/2014/main" id="{8632CF1B-1206-4FB5-84BA-61FE583C81F1}"/>
              </a:ext>
            </a:extLst>
          </p:cNvPr>
          <p:cNvPicPr>
            <a:picLocks noChangeAspect="1"/>
          </p:cNvPicPr>
          <p:nvPr/>
        </p:nvPicPr>
        <p:blipFill rotWithShape="1">
          <a:blip r:embed="rId3"/>
          <a:srcRect l="33798" t="16892" r="25889" b="22631"/>
          <a:stretch/>
        </p:blipFill>
        <p:spPr>
          <a:xfrm>
            <a:off x="6372999" y="2357837"/>
            <a:ext cx="2333671" cy="2333346"/>
          </a:xfrm>
          <a:prstGeom prst="ellipse">
            <a:avLst/>
          </a:prstGeom>
        </p:spPr>
      </p:pic>
      <p:pic>
        <p:nvPicPr>
          <p:cNvPr id="68" name="Picture 67">
            <a:extLst>
              <a:ext uri="{FF2B5EF4-FFF2-40B4-BE49-F238E27FC236}">
                <a16:creationId xmlns:a16="http://schemas.microsoft.com/office/drawing/2014/main" id="{FB6EB2CC-48DB-4432-A1EB-E5A2AF5793C0}"/>
              </a:ext>
            </a:extLst>
          </p:cNvPr>
          <p:cNvPicPr>
            <a:picLocks noChangeAspect="1"/>
          </p:cNvPicPr>
          <p:nvPr/>
        </p:nvPicPr>
        <p:blipFill rotWithShape="1">
          <a:blip r:embed="rId4"/>
          <a:srcRect l="30105" t="16601" r="22319" b="16601"/>
          <a:stretch/>
        </p:blipFill>
        <p:spPr>
          <a:xfrm>
            <a:off x="9271950" y="2357837"/>
            <a:ext cx="2333669" cy="2333669"/>
          </a:xfrm>
          <a:prstGeom prst="ellipse">
            <a:avLst/>
          </a:prstGeom>
        </p:spPr>
      </p:pic>
      <p:pic>
        <p:nvPicPr>
          <p:cNvPr id="70" name="Picture 69">
            <a:extLst>
              <a:ext uri="{FF2B5EF4-FFF2-40B4-BE49-F238E27FC236}">
                <a16:creationId xmlns:a16="http://schemas.microsoft.com/office/drawing/2014/main" id="{D316ADAA-94B7-4B6B-A978-4226C4CE922F}"/>
              </a:ext>
            </a:extLst>
          </p:cNvPr>
          <p:cNvPicPr>
            <a:picLocks noChangeAspect="1"/>
          </p:cNvPicPr>
          <p:nvPr/>
        </p:nvPicPr>
        <p:blipFill rotWithShape="1">
          <a:blip r:embed="rId5"/>
          <a:srcRect l="52532" t="11942" r="4671" b="11942"/>
          <a:stretch/>
        </p:blipFill>
        <p:spPr>
          <a:xfrm>
            <a:off x="3479412" y="2357837"/>
            <a:ext cx="2333669" cy="2333669"/>
          </a:xfrm>
          <a:prstGeom prst="ellipse">
            <a:avLst/>
          </a:prstGeom>
        </p:spPr>
      </p:pic>
      <p:pic>
        <p:nvPicPr>
          <p:cNvPr id="75" name="MASK">
            <a:extLst>
              <a:ext uri="{FF2B5EF4-FFF2-40B4-BE49-F238E27FC236}">
                <a16:creationId xmlns:a16="http://schemas.microsoft.com/office/drawing/2014/main" id="{D97B4130-83A3-4B26-B3BB-8C5C3BDA3AA3}"/>
              </a:ext>
            </a:extLst>
          </p:cNvPr>
          <p:cNvPicPr>
            <a:picLocks noChangeAspect="1"/>
          </p:cNvPicPr>
          <p:nvPr/>
        </p:nvPicPr>
        <p:blipFill rotWithShape="1">
          <a:blip r:embed="rId6"/>
          <a:srcRect l="21912" r="21912"/>
          <a:stretch/>
        </p:blipFill>
        <p:spPr>
          <a:xfrm>
            <a:off x="3479575" y="2357837"/>
            <a:ext cx="2333345" cy="2333345"/>
          </a:xfrm>
          <a:prstGeom prst="ellipse">
            <a:avLst/>
          </a:prstGeom>
        </p:spPr>
      </p:pic>
      <p:pic>
        <p:nvPicPr>
          <p:cNvPr id="76" name="MASK">
            <a:extLst>
              <a:ext uri="{FF2B5EF4-FFF2-40B4-BE49-F238E27FC236}">
                <a16:creationId xmlns:a16="http://schemas.microsoft.com/office/drawing/2014/main" id="{F2C53BE9-6E22-4524-9E82-E67005E30308}"/>
              </a:ext>
            </a:extLst>
          </p:cNvPr>
          <p:cNvPicPr>
            <a:picLocks noChangeAspect="1"/>
          </p:cNvPicPr>
          <p:nvPr/>
        </p:nvPicPr>
        <p:blipFill rotWithShape="1">
          <a:blip r:embed="rId6"/>
          <a:srcRect l="21912" r="21912"/>
          <a:stretch/>
        </p:blipFill>
        <p:spPr>
          <a:xfrm>
            <a:off x="6373163" y="2358000"/>
            <a:ext cx="2333345" cy="2333345"/>
          </a:xfrm>
          <a:prstGeom prst="ellipse">
            <a:avLst/>
          </a:prstGeom>
        </p:spPr>
      </p:pic>
      <p:pic>
        <p:nvPicPr>
          <p:cNvPr id="77" name="MASK">
            <a:extLst>
              <a:ext uri="{FF2B5EF4-FFF2-40B4-BE49-F238E27FC236}">
                <a16:creationId xmlns:a16="http://schemas.microsoft.com/office/drawing/2014/main" id="{AE643B2B-350B-40FE-B814-1610D610B179}"/>
              </a:ext>
            </a:extLst>
          </p:cNvPr>
          <p:cNvPicPr>
            <a:picLocks noChangeAspect="1"/>
          </p:cNvPicPr>
          <p:nvPr/>
        </p:nvPicPr>
        <p:blipFill rotWithShape="1">
          <a:blip r:embed="rId6"/>
          <a:srcRect l="21912" r="21912"/>
          <a:stretch/>
        </p:blipFill>
        <p:spPr>
          <a:xfrm>
            <a:off x="9272112" y="2358000"/>
            <a:ext cx="2333345" cy="2333345"/>
          </a:xfrm>
          <a:prstGeom prst="ellipse">
            <a:avLst/>
          </a:prstGeom>
        </p:spPr>
      </p:pic>
      <p:grpSp>
        <p:nvGrpSpPr>
          <p:cNvPr id="78" name="Group 77">
            <a:extLst>
              <a:ext uri="{FF2B5EF4-FFF2-40B4-BE49-F238E27FC236}">
                <a16:creationId xmlns:a16="http://schemas.microsoft.com/office/drawing/2014/main" id="{579A8DA5-3ED2-44A5-A8E9-4B1461EA76B5}"/>
              </a:ext>
            </a:extLst>
          </p:cNvPr>
          <p:cNvGrpSpPr/>
          <p:nvPr/>
        </p:nvGrpSpPr>
        <p:grpSpPr>
          <a:xfrm>
            <a:off x="9899313" y="2935308"/>
            <a:ext cx="1078943" cy="1178729"/>
            <a:chOff x="3719662" y="3677659"/>
            <a:chExt cx="722322" cy="789126"/>
          </a:xfrm>
        </p:grpSpPr>
        <p:sp>
          <p:nvSpPr>
            <p:cNvPr id="79" name="Freeform: Shape 78" descr="applcaitons and infrascture icon">
              <a:extLst>
                <a:ext uri="{FF2B5EF4-FFF2-40B4-BE49-F238E27FC236}">
                  <a16:creationId xmlns:a16="http://schemas.microsoft.com/office/drawing/2014/main" id="{6D530F76-3193-4972-AB9A-E89A13B32AEA}"/>
                </a:ext>
              </a:extLst>
            </p:cNvPr>
            <p:cNvSpPr/>
            <p:nvPr/>
          </p:nvSpPr>
          <p:spPr bwMode="auto">
            <a:xfrm flipV="1">
              <a:off x="3719662" y="4183409"/>
              <a:ext cx="514060" cy="28337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80" name="Group 79">
              <a:extLst>
                <a:ext uri="{FF2B5EF4-FFF2-40B4-BE49-F238E27FC236}">
                  <a16:creationId xmlns:a16="http://schemas.microsoft.com/office/drawing/2014/main" id="{4C60F483-C8CB-42B6-8A0E-0F11E0803DBC}"/>
                </a:ext>
              </a:extLst>
            </p:cNvPr>
            <p:cNvGrpSpPr/>
            <p:nvPr/>
          </p:nvGrpSpPr>
          <p:grpSpPr>
            <a:xfrm>
              <a:off x="4111130" y="3677659"/>
              <a:ext cx="330854" cy="507305"/>
              <a:chOff x="7198185" y="1881461"/>
              <a:chExt cx="166688" cy="255587"/>
            </a:xfrm>
          </p:grpSpPr>
          <p:sp>
            <p:nvSpPr>
              <p:cNvPr id="81" name="Freeform 112">
                <a:extLst>
                  <a:ext uri="{FF2B5EF4-FFF2-40B4-BE49-F238E27FC236}">
                    <a16:creationId xmlns:a16="http://schemas.microsoft.com/office/drawing/2014/main" id="{4DB3F381-926C-4014-A805-2542F3A21B2C}"/>
                  </a:ext>
                </a:extLst>
              </p:cNvPr>
              <p:cNvSpPr>
                <a:spLocks/>
              </p:cNvSpPr>
              <p:nvPr/>
            </p:nvSpPr>
            <p:spPr bwMode="auto">
              <a:xfrm>
                <a:off x="7214060" y="1881461"/>
                <a:ext cx="134938" cy="112713"/>
              </a:xfrm>
              <a:custGeom>
                <a:avLst/>
                <a:gdLst>
                  <a:gd name="T0" fmla="*/ 36 w 36"/>
                  <a:gd name="T1" fmla="*/ 30 h 30"/>
                  <a:gd name="T2" fmla="*/ 36 w 36"/>
                  <a:gd name="T3" fmla="*/ 17 h 30"/>
                  <a:gd name="T4" fmla="*/ 36 w 36"/>
                  <a:gd name="T5" fmla="*/ 17 h 30"/>
                  <a:gd name="T6" fmla="*/ 18 w 36"/>
                  <a:gd name="T7" fmla="*/ 0 h 30"/>
                  <a:gd name="T8" fmla="*/ 0 w 36"/>
                  <a:gd name="T9" fmla="*/ 17 h 30"/>
                  <a:gd name="T10" fmla="*/ 0 w 36"/>
                  <a:gd name="T11" fmla="*/ 20 h 30"/>
                  <a:gd name="T12" fmla="*/ 0 w 36"/>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36" y="30"/>
                    </a:moveTo>
                    <a:cubicBezTo>
                      <a:pt x="36" y="17"/>
                      <a:pt x="36" y="17"/>
                      <a:pt x="36" y="17"/>
                    </a:cubicBezTo>
                    <a:cubicBezTo>
                      <a:pt x="36" y="17"/>
                      <a:pt x="36" y="17"/>
                      <a:pt x="36" y="17"/>
                    </a:cubicBezTo>
                    <a:cubicBezTo>
                      <a:pt x="36" y="7"/>
                      <a:pt x="28" y="0"/>
                      <a:pt x="18" y="0"/>
                    </a:cubicBezTo>
                    <a:cubicBezTo>
                      <a:pt x="8" y="0"/>
                      <a:pt x="0" y="7"/>
                      <a:pt x="0" y="17"/>
                    </a:cubicBezTo>
                    <a:cubicBezTo>
                      <a:pt x="0" y="17"/>
                      <a:pt x="0" y="20"/>
                      <a:pt x="0" y="20"/>
                    </a:cubicBezTo>
                    <a:cubicBezTo>
                      <a:pt x="0" y="30"/>
                      <a:pt x="0" y="30"/>
                      <a:pt x="0" y="30"/>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75" tIns="45688" rIns="91375" bIns="45688" numCol="1" anchor="t" anchorCtr="0" compatLnSpc="1">
                <a:prstTxWarp prst="textNoShape">
                  <a:avLst/>
                </a:prstTxWarp>
              </a:bodyPr>
              <a:lstStyle/>
              <a:p>
                <a:pPr marL="0" marR="0" lvl="0" indent="0" algn="l" defTabSz="913697" rtl="0" eaLnBrk="1" fontAlgn="auto" latinLnBrk="0" hangingPunct="1">
                  <a:lnSpc>
                    <a:spcPct val="100000"/>
                  </a:lnSpc>
                  <a:spcBef>
                    <a:spcPts val="0"/>
                  </a:spcBef>
                  <a:spcAft>
                    <a:spcPts val="0"/>
                  </a:spcAft>
                  <a:buClrTx/>
                  <a:buSzTx/>
                  <a:buFontTx/>
                  <a:buNone/>
                  <a:tabLst/>
                  <a:defRPr/>
                </a:pPr>
                <a:endParaRPr kumimoji="0" lang="en-US" sz="1096" b="1"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113">
                <a:extLst>
                  <a:ext uri="{FF2B5EF4-FFF2-40B4-BE49-F238E27FC236}">
                    <a16:creationId xmlns:a16="http://schemas.microsoft.com/office/drawing/2014/main" id="{CE322821-2992-413D-8549-8DE55E5ACC23}"/>
                  </a:ext>
                </a:extLst>
              </p:cNvPr>
              <p:cNvSpPr>
                <a:spLocks noEditPoints="1"/>
              </p:cNvSpPr>
              <p:nvPr/>
            </p:nvSpPr>
            <p:spPr bwMode="auto">
              <a:xfrm>
                <a:off x="7198185" y="2016398"/>
                <a:ext cx="166688" cy="120650"/>
              </a:xfrm>
              <a:custGeom>
                <a:avLst/>
                <a:gdLst>
                  <a:gd name="T0" fmla="*/ 42 w 44"/>
                  <a:gd name="T1" fmla="*/ 0 h 32"/>
                  <a:gd name="T2" fmla="*/ 2 w 44"/>
                  <a:gd name="T3" fmla="*/ 0 h 32"/>
                  <a:gd name="T4" fmla="*/ 0 w 44"/>
                  <a:gd name="T5" fmla="*/ 2 h 32"/>
                  <a:gd name="T6" fmla="*/ 0 w 44"/>
                  <a:gd name="T7" fmla="*/ 30 h 32"/>
                  <a:gd name="T8" fmla="*/ 2 w 44"/>
                  <a:gd name="T9" fmla="*/ 32 h 32"/>
                  <a:gd name="T10" fmla="*/ 42 w 44"/>
                  <a:gd name="T11" fmla="*/ 32 h 32"/>
                  <a:gd name="T12" fmla="*/ 44 w 44"/>
                  <a:gd name="T13" fmla="*/ 30 h 32"/>
                  <a:gd name="T14" fmla="*/ 44 w 44"/>
                  <a:gd name="T15" fmla="*/ 2 h 32"/>
                  <a:gd name="T16" fmla="*/ 42 w 44"/>
                  <a:gd name="T17" fmla="*/ 0 h 32"/>
                  <a:gd name="T18" fmla="*/ 23 w 44"/>
                  <a:gd name="T19" fmla="*/ 15 h 32"/>
                  <a:gd name="T20" fmla="*/ 24 w 44"/>
                  <a:gd name="T21" fmla="*/ 20 h 32"/>
                  <a:gd name="T22" fmla="*/ 24 w 44"/>
                  <a:gd name="T23" fmla="*/ 21 h 32"/>
                  <a:gd name="T24" fmla="*/ 23 w 44"/>
                  <a:gd name="T25" fmla="*/ 21 h 32"/>
                  <a:gd name="T26" fmla="*/ 21 w 44"/>
                  <a:gd name="T27" fmla="*/ 21 h 32"/>
                  <a:gd name="T28" fmla="*/ 20 w 44"/>
                  <a:gd name="T29" fmla="*/ 21 h 32"/>
                  <a:gd name="T30" fmla="*/ 20 w 44"/>
                  <a:gd name="T31" fmla="*/ 20 h 32"/>
                  <a:gd name="T32" fmla="*/ 21 w 44"/>
                  <a:gd name="T33" fmla="*/ 15 h 32"/>
                  <a:gd name="T34" fmla="*/ 18 w 44"/>
                  <a:gd name="T35" fmla="*/ 12 h 32"/>
                  <a:gd name="T36" fmla="*/ 22 w 44"/>
                  <a:gd name="T37" fmla="*/ 8 h 32"/>
                  <a:gd name="T38" fmla="*/ 26 w 44"/>
                  <a:gd name="T39" fmla="*/ 12 h 32"/>
                  <a:gd name="T40" fmla="*/ 23 w 44"/>
                  <a:gd name="T4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32">
                    <a:moveTo>
                      <a:pt x="42" y="0"/>
                    </a:moveTo>
                    <a:cubicBezTo>
                      <a:pt x="2" y="0"/>
                      <a:pt x="2" y="0"/>
                      <a:pt x="2" y="0"/>
                    </a:cubicBezTo>
                    <a:cubicBezTo>
                      <a:pt x="1" y="0"/>
                      <a:pt x="0" y="1"/>
                      <a:pt x="0" y="2"/>
                    </a:cubicBezTo>
                    <a:cubicBezTo>
                      <a:pt x="0" y="30"/>
                      <a:pt x="0" y="30"/>
                      <a:pt x="0" y="30"/>
                    </a:cubicBezTo>
                    <a:cubicBezTo>
                      <a:pt x="0" y="31"/>
                      <a:pt x="1" y="32"/>
                      <a:pt x="2" y="32"/>
                    </a:cubicBezTo>
                    <a:cubicBezTo>
                      <a:pt x="42" y="32"/>
                      <a:pt x="42" y="32"/>
                      <a:pt x="42" y="32"/>
                    </a:cubicBezTo>
                    <a:cubicBezTo>
                      <a:pt x="43" y="32"/>
                      <a:pt x="44" y="31"/>
                      <a:pt x="44" y="30"/>
                    </a:cubicBezTo>
                    <a:cubicBezTo>
                      <a:pt x="44" y="2"/>
                      <a:pt x="44" y="2"/>
                      <a:pt x="44" y="2"/>
                    </a:cubicBezTo>
                    <a:cubicBezTo>
                      <a:pt x="44" y="1"/>
                      <a:pt x="43" y="0"/>
                      <a:pt x="42" y="0"/>
                    </a:cubicBezTo>
                    <a:close/>
                    <a:moveTo>
                      <a:pt x="23" y="15"/>
                    </a:moveTo>
                    <a:cubicBezTo>
                      <a:pt x="24" y="20"/>
                      <a:pt x="24" y="20"/>
                      <a:pt x="24" y="20"/>
                    </a:cubicBezTo>
                    <a:cubicBezTo>
                      <a:pt x="24" y="20"/>
                      <a:pt x="24" y="21"/>
                      <a:pt x="24" y="21"/>
                    </a:cubicBezTo>
                    <a:cubicBezTo>
                      <a:pt x="24" y="21"/>
                      <a:pt x="24" y="21"/>
                      <a:pt x="23" y="21"/>
                    </a:cubicBezTo>
                    <a:cubicBezTo>
                      <a:pt x="21" y="21"/>
                      <a:pt x="21" y="21"/>
                      <a:pt x="21" y="21"/>
                    </a:cubicBezTo>
                    <a:cubicBezTo>
                      <a:pt x="20" y="21"/>
                      <a:pt x="20" y="21"/>
                      <a:pt x="20" y="21"/>
                    </a:cubicBezTo>
                    <a:cubicBezTo>
                      <a:pt x="20" y="21"/>
                      <a:pt x="20" y="20"/>
                      <a:pt x="20" y="20"/>
                    </a:cubicBezTo>
                    <a:cubicBezTo>
                      <a:pt x="21" y="15"/>
                      <a:pt x="21" y="15"/>
                      <a:pt x="21" y="15"/>
                    </a:cubicBezTo>
                    <a:cubicBezTo>
                      <a:pt x="19" y="14"/>
                      <a:pt x="18" y="13"/>
                      <a:pt x="18" y="12"/>
                    </a:cubicBezTo>
                    <a:cubicBezTo>
                      <a:pt x="18" y="10"/>
                      <a:pt x="20" y="8"/>
                      <a:pt x="22" y="8"/>
                    </a:cubicBezTo>
                    <a:cubicBezTo>
                      <a:pt x="24" y="8"/>
                      <a:pt x="26" y="10"/>
                      <a:pt x="26" y="12"/>
                    </a:cubicBezTo>
                    <a:cubicBezTo>
                      <a:pt x="26" y="13"/>
                      <a:pt x="25" y="14"/>
                      <a:pt x="23" y="15"/>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75" tIns="45688" rIns="91375" bIns="45688" numCol="1" anchor="t" anchorCtr="0" compatLnSpc="1">
                <a:prstTxWarp prst="textNoShape">
                  <a:avLst/>
                </a:prstTxWarp>
              </a:bodyPr>
              <a:lstStyle/>
              <a:p>
                <a:pPr marL="0" marR="0" lvl="0" indent="0" algn="l" defTabSz="913697" rtl="0" eaLnBrk="1" fontAlgn="auto" latinLnBrk="0" hangingPunct="1">
                  <a:lnSpc>
                    <a:spcPct val="100000"/>
                  </a:lnSpc>
                  <a:spcBef>
                    <a:spcPts val="0"/>
                  </a:spcBef>
                  <a:spcAft>
                    <a:spcPts val="0"/>
                  </a:spcAft>
                  <a:buClrTx/>
                  <a:buSzTx/>
                  <a:buFontTx/>
                  <a:buNone/>
                  <a:tabLst/>
                  <a:defRPr/>
                </a:pPr>
                <a:endParaRPr kumimoji="0" lang="en-US" sz="1096" b="1"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90" name="Group 89">
            <a:extLst>
              <a:ext uri="{FF2B5EF4-FFF2-40B4-BE49-F238E27FC236}">
                <a16:creationId xmlns:a16="http://schemas.microsoft.com/office/drawing/2014/main" id="{C239A2D5-8975-425D-BA1C-01882CD34F6C}"/>
              </a:ext>
            </a:extLst>
          </p:cNvPr>
          <p:cNvGrpSpPr>
            <a:grpSpLocks noChangeAspect="1"/>
          </p:cNvGrpSpPr>
          <p:nvPr/>
        </p:nvGrpSpPr>
        <p:grpSpPr>
          <a:xfrm>
            <a:off x="4087918" y="3056147"/>
            <a:ext cx="1105937" cy="937049"/>
            <a:chOff x="4947743" y="5339803"/>
            <a:chExt cx="825499" cy="706436"/>
          </a:xfrm>
        </p:grpSpPr>
        <p:sp>
          <p:nvSpPr>
            <p:cNvPr id="91" name="Freeform 5">
              <a:extLst>
                <a:ext uri="{FF2B5EF4-FFF2-40B4-BE49-F238E27FC236}">
                  <a16:creationId xmlns:a16="http://schemas.microsoft.com/office/drawing/2014/main" id="{51CC9A45-0311-484B-BF1A-41481CE56691}"/>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2" name="Freeform 6">
              <a:extLst>
                <a:ext uri="{FF2B5EF4-FFF2-40B4-BE49-F238E27FC236}">
                  <a16:creationId xmlns:a16="http://schemas.microsoft.com/office/drawing/2014/main" id="{564CC62E-AA30-434D-951A-5FA74CF870A3}"/>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Freeform 7">
              <a:extLst>
                <a:ext uri="{FF2B5EF4-FFF2-40B4-BE49-F238E27FC236}">
                  <a16:creationId xmlns:a16="http://schemas.microsoft.com/office/drawing/2014/main" id="{D92DF584-2D87-4611-A1FF-2F9E228A056E}"/>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Freeform 8">
              <a:extLst>
                <a:ext uri="{FF2B5EF4-FFF2-40B4-BE49-F238E27FC236}">
                  <a16:creationId xmlns:a16="http://schemas.microsoft.com/office/drawing/2014/main" id="{60DB3B4B-C6BB-4A0F-BD20-E42237D5BCBC}"/>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6" name="Line 9">
              <a:extLst>
                <a:ext uri="{FF2B5EF4-FFF2-40B4-BE49-F238E27FC236}">
                  <a16:creationId xmlns:a16="http://schemas.microsoft.com/office/drawing/2014/main" id="{1EC23B2A-E124-4DA6-B6DB-7B33DD9FCC34}"/>
                </a:ext>
              </a:extLst>
            </p:cNvPr>
            <p:cNvSpPr>
              <a:spLocks noChangeShapeType="1"/>
            </p:cNvSpPr>
            <p:nvPr/>
          </p:nvSpPr>
          <p:spPr bwMode="auto">
            <a:xfrm flipH="1" flipV="1">
              <a:off x="5468442" y="5963690"/>
              <a:ext cx="3048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7" name="Line 10">
              <a:extLst>
                <a:ext uri="{FF2B5EF4-FFF2-40B4-BE49-F238E27FC236}">
                  <a16:creationId xmlns:a16="http://schemas.microsoft.com/office/drawing/2014/main" id="{6997FCDD-9D3E-4F72-9A19-CF9AC8EE3795}"/>
                </a:ext>
              </a:extLst>
            </p:cNvPr>
            <p:cNvSpPr>
              <a:spLocks noChangeShapeType="1"/>
            </p:cNvSpPr>
            <p:nvPr/>
          </p:nvSpPr>
          <p:spPr bwMode="auto">
            <a:xfrm>
              <a:off x="5468442" y="5543002"/>
              <a:ext cx="304800" cy="4763"/>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98" name="Digital_Transformation">
            <a:extLst>
              <a:ext uri="{FF2B5EF4-FFF2-40B4-BE49-F238E27FC236}">
                <a16:creationId xmlns:a16="http://schemas.microsoft.com/office/drawing/2014/main" id="{67DFAF08-A793-4DB4-886F-3FFDEF43CE59}"/>
              </a:ext>
            </a:extLst>
          </p:cNvPr>
          <p:cNvSpPr>
            <a:spLocks noChangeAspect="1" noEditPoints="1"/>
          </p:cNvSpPr>
          <p:nvPr/>
        </p:nvSpPr>
        <p:spPr bwMode="auto">
          <a:xfrm>
            <a:off x="6982531" y="3226328"/>
            <a:ext cx="1114606" cy="596689"/>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4" name="Rectangle 43">
            <a:extLst>
              <a:ext uri="{FF2B5EF4-FFF2-40B4-BE49-F238E27FC236}">
                <a16:creationId xmlns:a16="http://schemas.microsoft.com/office/drawing/2014/main" id="{760EC2FD-D068-4D74-9025-A2E5422F4A36}"/>
              </a:ext>
            </a:extLst>
          </p:cNvPr>
          <p:cNvSpPr/>
          <p:nvPr/>
        </p:nvSpPr>
        <p:spPr>
          <a:xfrm>
            <a:off x="3269480" y="4802296"/>
            <a:ext cx="2742811" cy="811389"/>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nchorCtr="0"/>
          <a:lstStyle/>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Facilitate collaboration</a:t>
            </a:r>
          </a:p>
        </p:txBody>
      </p:sp>
      <p:sp>
        <p:nvSpPr>
          <p:cNvPr id="45" name="Rectangle 44">
            <a:extLst>
              <a:ext uri="{FF2B5EF4-FFF2-40B4-BE49-F238E27FC236}">
                <a16:creationId xmlns:a16="http://schemas.microsoft.com/office/drawing/2014/main" id="{7C7E5F2B-BD9C-4063-88ED-5CCC01E327DE}"/>
              </a:ext>
            </a:extLst>
          </p:cNvPr>
          <p:cNvSpPr/>
          <p:nvPr/>
        </p:nvSpPr>
        <p:spPr>
          <a:xfrm>
            <a:off x="9067379" y="4802296"/>
            <a:ext cx="2742811" cy="836007"/>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nchorCtr="0"/>
          <a:lstStyle/>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Enhance security</a:t>
            </a:r>
            <a:b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br>
            <a: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and compliance</a:t>
            </a:r>
          </a:p>
        </p:txBody>
      </p:sp>
      <p:sp>
        <p:nvSpPr>
          <p:cNvPr id="46" name="Rectangle 45">
            <a:extLst>
              <a:ext uri="{FF2B5EF4-FFF2-40B4-BE49-F238E27FC236}">
                <a16:creationId xmlns:a16="http://schemas.microsoft.com/office/drawing/2014/main" id="{DD50E809-074E-45DC-B4DF-F6B9FA33E5EC}"/>
              </a:ext>
            </a:extLst>
          </p:cNvPr>
          <p:cNvSpPr/>
          <p:nvPr/>
        </p:nvSpPr>
        <p:spPr>
          <a:xfrm>
            <a:off x="370532" y="4802296"/>
            <a:ext cx="2742811" cy="831986"/>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nchorCtr="0"/>
          <a:lstStyle/>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Provide seamless access</a:t>
            </a:r>
          </a:p>
        </p:txBody>
      </p:sp>
      <p:sp>
        <p:nvSpPr>
          <p:cNvPr id="47" name="Rectangle 46">
            <a:extLst>
              <a:ext uri="{FF2B5EF4-FFF2-40B4-BE49-F238E27FC236}">
                <a16:creationId xmlns:a16="http://schemas.microsoft.com/office/drawing/2014/main" id="{5422ED64-4217-434D-810A-DF4012B7231E}"/>
              </a:ext>
            </a:extLst>
          </p:cNvPr>
          <p:cNvSpPr/>
          <p:nvPr/>
        </p:nvSpPr>
        <p:spPr>
          <a:xfrm>
            <a:off x="6168429" y="4802296"/>
            <a:ext cx="2742811" cy="811389"/>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nchorCtr="0"/>
          <a:lstStyle/>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Unlock IT efficiencies</a:t>
            </a:r>
          </a:p>
        </p:txBody>
      </p:sp>
      <p:pic>
        <p:nvPicPr>
          <p:cNvPr id="49" name="pic 1">
            <a:extLst>
              <a:ext uri="{FF2B5EF4-FFF2-40B4-BE49-F238E27FC236}">
                <a16:creationId xmlns:a16="http://schemas.microsoft.com/office/drawing/2014/main" id="{2B6B009B-D5AF-4600-AECE-416C5231C65D}"/>
              </a:ext>
            </a:extLst>
          </p:cNvPr>
          <p:cNvPicPr>
            <a:picLocks noChangeAspect="1"/>
          </p:cNvPicPr>
          <p:nvPr/>
        </p:nvPicPr>
        <p:blipFill>
          <a:blip r:embed="rId7"/>
          <a:stretch>
            <a:fillRect/>
          </a:stretch>
        </p:blipFill>
        <p:spPr>
          <a:xfrm>
            <a:off x="578130" y="2361926"/>
            <a:ext cx="2327615" cy="2323539"/>
          </a:xfrm>
          <a:prstGeom prst="ellipse">
            <a:avLst/>
          </a:prstGeom>
          <a:ln>
            <a:noFill/>
          </a:ln>
        </p:spPr>
      </p:pic>
      <p:pic>
        <p:nvPicPr>
          <p:cNvPr id="50" name="MASK">
            <a:extLst>
              <a:ext uri="{FF2B5EF4-FFF2-40B4-BE49-F238E27FC236}">
                <a16:creationId xmlns:a16="http://schemas.microsoft.com/office/drawing/2014/main" id="{4E6960FB-F21C-4A2F-A72F-90FA7D7B51CD}"/>
              </a:ext>
            </a:extLst>
          </p:cNvPr>
          <p:cNvPicPr>
            <a:picLocks noChangeAspect="1"/>
          </p:cNvPicPr>
          <p:nvPr/>
        </p:nvPicPr>
        <p:blipFill rotWithShape="1">
          <a:blip r:embed="rId6"/>
          <a:srcRect l="21912" r="21912"/>
          <a:stretch/>
        </p:blipFill>
        <p:spPr>
          <a:xfrm>
            <a:off x="575265" y="2356044"/>
            <a:ext cx="2333345" cy="2333345"/>
          </a:xfrm>
          <a:prstGeom prst="ellipse">
            <a:avLst/>
          </a:prstGeom>
        </p:spPr>
      </p:pic>
      <p:grpSp>
        <p:nvGrpSpPr>
          <p:cNvPr id="51" name="Group 50">
            <a:extLst>
              <a:ext uri="{FF2B5EF4-FFF2-40B4-BE49-F238E27FC236}">
                <a16:creationId xmlns:a16="http://schemas.microsoft.com/office/drawing/2014/main" id="{277DA05B-BCF9-4126-9DD1-72CCD89CE98F}"/>
              </a:ext>
            </a:extLst>
          </p:cNvPr>
          <p:cNvGrpSpPr/>
          <p:nvPr/>
        </p:nvGrpSpPr>
        <p:grpSpPr>
          <a:xfrm>
            <a:off x="1056445" y="3262740"/>
            <a:ext cx="1370984" cy="523863"/>
            <a:chOff x="1853307" y="5422900"/>
            <a:chExt cx="917833" cy="350711"/>
          </a:xfrm>
        </p:grpSpPr>
        <p:sp>
          <p:nvSpPr>
            <p:cNvPr id="52" name="Freeform 5">
              <a:extLst>
                <a:ext uri="{FF2B5EF4-FFF2-40B4-BE49-F238E27FC236}">
                  <a16:creationId xmlns:a16="http://schemas.microsoft.com/office/drawing/2014/main" id="{F5DBEF59-7C4A-47D1-AC5B-AB7C18F00D01}"/>
                </a:ext>
              </a:extLst>
            </p:cNvPr>
            <p:cNvSpPr>
              <a:spLocks noEditPoints="1"/>
            </p:cNvSpPr>
            <p:nvPr/>
          </p:nvSpPr>
          <p:spPr bwMode="auto">
            <a:xfrm>
              <a:off x="1865119" y="5441852"/>
              <a:ext cx="105081" cy="1174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53" name="Group 52">
              <a:extLst>
                <a:ext uri="{FF2B5EF4-FFF2-40B4-BE49-F238E27FC236}">
                  <a16:creationId xmlns:a16="http://schemas.microsoft.com/office/drawing/2014/main" id="{A69EE9A1-4721-4EEC-9684-428C561ED53A}"/>
                </a:ext>
              </a:extLst>
            </p:cNvPr>
            <p:cNvGrpSpPr/>
            <p:nvPr/>
          </p:nvGrpSpPr>
          <p:grpSpPr>
            <a:xfrm>
              <a:off x="1853307" y="5641548"/>
              <a:ext cx="128705" cy="132063"/>
              <a:chOff x="993224" y="3454771"/>
              <a:chExt cx="462126" cy="474184"/>
            </a:xfrm>
          </p:grpSpPr>
          <p:sp>
            <p:nvSpPr>
              <p:cNvPr id="56" name="Freeform 100">
                <a:extLst>
                  <a:ext uri="{FF2B5EF4-FFF2-40B4-BE49-F238E27FC236}">
                    <a16:creationId xmlns:a16="http://schemas.microsoft.com/office/drawing/2014/main" id="{C60D6DA6-E859-4354-A921-EDB722B306F0}"/>
                  </a:ext>
                </a:extLst>
              </p:cNvPr>
              <p:cNvSpPr>
                <a:spLocks/>
              </p:cNvSpPr>
              <p:nvPr/>
            </p:nvSpPr>
            <p:spPr bwMode="auto">
              <a:xfrm>
                <a:off x="993224" y="3454771"/>
                <a:ext cx="237091" cy="474184"/>
              </a:xfrm>
              <a:custGeom>
                <a:avLst/>
                <a:gdLst>
                  <a:gd name="T0" fmla="*/ 163 w 163"/>
                  <a:gd name="T1" fmla="*/ 0 h 327"/>
                  <a:gd name="T2" fmla="*/ 87 w 163"/>
                  <a:gd name="T3" fmla="*/ 29 h 327"/>
                  <a:gd name="T4" fmla="*/ 2 w 163"/>
                  <a:gd name="T5" fmla="*/ 0 h 327"/>
                  <a:gd name="T6" fmla="*/ 16 w 163"/>
                  <a:gd name="T7" fmla="*/ 187 h 327"/>
                  <a:gd name="T8" fmla="*/ 163 w 163"/>
                  <a:gd name="T9" fmla="*/ 327 h 327"/>
                </a:gdLst>
                <a:ahLst/>
                <a:cxnLst>
                  <a:cxn ang="0">
                    <a:pos x="T0" y="T1"/>
                  </a:cxn>
                  <a:cxn ang="0">
                    <a:pos x="T2" y="T3"/>
                  </a:cxn>
                  <a:cxn ang="0">
                    <a:pos x="T4" y="T5"/>
                  </a:cxn>
                  <a:cxn ang="0">
                    <a:pos x="T6" y="T7"/>
                  </a:cxn>
                  <a:cxn ang="0">
                    <a:pos x="T8" y="T9"/>
                  </a:cxn>
                </a:cxnLst>
                <a:rect l="0" t="0" r="r" b="b"/>
                <a:pathLst>
                  <a:path w="163" h="327">
                    <a:moveTo>
                      <a:pt x="163" y="0"/>
                    </a:moveTo>
                    <a:cubicBezTo>
                      <a:pt x="163" y="0"/>
                      <a:pt x="137" y="29"/>
                      <a:pt x="87" y="29"/>
                    </a:cubicBezTo>
                    <a:cubicBezTo>
                      <a:pt x="38" y="29"/>
                      <a:pt x="2" y="0"/>
                      <a:pt x="2" y="0"/>
                    </a:cubicBezTo>
                    <a:cubicBezTo>
                      <a:pt x="2" y="0"/>
                      <a:pt x="0" y="146"/>
                      <a:pt x="16" y="187"/>
                    </a:cubicBezTo>
                    <a:cubicBezTo>
                      <a:pt x="35" y="234"/>
                      <a:pt x="70" y="289"/>
                      <a:pt x="163" y="327"/>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 name="Freeform 101">
                <a:extLst>
                  <a:ext uri="{FF2B5EF4-FFF2-40B4-BE49-F238E27FC236}">
                    <a16:creationId xmlns:a16="http://schemas.microsoft.com/office/drawing/2014/main" id="{B747021D-CB80-4108-8B83-46545E80DC56}"/>
                  </a:ext>
                </a:extLst>
              </p:cNvPr>
              <p:cNvSpPr>
                <a:spLocks/>
              </p:cNvSpPr>
              <p:nvPr/>
            </p:nvSpPr>
            <p:spPr bwMode="auto">
              <a:xfrm>
                <a:off x="1218259" y="3454771"/>
                <a:ext cx="237091" cy="474184"/>
              </a:xfrm>
              <a:custGeom>
                <a:avLst/>
                <a:gdLst>
                  <a:gd name="T0" fmla="*/ 4 w 163"/>
                  <a:gd name="T1" fmla="*/ 327 h 327"/>
                  <a:gd name="T2" fmla="*/ 147 w 163"/>
                  <a:gd name="T3" fmla="*/ 187 h 327"/>
                  <a:gd name="T4" fmla="*/ 161 w 163"/>
                  <a:gd name="T5" fmla="*/ 0 h 327"/>
                  <a:gd name="T6" fmla="*/ 76 w 163"/>
                  <a:gd name="T7" fmla="*/ 29 h 327"/>
                  <a:gd name="T8" fmla="*/ 0 w 163"/>
                  <a:gd name="T9" fmla="*/ 0 h 327"/>
                </a:gdLst>
                <a:ahLst/>
                <a:cxnLst>
                  <a:cxn ang="0">
                    <a:pos x="T0" y="T1"/>
                  </a:cxn>
                  <a:cxn ang="0">
                    <a:pos x="T2" y="T3"/>
                  </a:cxn>
                  <a:cxn ang="0">
                    <a:pos x="T4" y="T5"/>
                  </a:cxn>
                  <a:cxn ang="0">
                    <a:pos x="T6" y="T7"/>
                  </a:cxn>
                  <a:cxn ang="0">
                    <a:pos x="T8" y="T9"/>
                  </a:cxn>
                </a:cxnLst>
                <a:rect l="0" t="0" r="r" b="b"/>
                <a:pathLst>
                  <a:path w="163" h="327">
                    <a:moveTo>
                      <a:pt x="4" y="327"/>
                    </a:moveTo>
                    <a:cubicBezTo>
                      <a:pt x="96" y="289"/>
                      <a:pt x="128" y="234"/>
                      <a:pt x="147" y="187"/>
                    </a:cubicBezTo>
                    <a:cubicBezTo>
                      <a:pt x="163" y="146"/>
                      <a:pt x="161" y="0"/>
                      <a:pt x="161" y="0"/>
                    </a:cubicBezTo>
                    <a:cubicBezTo>
                      <a:pt x="161" y="0"/>
                      <a:pt x="126" y="29"/>
                      <a:pt x="76" y="29"/>
                    </a:cubicBezTo>
                    <a:cubicBezTo>
                      <a:pt x="26" y="29"/>
                      <a:pt x="0" y="0"/>
                      <a:pt x="0"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54" name="Rectangle 53">
              <a:extLst>
                <a:ext uri="{FF2B5EF4-FFF2-40B4-BE49-F238E27FC236}">
                  <a16:creationId xmlns:a16="http://schemas.microsoft.com/office/drawing/2014/main" id="{67EB3ED2-86DD-4081-96C1-E071092B401D}"/>
                </a:ext>
              </a:extLst>
            </p:cNvPr>
            <p:cNvSpPr/>
            <p:nvPr/>
          </p:nvSpPr>
          <p:spPr bwMode="black">
            <a:xfrm>
              <a:off x="2076831" y="5422900"/>
              <a:ext cx="694309" cy="145253"/>
            </a:xfrm>
            <a:prstGeom prst="rect">
              <a:avLst/>
            </a:prstGeom>
            <a:solidFill>
              <a:schemeClr val="bg1">
                <a:lumMod val="95000"/>
              </a:schemeClr>
            </a:solidFill>
            <a:ln w="12700">
              <a:solidFill>
                <a:schemeClr val="tx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a:ln>
                    <a:noFill/>
                  </a:ln>
                  <a:solidFill>
                    <a:srgbClr val="353535"/>
                  </a:solidFill>
                  <a:effectLst/>
                  <a:uLnTx/>
                  <a:uFillTx/>
                  <a:latin typeface="Segoe UI Semilight"/>
                  <a:ea typeface="+mn-ea"/>
                  <a:cs typeface="Segoe UI" pitchFamily="34" charset="0"/>
                </a:rPr>
                <a:t>John Doe</a:t>
              </a:r>
            </a:p>
          </p:txBody>
        </p:sp>
        <p:sp>
          <p:nvSpPr>
            <p:cNvPr id="55" name="Rectangle 54">
              <a:extLst>
                <a:ext uri="{FF2B5EF4-FFF2-40B4-BE49-F238E27FC236}">
                  <a16:creationId xmlns:a16="http://schemas.microsoft.com/office/drawing/2014/main" id="{ADC464DD-8E5E-4BB4-AB5C-D585ECD9C2D1}"/>
                </a:ext>
              </a:extLst>
            </p:cNvPr>
            <p:cNvSpPr/>
            <p:nvPr/>
          </p:nvSpPr>
          <p:spPr bwMode="black">
            <a:xfrm>
              <a:off x="2076831" y="5628358"/>
              <a:ext cx="694309" cy="145253"/>
            </a:xfrm>
            <a:prstGeom prst="rect">
              <a:avLst/>
            </a:prstGeom>
            <a:solidFill>
              <a:schemeClr val="bg1">
                <a:lumMod val="95000"/>
              </a:schemeClr>
            </a:solidFill>
            <a:ln w="12700">
              <a:solidFill>
                <a:schemeClr val="tx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900" b="0" i="0" u="none" strike="noStrike" kern="0" cap="none" spc="0" normalizeH="0" baseline="0" noProof="0">
                  <a:ln>
                    <a:noFill/>
                  </a:ln>
                  <a:solidFill>
                    <a:srgbClr val="353535"/>
                  </a:solidFill>
                  <a:effectLst/>
                  <a:uLnTx/>
                  <a:uFillTx/>
                  <a:latin typeface="Wingdings" panose="05000000000000000000" pitchFamily="2" charset="2"/>
                  <a:ea typeface="+mn-ea"/>
                  <a:cs typeface="Segoe UI" pitchFamily="34" charset="0"/>
                </a:rPr>
                <a:t>lllllll</a:t>
              </a:r>
            </a:p>
          </p:txBody>
        </p:sp>
      </p:grpSp>
    </p:spTree>
    <p:extLst>
      <p:ext uri="{BB962C8B-B14F-4D97-AF65-F5344CB8AC3E}">
        <p14:creationId xmlns:p14="http://schemas.microsoft.com/office/powerpoint/2010/main" val="160174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DEAB57-60D8-4D41-AC11-606AF55321B3}"/>
              </a:ext>
            </a:extLst>
          </p:cNvPr>
          <p:cNvSpPr>
            <a:spLocks noGrp="1"/>
          </p:cNvSpPr>
          <p:nvPr>
            <p:ph type="title"/>
          </p:nvPr>
        </p:nvSpPr>
        <p:spPr/>
        <p:txBody>
          <a:bodyPr/>
          <a:lstStyle/>
          <a:p>
            <a:pPr algn="ctr"/>
            <a:r>
              <a:rPr lang="en-US"/>
              <a:t>Azure Active Directory</a:t>
            </a:r>
          </a:p>
        </p:txBody>
      </p:sp>
      <p:sp>
        <p:nvSpPr>
          <p:cNvPr id="6" name="Rectangle 5">
            <a:extLst>
              <a:ext uri="{FF2B5EF4-FFF2-40B4-BE49-F238E27FC236}">
                <a16:creationId xmlns:a16="http://schemas.microsoft.com/office/drawing/2014/main" id="{8A8BC7AA-6613-45FD-AE45-0F542A974541}"/>
              </a:ext>
            </a:extLst>
          </p:cNvPr>
          <p:cNvSpPr/>
          <p:nvPr/>
        </p:nvSpPr>
        <p:spPr>
          <a:xfrm>
            <a:off x="681503" y="1223720"/>
            <a:ext cx="10828994" cy="468972"/>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 Identity and access management for employees, partners, and customers —</a:t>
            </a:r>
          </a:p>
        </p:txBody>
      </p:sp>
      <p:grpSp>
        <p:nvGrpSpPr>
          <p:cNvPr id="242" name="Group 241">
            <a:extLst>
              <a:ext uri="{FF2B5EF4-FFF2-40B4-BE49-F238E27FC236}">
                <a16:creationId xmlns:a16="http://schemas.microsoft.com/office/drawing/2014/main" id="{9F56C268-1517-44F4-941E-078BCCB989BA}"/>
              </a:ext>
            </a:extLst>
          </p:cNvPr>
          <p:cNvGrpSpPr/>
          <p:nvPr/>
        </p:nvGrpSpPr>
        <p:grpSpPr>
          <a:xfrm>
            <a:off x="2607755" y="4182175"/>
            <a:ext cx="1703207" cy="986067"/>
            <a:chOff x="10206697" y="264320"/>
            <a:chExt cx="1737360" cy="1005840"/>
          </a:xfrm>
        </p:grpSpPr>
        <p:sp>
          <p:nvSpPr>
            <p:cNvPr id="243" name="Rectangle 242">
              <a:extLst>
                <a:ext uri="{FF2B5EF4-FFF2-40B4-BE49-F238E27FC236}">
                  <a16:creationId xmlns:a16="http://schemas.microsoft.com/office/drawing/2014/main" id="{CF1BBCBB-4420-43AC-A8CC-F660DD96444B}"/>
                </a:ext>
              </a:extLst>
            </p:cNvPr>
            <p:cNvSpPr/>
            <p:nvPr/>
          </p:nvSpPr>
          <p:spPr bwMode="auto">
            <a:xfrm>
              <a:off x="1020669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Conditional Access</a:t>
              </a:r>
            </a:p>
          </p:txBody>
        </p:sp>
        <p:pic>
          <p:nvPicPr>
            <p:cNvPr id="244" name="Picture 243">
              <a:extLst>
                <a:ext uri="{FF2B5EF4-FFF2-40B4-BE49-F238E27FC236}">
                  <a16:creationId xmlns:a16="http://schemas.microsoft.com/office/drawing/2014/main" id="{2A3DEDD1-95FC-4BF3-9037-6EF431085E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6620" y="538640"/>
              <a:ext cx="457200" cy="457200"/>
            </a:xfrm>
            <a:prstGeom prst="rect">
              <a:avLst/>
            </a:prstGeom>
          </p:spPr>
        </p:pic>
      </p:grpSp>
      <p:grpSp>
        <p:nvGrpSpPr>
          <p:cNvPr id="245" name="Group 244">
            <a:extLst>
              <a:ext uri="{FF2B5EF4-FFF2-40B4-BE49-F238E27FC236}">
                <a16:creationId xmlns:a16="http://schemas.microsoft.com/office/drawing/2014/main" id="{F68EE111-C396-4483-8C1A-FA0CC8B341A4}"/>
              </a:ext>
            </a:extLst>
          </p:cNvPr>
          <p:cNvGrpSpPr/>
          <p:nvPr/>
        </p:nvGrpSpPr>
        <p:grpSpPr>
          <a:xfrm>
            <a:off x="2607755" y="5225066"/>
            <a:ext cx="1703207" cy="986067"/>
            <a:chOff x="10206697" y="1328125"/>
            <a:chExt cx="1737360" cy="1005840"/>
          </a:xfrm>
        </p:grpSpPr>
        <p:sp>
          <p:nvSpPr>
            <p:cNvPr id="246" name="Rectangle 245">
              <a:extLst>
                <a:ext uri="{FF2B5EF4-FFF2-40B4-BE49-F238E27FC236}">
                  <a16:creationId xmlns:a16="http://schemas.microsoft.com/office/drawing/2014/main" id="{967F2AB1-A0F2-4952-B4F8-F6C8608DFB08}"/>
                </a:ext>
              </a:extLst>
            </p:cNvPr>
            <p:cNvSpPr/>
            <p:nvPr/>
          </p:nvSpPr>
          <p:spPr bwMode="auto">
            <a:xfrm>
              <a:off x="1020669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Multi-Factor Authentication</a:t>
              </a:r>
            </a:p>
          </p:txBody>
        </p:sp>
        <p:pic>
          <p:nvPicPr>
            <p:cNvPr id="247" name="Picture 246">
              <a:extLst>
                <a:ext uri="{FF2B5EF4-FFF2-40B4-BE49-F238E27FC236}">
                  <a16:creationId xmlns:a16="http://schemas.microsoft.com/office/drawing/2014/main" id="{82D49217-127B-4917-9028-E6F17F97B4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6620" y="1602445"/>
              <a:ext cx="457200" cy="457200"/>
            </a:xfrm>
            <a:prstGeom prst="rect">
              <a:avLst/>
            </a:prstGeom>
          </p:spPr>
        </p:pic>
      </p:grpSp>
      <p:grpSp>
        <p:nvGrpSpPr>
          <p:cNvPr id="248" name="Group 247">
            <a:extLst>
              <a:ext uri="{FF2B5EF4-FFF2-40B4-BE49-F238E27FC236}">
                <a16:creationId xmlns:a16="http://schemas.microsoft.com/office/drawing/2014/main" id="{095DF013-92E6-4379-84AD-9A5842AEBFD4}"/>
              </a:ext>
            </a:extLst>
          </p:cNvPr>
          <p:cNvGrpSpPr/>
          <p:nvPr/>
        </p:nvGrpSpPr>
        <p:grpSpPr>
          <a:xfrm>
            <a:off x="4371949" y="2096390"/>
            <a:ext cx="1703207" cy="986067"/>
            <a:chOff x="4807987" y="2391930"/>
            <a:chExt cx="1737360" cy="1005840"/>
          </a:xfrm>
        </p:grpSpPr>
        <p:sp>
          <p:nvSpPr>
            <p:cNvPr id="249" name="Rectangle 248">
              <a:extLst>
                <a:ext uri="{FF2B5EF4-FFF2-40B4-BE49-F238E27FC236}">
                  <a16:creationId xmlns:a16="http://schemas.microsoft.com/office/drawing/2014/main" id="{688F279A-4C3A-4567-BDD1-9C63A0F8C2C0}"/>
                </a:ext>
              </a:extLst>
            </p:cNvPr>
            <p:cNvSpPr/>
            <p:nvPr/>
          </p:nvSpPr>
          <p:spPr bwMode="auto">
            <a:xfrm>
              <a:off x="480798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ddition of custom cloud apps</a:t>
              </a:r>
            </a:p>
          </p:txBody>
        </p:sp>
        <p:pic>
          <p:nvPicPr>
            <p:cNvPr id="250" name="Picture 249">
              <a:extLst>
                <a:ext uri="{FF2B5EF4-FFF2-40B4-BE49-F238E27FC236}">
                  <a16:creationId xmlns:a16="http://schemas.microsoft.com/office/drawing/2014/main" id="{F39120FD-5678-42BF-8DD9-5943CF49AA4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41122" y="2666250"/>
              <a:ext cx="457200" cy="457200"/>
            </a:xfrm>
            <a:prstGeom prst="rect">
              <a:avLst/>
            </a:prstGeom>
          </p:spPr>
        </p:pic>
      </p:grpSp>
      <p:grpSp>
        <p:nvGrpSpPr>
          <p:cNvPr id="251" name="Group 250">
            <a:extLst>
              <a:ext uri="{FF2B5EF4-FFF2-40B4-BE49-F238E27FC236}">
                <a16:creationId xmlns:a16="http://schemas.microsoft.com/office/drawing/2014/main" id="{B3268E72-D7A3-4FF9-B6B2-83EBA5B7F074}"/>
              </a:ext>
            </a:extLst>
          </p:cNvPr>
          <p:cNvGrpSpPr/>
          <p:nvPr/>
        </p:nvGrpSpPr>
        <p:grpSpPr>
          <a:xfrm>
            <a:off x="4371949" y="3139281"/>
            <a:ext cx="1703207" cy="986067"/>
            <a:chOff x="4807987" y="3455733"/>
            <a:chExt cx="1737360" cy="1005840"/>
          </a:xfrm>
        </p:grpSpPr>
        <p:sp>
          <p:nvSpPr>
            <p:cNvPr id="252" name="Rectangle 251">
              <a:extLst>
                <a:ext uri="{FF2B5EF4-FFF2-40B4-BE49-F238E27FC236}">
                  <a16:creationId xmlns:a16="http://schemas.microsoft.com/office/drawing/2014/main" id="{2FFFF929-0501-43ED-8064-DB94B1C4024E}"/>
                </a:ext>
              </a:extLst>
            </p:cNvPr>
            <p:cNvSpPr/>
            <p:nvPr/>
          </p:nvSpPr>
          <p:spPr bwMode="auto">
            <a:xfrm>
              <a:off x="480798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Remote Access to on-premises apps</a:t>
              </a:r>
            </a:p>
          </p:txBody>
        </p:sp>
        <p:pic>
          <p:nvPicPr>
            <p:cNvPr id="253" name="Picture 252">
              <a:extLst>
                <a:ext uri="{FF2B5EF4-FFF2-40B4-BE49-F238E27FC236}">
                  <a16:creationId xmlns:a16="http://schemas.microsoft.com/office/drawing/2014/main" id="{32A2BEC2-6DD2-45A2-A661-E4D5792ACE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41122" y="3730053"/>
              <a:ext cx="457200" cy="457200"/>
            </a:xfrm>
            <a:prstGeom prst="rect">
              <a:avLst/>
            </a:prstGeom>
          </p:spPr>
        </p:pic>
      </p:grpSp>
      <p:grpSp>
        <p:nvGrpSpPr>
          <p:cNvPr id="254" name="Group 253">
            <a:extLst>
              <a:ext uri="{FF2B5EF4-FFF2-40B4-BE49-F238E27FC236}">
                <a16:creationId xmlns:a16="http://schemas.microsoft.com/office/drawing/2014/main" id="{7578EA7D-5F1A-44F2-B31F-554D4ED9E669}"/>
              </a:ext>
            </a:extLst>
          </p:cNvPr>
          <p:cNvGrpSpPr/>
          <p:nvPr/>
        </p:nvGrpSpPr>
        <p:grpSpPr>
          <a:xfrm>
            <a:off x="9664532" y="3139281"/>
            <a:ext cx="1703207" cy="986067"/>
            <a:chOff x="10206697" y="3455733"/>
            <a:chExt cx="1737360" cy="1005840"/>
          </a:xfrm>
        </p:grpSpPr>
        <p:sp>
          <p:nvSpPr>
            <p:cNvPr id="255" name="Rectangle 254">
              <a:extLst>
                <a:ext uri="{FF2B5EF4-FFF2-40B4-BE49-F238E27FC236}">
                  <a16:creationId xmlns:a16="http://schemas.microsoft.com/office/drawing/2014/main" id="{E43A01E9-FD35-452D-97A5-59F801C933B1}"/>
                </a:ext>
              </a:extLst>
            </p:cNvPr>
            <p:cNvSpPr/>
            <p:nvPr/>
          </p:nvSpPr>
          <p:spPr bwMode="auto">
            <a:xfrm>
              <a:off x="1020669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Privileged Identity Management</a:t>
              </a:r>
            </a:p>
          </p:txBody>
        </p:sp>
        <p:pic>
          <p:nvPicPr>
            <p:cNvPr id="256" name="Picture 255">
              <a:extLst>
                <a:ext uri="{FF2B5EF4-FFF2-40B4-BE49-F238E27FC236}">
                  <a16:creationId xmlns:a16="http://schemas.microsoft.com/office/drawing/2014/main" id="{47406D7D-0555-43DA-A13D-D01C8131FFC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56620" y="3730053"/>
              <a:ext cx="457200" cy="457200"/>
            </a:xfrm>
            <a:prstGeom prst="rect">
              <a:avLst/>
            </a:prstGeom>
          </p:spPr>
        </p:pic>
      </p:grpSp>
      <p:grpSp>
        <p:nvGrpSpPr>
          <p:cNvPr id="257" name="Group 256">
            <a:extLst>
              <a:ext uri="{FF2B5EF4-FFF2-40B4-BE49-F238E27FC236}">
                <a16:creationId xmlns:a16="http://schemas.microsoft.com/office/drawing/2014/main" id="{3334F204-6C88-450E-8BA8-5F4627370E45}"/>
              </a:ext>
            </a:extLst>
          </p:cNvPr>
          <p:cNvGrpSpPr/>
          <p:nvPr/>
        </p:nvGrpSpPr>
        <p:grpSpPr>
          <a:xfrm>
            <a:off x="7900337" y="2096390"/>
            <a:ext cx="1703207" cy="986067"/>
            <a:chOff x="8407127" y="2391930"/>
            <a:chExt cx="1737360" cy="1005840"/>
          </a:xfrm>
        </p:grpSpPr>
        <p:sp>
          <p:nvSpPr>
            <p:cNvPr id="258" name="Rectangle 257">
              <a:extLst>
                <a:ext uri="{FF2B5EF4-FFF2-40B4-BE49-F238E27FC236}">
                  <a16:creationId xmlns:a16="http://schemas.microsoft.com/office/drawing/2014/main" id="{8E4B97D4-E930-4D25-AB2A-441C3BAEAAFC}"/>
                </a:ext>
              </a:extLst>
            </p:cNvPr>
            <p:cNvSpPr/>
            <p:nvPr/>
          </p:nvSpPr>
          <p:spPr bwMode="auto">
            <a:xfrm>
              <a:off x="840712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Dynamic Groups</a:t>
              </a:r>
            </a:p>
          </p:txBody>
        </p:sp>
        <p:sp>
          <p:nvSpPr>
            <p:cNvPr id="259" name="Freeform 24">
              <a:extLst>
                <a:ext uri="{FF2B5EF4-FFF2-40B4-BE49-F238E27FC236}">
                  <a16:creationId xmlns:a16="http://schemas.microsoft.com/office/drawing/2014/main" id="{8E02D96C-770B-4003-9737-455B2BC7A879}"/>
                </a:ext>
              </a:extLst>
            </p:cNvPr>
            <p:cNvSpPr>
              <a:spLocks noChangeAspect="1" noEditPoints="1"/>
            </p:cNvSpPr>
            <p:nvPr/>
          </p:nvSpPr>
          <p:spPr bwMode="auto">
            <a:xfrm>
              <a:off x="8542380" y="2708640"/>
              <a:ext cx="457200" cy="37242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260" name="Group 259">
            <a:extLst>
              <a:ext uri="{FF2B5EF4-FFF2-40B4-BE49-F238E27FC236}">
                <a16:creationId xmlns:a16="http://schemas.microsoft.com/office/drawing/2014/main" id="{28B93B9D-BD72-463E-8A2D-0031956FF216}"/>
              </a:ext>
            </a:extLst>
          </p:cNvPr>
          <p:cNvGrpSpPr/>
          <p:nvPr/>
        </p:nvGrpSpPr>
        <p:grpSpPr>
          <a:xfrm>
            <a:off x="9664532" y="2096390"/>
            <a:ext cx="1703207" cy="986067"/>
            <a:chOff x="10206697" y="2391930"/>
            <a:chExt cx="1737360" cy="1005840"/>
          </a:xfrm>
        </p:grpSpPr>
        <p:sp>
          <p:nvSpPr>
            <p:cNvPr id="261" name="Rectangle 260">
              <a:extLst>
                <a:ext uri="{FF2B5EF4-FFF2-40B4-BE49-F238E27FC236}">
                  <a16:creationId xmlns:a16="http://schemas.microsoft.com/office/drawing/2014/main" id="{0B65BCA4-F483-45D0-9372-174AEF4C79B4}"/>
                </a:ext>
              </a:extLst>
            </p:cNvPr>
            <p:cNvSpPr/>
            <p:nvPr/>
          </p:nvSpPr>
          <p:spPr bwMode="auto">
            <a:xfrm>
              <a:off x="1020669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Identity Protection</a:t>
              </a:r>
            </a:p>
          </p:txBody>
        </p:sp>
        <p:pic>
          <p:nvPicPr>
            <p:cNvPr id="262" name="Picture 261" descr="A close up of a building&#10;&#10;Description generated with high confidence">
              <a:extLst>
                <a:ext uri="{FF2B5EF4-FFF2-40B4-BE49-F238E27FC236}">
                  <a16:creationId xmlns:a16="http://schemas.microsoft.com/office/drawing/2014/main" id="{7B8AADB7-0E38-48E6-8AF0-9D6E5F24666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56620" y="2666250"/>
              <a:ext cx="457200" cy="457200"/>
            </a:xfrm>
            <a:prstGeom prst="rect">
              <a:avLst/>
            </a:prstGeom>
          </p:spPr>
        </p:pic>
      </p:grpSp>
      <p:grpSp>
        <p:nvGrpSpPr>
          <p:cNvPr id="263" name="Group 262">
            <a:extLst>
              <a:ext uri="{FF2B5EF4-FFF2-40B4-BE49-F238E27FC236}">
                <a16:creationId xmlns:a16="http://schemas.microsoft.com/office/drawing/2014/main" id="{DA88CFC8-E1E1-4C69-881A-122BF1A470E9}"/>
              </a:ext>
            </a:extLst>
          </p:cNvPr>
          <p:cNvGrpSpPr/>
          <p:nvPr/>
        </p:nvGrpSpPr>
        <p:grpSpPr>
          <a:xfrm>
            <a:off x="4371949" y="5225066"/>
            <a:ext cx="1703207" cy="986067"/>
            <a:chOff x="4807987" y="5583343"/>
            <a:chExt cx="1737360" cy="1005840"/>
          </a:xfrm>
        </p:grpSpPr>
        <p:sp>
          <p:nvSpPr>
            <p:cNvPr id="264" name="Rectangle 263">
              <a:extLst>
                <a:ext uri="{FF2B5EF4-FFF2-40B4-BE49-F238E27FC236}">
                  <a16:creationId xmlns:a16="http://schemas.microsoft.com/office/drawing/2014/main" id="{6F03A5C7-940D-453A-8B5E-8BBC562A4E55}"/>
                </a:ext>
              </a:extLst>
            </p:cNvPr>
            <p:cNvSpPr/>
            <p:nvPr/>
          </p:nvSpPr>
          <p:spPr bwMode="auto">
            <a:xfrm>
              <a:off x="480798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zure AD DS</a:t>
              </a:r>
            </a:p>
          </p:txBody>
        </p:sp>
        <p:pic>
          <p:nvPicPr>
            <p:cNvPr id="265" name="Picture 264">
              <a:extLst>
                <a:ext uri="{FF2B5EF4-FFF2-40B4-BE49-F238E27FC236}">
                  <a16:creationId xmlns:a16="http://schemas.microsoft.com/office/drawing/2014/main" id="{1826B795-F9DD-4D88-B180-6F606237887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41122" y="5857663"/>
              <a:ext cx="457200" cy="457200"/>
            </a:xfrm>
            <a:prstGeom prst="rect">
              <a:avLst/>
            </a:prstGeom>
          </p:spPr>
        </p:pic>
      </p:grpSp>
      <p:grpSp>
        <p:nvGrpSpPr>
          <p:cNvPr id="266" name="Group 265">
            <a:extLst>
              <a:ext uri="{FF2B5EF4-FFF2-40B4-BE49-F238E27FC236}">
                <a16:creationId xmlns:a16="http://schemas.microsoft.com/office/drawing/2014/main" id="{4A73B947-C99C-4850-8FF9-8DE2D5891C5E}"/>
              </a:ext>
            </a:extLst>
          </p:cNvPr>
          <p:cNvGrpSpPr/>
          <p:nvPr/>
        </p:nvGrpSpPr>
        <p:grpSpPr>
          <a:xfrm>
            <a:off x="6136143" y="5225066"/>
            <a:ext cx="1703207" cy="986067"/>
            <a:chOff x="6607557" y="5583343"/>
            <a:chExt cx="1737360" cy="1005840"/>
          </a:xfrm>
        </p:grpSpPr>
        <p:sp>
          <p:nvSpPr>
            <p:cNvPr id="267" name="Rectangle 266">
              <a:extLst>
                <a:ext uri="{FF2B5EF4-FFF2-40B4-BE49-F238E27FC236}">
                  <a16:creationId xmlns:a16="http://schemas.microsoft.com/office/drawing/2014/main" id="{3E6C66FC-5CCA-444F-BE77-7BBB3CEFD9AA}"/>
                </a:ext>
              </a:extLst>
            </p:cNvPr>
            <p:cNvSpPr/>
            <p:nvPr/>
          </p:nvSpPr>
          <p:spPr bwMode="auto">
            <a:xfrm>
              <a:off x="660755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Office 365 App Launcher</a:t>
              </a:r>
            </a:p>
          </p:txBody>
        </p:sp>
        <p:sp>
          <p:nvSpPr>
            <p:cNvPr id="268" name="Freeform: Shape 267">
              <a:extLst>
                <a:ext uri="{FF2B5EF4-FFF2-40B4-BE49-F238E27FC236}">
                  <a16:creationId xmlns:a16="http://schemas.microsoft.com/office/drawing/2014/main" id="{C5F1D8FA-C212-4C6A-8B7C-1A09C9D1C680}"/>
                </a:ext>
              </a:extLst>
            </p:cNvPr>
            <p:cNvSpPr>
              <a:spLocks noChangeAspect="1"/>
            </p:cNvSpPr>
            <p:nvPr/>
          </p:nvSpPr>
          <p:spPr bwMode="auto">
            <a:xfrm>
              <a:off x="6735299" y="5903383"/>
              <a:ext cx="365760" cy="365760"/>
            </a:xfrm>
            <a:custGeom>
              <a:avLst/>
              <a:gdLst>
                <a:gd name="connsiteX0" fmla="*/ 640080 w 914400"/>
                <a:gd name="connsiteY0" fmla="*/ 640080 h 914400"/>
                <a:gd name="connsiteX1" fmla="*/ 914400 w 914400"/>
                <a:gd name="connsiteY1" fmla="*/ 640080 h 914400"/>
                <a:gd name="connsiteX2" fmla="*/ 914400 w 914400"/>
                <a:gd name="connsiteY2" fmla="*/ 914400 h 914400"/>
                <a:gd name="connsiteX3" fmla="*/ 640080 w 914400"/>
                <a:gd name="connsiteY3" fmla="*/ 914400 h 914400"/>
                <a:gd name="connsiteX4" fmla="*/ 320040 w 914400"/>
                <a:gd name="connsiteY4" fmla="*/ 640080 h 914400"/>
                <a:gd name="connsiteX5" fmla="*/ 594360 w 914400"/>
                <a:gd name="connsiteY5" fmla="*/ 640080 h 914400"/>
                <a:gd name="connsiteX6" fmla="*/ 594360 w 914400"/>
                <a:gd name="connsiteY6" fmla="*/ 914400 h 914400"/>
                <a:gd name="connsiteX7" fmla="*/ 320040 w 914400"/>
                <a:gd name="connsiteY7" fmla="*/ 914400 h 914400"/>
                <a:gd name="connsiteX8" fmla="*/ 0 w 914400"/>
                <a:gd name="connsiteY8" fmla="*/ 640080 h 914400"/>
                <a:gd name="connsiteX9" fmla="*/ 274320 w 914400"/>
                <a:gd name="connsiteY9" fmla="*/ 640080 h 914400"/>
                <a:gd name="connsiteX10" fmla="*/ 274320 w 914400"/>
                <a:gd name="connsiteY10" fmla="*/ 914400 h 914400"/>
                <a:gd name="connsiteX11" fmla="*/ 0 w 914400"/>
                <a:gd name="connsiteY11" fmla="*/ 914400 h 914400"/>
                <a:gd name="connsiteX12" fmla="*/ 640080 w 914400"/>
                <a:gd name="connsiteY12" fmla="*/ 320040 h 914400"/>
                <a:gd name="connsiteX13" fmla="*/ 914400 w 914400"/>
                <a:gd name="connsiteY13" fmla="*/ 320040 h 914400"/>
                <a:gd name="connsiteX14" fmla="*/ 914400 w 914400"/>
                <a:gd name="connsiteY14" fmla="*/ 594360 h 914400"/>
                <a:gd name="connsiteX15" fmla="*/ 640080 w 914400"/>
                <a:gd name="connsiteY15" fmla="*/ 594360 h 914400"/>
                <a:gd name="connsiteX16" fmla="*/ 320040 w 914400"/>
                <a:gd name="connsiteY16" fmla="*/ 320040 h 914400"/>
                <a:gd name="connsiteX17" fmla="*/ 594360 w 914400"/>
                <a:gd name="connsiteY17" fmla="*/ 320040 h 914400"/>
                <a:gd name="connsiteX18" fmla="*/ 594360 w 914400"/>
                <a:gd name="connsiteY18" fmla="*/ 594360 h 914400"/>
                <a:gd name="connsiteX19" fmla="*/ 320040 w 914400"/>
                <a:gd name="connsiteY19" fmla="*/ 594360 h 914400"/>
                <a:gd name="connsiteX20" fmla="*/ 0 w 914400"/>
                <a:gd name="connsiteY20" fmla="*/ 320040 h 914400"/>
                <a:gd name="connsiteX21" fmla="*/ 274320 w 914400"/>
                <a:gd name="connsiteY21" fmla="*/ 320040 h 914400"/>
                <a:gd name="connsiteX22" fmla="*/ 274320 w 914400"/>
                <a:gd name="connsiteY22" fmla="*/ 594360 h 914400"/>
                <a:gd name="connsiteX23" fmla="*/ 0 w 914400"/>
                <a:gd name="connsiteY23" fmla="*/ 594360 h 914400"/>
                <a:gd name="connsiteX24" fmla="*/ 640080 w 914400"/>
                <a:gd name="connsiteY24" fmla="*/ 0 h 914400"/>
                <a:gd name="connsiteX25" fmla="*/ 914400 w 914400"/>
                <a:gd name="connsiteY25" fmla="*/ 0 h 914400"/>
                <a:gd name="connsiteX26" fmla="*/ 914400 w 914400"/>
                <a:gd name="connsiteY26" fmla="*/ 274320 h 914400"/>
                <a:gd name="connsiteX27" fmla="*/ 640080 w 914400"/>
                <a:gd name="connsiteY27" fmla="*/ 274320 h 914400"/>
                <a:gd name="connsiteX28" fmla="*/ 320040 w 914400"/>
                <a:gd name="connsiteY28" fmla="*/ 0 h 914400"/>
                <a:gd name="connsiteX29" fmla="*/ 594360 w 914400"/>
                <a:gd name="connsiteY29" fmla="*/ 0 h 914400"/>
                <a:gd name="connsiteX30" fmla="*/ 594360 w 914400"/>
                <a:gd name="connsiteY30" fmla="*/ 274320 h 914400"/>
                <a:gd name="connsiteX31" fmla="*/ 320040 w 914400"/>
                <a:gd name="connsiteY31" fmla="*/ 274320 h 914400"/>
                <a:gd name="connsiteX32" fmla="*/ 0 w 914400"/>
                <a:gd name="connsiteY32" fmla="*/ 0 h 914400"/>
                <a:gd name="connsiteX33" fmla="*/ 274320 w 914400"/>
                <a:gd name="connsiteY33" fmla="*/ 0 h 914400"/>
                <a:gd name="connsiteX34" fmla="*/ 274320 w 914400"/>
                <a:gd name="connsiteY34" fmla="*/ 274320 h 914400"/>
                <a:gd name="connsiteX35" fmla="*/ 0 w 914400"/>
                <a:gd name="connsiteY35" fmla="*/ 27432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14400" h="914400">
                  <a:moveTo>
                    <a:pt x="640080" y="640080"/>
                  </a:moveTo>
                  <a:lnTo>
                    <a:pt x="914400" y="640080"/>
                  </a:lnTo>
                  <a:lnTo>
                    <a:pt x="914400" y="914400"/>
                  </a:lnTo>
                  <a:lnTo>
                    <a:pt x="640080" y="914400"/>
                  </a:lnTo>
                  <a:close/>
                  <a:moveTo>
                    <a:pt x="320040" y="640080"/>
                  </a:moveTo>
                  <a:lnTo>
                    <a:pt x="594360" y="640080"/>
                  </a:lnTo>
                  <a:lnTo>
                    <a:pt x="594360" y="914400"/>
                  </a:lnTo>
                  <a:lnTo>
                    <a:pt x="320040" y="914400"/>
                  </a:lnTo>
                  <a:close/>
                  <a:moveTo>
                    <a:pt x="0" y="640080"/>
                  </a:moveTo>
                  <a:lnTo>
                    <a:pt x="274320" y="640080"/>
                  </a:lnTo>
                  <a:lnTo>
                    <a:pt x="274320" y="914400"/>
                  </a:lnTo>
                  <a:lnTo>
                    <a:pt x="0" y="914400"/>
                  </a:lnTo>
                  <a:close/>
                  <a:moveTo>
                    <a:pt x="640080" y="320040"/>
                  </a:moveTo>
                  <a:lnTo>
                    <a:pt x="914400" y="320040"/>
                  </a:lnTo>
                  <a:lnTo>
                    <a:pt x="914400" y="594360"/>
                  </a:lnTo>
                  <a:lnTo>
                    <a:pt x="640080" y="594360"/>
                  </a:lnTo>
                  <a:close/>
                  <a:moveTo>
                    <a:pt x="320040" y="320040"/>
                  </a:moveTo>
                  <a:lnTo>
                    <a:pt x="594360" y="320040"/>
                  </a:lnTo>
                  <a:lnTo>
                    <a:pt x="594360" y="594360"/>
                  </a:lnTo>
                  <a:lnTo>
                    <a:pt x="320040" y="594360"/>
                  </a:lnTo>
                  <a:close/>
                  <a:moveTo>
                    <a:pt x="0" y="320040"/>
                  </a:moveTo>
                  <a:lnTo>
                    <a:pt x="274320" y="320040"/>
                  </a:lnTo>
                  <a:lnTo>
                    <a:pt x="274320" y="594360"/>
                  </a:lnTo>
                  <a:lnTo>
                    <a:pt x="0" y="594360"/>
                  </a:lnTo>
                  <a:close/>
                  <a:moveTo>
                    <a:pt x="640080" y="0"/>
                  </a:moveTo>
                  <a:lnTo>
                    <a:pt x="914400" y="0"/>
                  </a:lnTo>
                  <a:lnTo>
                    <a:pt x="914400" y="274320"/>
                  </a:lnTo>
                  <a:lnTo>
                    <a:pt x="640080" y="274320"/>
                  </a:lnTo>
                  <a:close/>
                  <a:moveTo>
                    <a:pt x="320040" y="0"/>
                  </a:moveTo>
                  <a:lnTo>
                    <a:pt x="594360" y="0"/>
                  </a:lnTo>
                  <a:lnTo>
                    <a:pt x="594360" y="274320"/>
                  </a:lnTo>
                  <a:lnTo>
                    <a:pt x="320040" y="274320"/>
                  </a:lnTo>
                  <a:close/>
                  <a:moveTo>
                    <a:pt x="0" y="0"/>
                  </a:moveTo>
                  <a:lnTo>
                    <a:pt x="274320" y="0"/>
                  </a:lnTo>
                  <a:lnTo>
                    <a:pt x="274320" y="274320"/>
                  </a:lnTo>
                  <a:lnTo>
                    <a:pt x="0" y="274320"/>
                  </a:lnTo>
                  <a:close/>
                </a:path>
              </a:pathLst>
            </a:cu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269" name="Group 268">
            <a:extLst>
              <a:ext uri="{FF2B5EF4-FFF2-40B4-BE49-F238E27FC236}">
                <a16:creationId xmlns:a16="http://schemas.microsoft.com/office/drawing/2014/main" id="{BB6D3893-72A6-4231-912F-0B0D15BA825C}"/>
              </a:ext>
            </a:extLst>
          </p:cNvPr>
          <p:cNvGrpSpPr/>
          <p:nvPr/>
        </p:nvGrpSpPr>
        <p:grpSpPr>
          <a:xfrm>
            <a:off x="7900337" y="3139281"/>
            <a:ext cx="1703207" cy="986067"/>
            <a:chOff x="8407127" y="3455733"/>
            <a:chExt cx="1737360" cy="1005840"/>
          </a:xfrm>
        </p:grpSpPr>
        <p:sp>
          <p:nvSpPr>
            <p:cNvPr id="270" name="Rectangle 269">
              <a:extLst>
                <a:ext uri="{FF2B5EF4-FFF2-40B4-BE49-F238E27FC236}">
                  <a16:creationId xmlns:a16="http://schemas.microsoft.com/office/drawing/2014/main" id="{D96036EA-1CD9-4E63-ACCA-7AAB5F9125BD}"/>
                </a:ext>
              </a:extLst>
            </p:cNvPr>
            <p:cNvSpPr/>
            <p:nvPr/>
          </p:nvSpPr>
          <p:spPr bwMode="auto">
            <a:xfrm>
              <a:off x="840712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Group-Based Licensing</a:t>
              </a:r>
            </a:p>
          </p:txBody>
        </p:sp>
        <p:pic>
          <p:nvPicPr>
            <p:cNvPr id="271" name="Picture 270" descr="A close up of a logo&#10;&#10;Description generated with very high confidence">
              <a:extLst>
                <a:ext uri="{FF2B5EF4-FFF2-40B4-BE49-F238E27FC236}">
                  <a16:creationId xmlns:a16="http://schemas.microsoft.com/office/drawing/2014/main" id="{ACB63561-35BC-433F-8C35-6CD5DDC555D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42380" y="3730053"/>
              <a:ext cx="457200" cy="457200"/>
            </a:xfrm>
            <a:prstGeom prst="rect">
              <a:avLst/>
            </a:prstGeom>
          </p:spPr>
        </p:pic>
      </p:grpSp>
      <p:grpSp>
        <p:nvGrpSpPr>
          <p:cNvPr id="272" name="Group 271">
            <a:extLst>
              <a:ext uri="{FF2B5EF4-FFF2-40B4-BE49-F238E27FC236}">
                <a16:creationId xmlns:a16="http://schemas.microsoft.com/office/drawing/2014/main" id="{FE1925F5-73A2-4C69-8737-76E7996F9326}"/>
              </a:ext>
            </a:extLst>
          </p:cNvPr>
          <p:cNvGrpSpPr/>
          <p:nvPr/>
        </p:nvGrpSpPr>
        <p:grpSpPr>
          <a:xfrm>
            <a:off x="6136143" y="2096390"/>
            <a:ext cx="1703207" cy="986067"/>
            <a:chOff x="6607557" y="2391930"/>
            <a:chExt cx="1737360" cy="1005840"/>
          </a:xfrm>
        </p:grpSpPr>
        <p:sp>
          <p:nvSpPr>
            <p:cNvPr id="273" name="Rectangle 272">
              <a:extLst>
                <a:ext uri="{FF2B5EF4-FFF2-40B4-BE49-F238E27FC236}">
                  <a16:creationId xmlns:a16="http://schemas.microsoft.com/office/drawing/2014/main" id="{F7C02E9E-A003-4048-AD24-9A05C22FB115}"/>
                </a:ext>
              </a:extLst>
            </p:cNvPr>
            <p:cNvSpPr/>
            <p:nvPr/>
          </p:nvSpPr>
          <p:spPr bwMode="auto">
            <a:xfrm>
              <a:off x="660755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ccess Panel/MyApps</a:t>
              </a:r>
            </a:p>
          </p:txBody>
        </p:sp>
        <p:pic>
          <p:nvPicPr>
            <p:cNvPr id="274" name="Picture 273">
              <a:extLst>
                <a:ext uri="{FF2B5EF4-FFF2-40B4-BE49-F238E27FC236}">
                  <a16:creationId xmlns:a16="http://schemas.microsoft.com/office/drawing/2014/main" id="{27B070C3-B8E8-43AF-B338-379C0D6A484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735299" y="2666250"/>
              <a:ext cx="457200" cy="457200"/>
            </a:xfrm>
            <a:prstGeom prst="rect">
              <a:avLst/>
            </a:prstGeom>
          </p:spPr>
        </p:pic>
      </p:grpSp>
      <p:grpSp>
        <p:nvGrpSpPr>
          <p:cNvPr id="275" name="Group 274">
            <a:extLst>
              <a:ext uri="{FF2B5EF4-FFF2-40B4-BE49-F238E27FC236}">
                <a16:creationId xmlns:a16="http://schemas.microsoft.com/office/drawing/2014/main" id="{EC5FD512-2B1F-440B-95CF-93490F1D5EF9}"/>
              </a:ext>
            </a:extLst>
          </p:cNvPr>
          <p:cNvGrpSpPr/>
          <p:nvPr/>
        </p:nvGrpSpPr>
        <p:grpSpPr>
          <a:xfrm>
            <a:off x="843560" y="4182175"/>
            <a:ext cx="1703207" cy="986067"/>
            <a:chOff x="4807987" y="264320"/>
            <a:chExt cx="1737360" cy="1005840"/>
          </a:xfrm>
        </p:grpSpPr>
        <p:sp>
          <p:nvSpPr>
            <p:cNvPr id="276" name="Rectangle 275">
              <a:extLst>
                <a:ext uri="{FF2B5EF4-FFF2-40B4-BE49-F238E27FC236}">
                  <a16:creationId xmlns:a16="http://schemas.microsoft.com/office/drawing/2014/main" id="{34B209DA-6033-4BF0-ACE9-D7D6FAC102FC}"/>
                </a:ext>
              </a:extLst>
            </p:cNvPr>
            <p:cNvSpPr/>
            <p:nvPr/>
          </p:nvSpPr>
          <p:spPr bwMode="auto">
            <a:xfrm>
              <a:off x="480798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zure AD Connect</a:t>
              </a:r>
            </a:p>
          </p:txBody>
        </p:sp>
        <p:pic>
          <p:nvPicPr>
            <p:cNvPr id="277" name="Picture 276" descr="A close up of a logo&#10;&#10;Description generated with very high confidence">
              <a:extLst>
                <a:ext uri="{FF2B5EF4-FFF2-40B4-BE49-F238E27FC236}">
                  <a16:creationId xmlns:a16="http://schemas.microsoft.com/office/drawing/2014/main" id="{11976399-B7DD-4059-9E1A-2FA4383A0B8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941122" y="538640"/>
              <a:ext cx="457200" cy="457200"/>
            </a:xfrm>
            <a:prstGeom prst="rect">
              <a:avLst/>
            </a:prstGeom>
          </p:spPr>
        </p:pic>
      </p:grpSp>
      <p:grpSp>
        <p:nvGrpSpPr>
          <p:cNvPr id="278" name="Group 277">
            <a:extLst>
              <a:ext uri="{FF2B5EF4-FFF2-40B4-BE49-F238E27FC236}">
                <a16:creationId xmlns:a16="http://schemas.microsoft.com/office/drawing/2014/main" id="{AA76B689-6DDF-45B3-8698-B231DE34F09A}"/>
              </a:ext>
            </a:extLst>
          </p:cNvPr>
          <p:cNvGrpSpPr/>
          <p:nvPr/>
        </p:nvGrpSpPr>
        <p:grpSpPr>
          <a:xfrm>
            <a:off x="2607755" y="3139281"/>
            <a:ext cx="1703207" cy="986067"/>
            <a:chOff x="8407127" y="1328125"/>
            <a:chExt cx="1737360" cy="1005840"/>
          </a:xfrm>
        </p:grpSpPr>
        <p:sp>
          <p:nvSpPr>
            <p:cNvPr id="279" name="Rectangle 278">
              <a:extLst>
                <a:ext uri="{FF2B5EF4-FFF2-40B4-BE49-F238E27FC236}">
                  <a16:creationId xmlns:a16="http://schemas.microsoft.com/office/drawing/2014/main" id="{B2041FF2-855D-456A-92EF-5388F6315FC6}"/>
                </a:ext>
              </a:extLst>
            </p:cNvPr>
            <p:cNvSpPr/>
            <p:nvPr/>
          </p:nvSpPr>
          <p:spPr bwMode="auto">
            <a:xfrm>
              <a:off x="840712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Connect Health</a:t>
              </a:r>
            </a:p>
          </p:txBody>
        </p:sp>
        <p:pic>
          <p:nvPicPr>
            <p:cNvPr id="280" name="Picture 279" descr="A picture containing thing&#10;&#10;Description generated with high confidence">
              <a:extLst>
                <a:ext uri="{FF2B5EF4-FFF2-40B4-BE49-F238E27FC236}">
                  <a16:creationId xmlns:a16="http://schemas.microsoft.com/office/drawing/2014/main" id="{C70CA06E-32E6-48B4-8D04-B298B203AED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542380" y="1602445"/>
              <a:ext cx="457200" cy="457200"/>
            </a:xfrm>
            <a:prstGeom prst="rect">
              <a:avLst/>
            </a:prstGeom>
          </p:spPr>
        </p:pic>
      </p:grpSp>
      <p:grpSp>
        <p:nvGrpSpPr>
          <p:cNvPr id="281" name="Group 280">
            <a:extLst>
              <a:ext uri="{FF2B5EF4-FFF2-40B4-BE49-F238E27FC236}">
                <a16:creationId xmlns:a16="http://schemas.microsoft.com/office/drawing/2014/main" id="{49F174F8-E60A-4F16-9092-F81C0F88D12A}"/>
              </a:ext>
            </a:extLst>
          </p:cNvPr>
          <p:cNvGrpSpPr/>
          <p:nvPr/>
        </p:nvGrpSpPr>
        <p:grpSpPr>
          <a:xfrm>
            <a:off x="2607755" y="2096390"/>
            <a:ext cx="1703207" cy="986067"/>
            <a:chOff x="8407127" y="264320"/>
            <a:chExt cx="1737360" cy="1005840"/>
          </a:xfrm>
        </p:grpSpPr>
        <p:sp>
          <p:nvSpPr>
            <p:cNvPr id="282" name="Rectangle 281">
              <a:extLst>
                <a:ext uri="{FF2B5EF4-FFF2-40B4-BE49-F238E27FC236}">
                  <a16:creationId xmlns:a16="http://schemas.microsoft.com/office/drawing/2014/main" id="{BBC1B1E2-516B-4AC9-9D69-449BAE2083AE}"/>
                </a:ext>
              </a:extLst>
            </p:cNvPr>
            <p:cNvSpPr/>
            <p:nvPr/>
          </p:nvSpPr>
          <p:spPr bwMode="auto">
            <a:xfrm>
              <a:off x="840712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Provisioning-Deprovisioning</a:t>
              </a:r>
            </a:p>
          </p:txBody>
        </p:sp>
        <p:pic>
          <p:nvPicPr>
            <p:cNvPr id="283" name="Picture 282" descr="A close up of a logo&#10;&#10;Description generated with very high confidence">
              <a:extLst>
                <a:ext uri="{FF2B5EF4-FFF2-40B4-BE49-F238E27FC236}">
                  <a16:creationId xmlns:a16="http://schemas.microsoft.com/office/drawing/2014/main" id="{5A20721F-A1F4-4E7B-903C-8065CC397B3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542380" y="538640"/>
              <a:ext cx="457200" cy="457200"/>
            </a:xfrm>
            <a:prstGeom prst="rect">
              <a:avLst/>
            </a:prstGeom>
          </p:spPr>
        </p:pic>
      </p:grpSp>
      <p:grpSp>
        <p:nvGrpSpPr>
          <p:cNvPr id="284" name="Group 283">
            <a:extLst>
              <a:ext uri="{FF2B5EF4-FFF2-40B4-BE49-F238E27FC236}">
                <a16:creationId xmlns:a16="http://schemas.microsoft.com/office/drawing/2014/main" id="{93DAA05A-C94E-455D-B0CE-A90F1D39E16C}"/>
              </a:ext>
            </a:extLst>
          </p:cNvPr>
          <p:cNvGrpSpPr/>
          <p:nvPr/>
        </p:nvGrpSpPr>
        <p:grpSpPr>
          <a:xfrm>
            <a:off x="6136143" y="4182175"/>
            <a:ext cx="1703207" cy="986067"/>
            <a:chOff x="6607557" y="4519540"/>
            <a:chExt cx="1737360" cy="1005840"/>
          </a:xfrm>
        </p:grpSpPr>
        <p:sp>
          <p:nvSpPr>
            <p:cNvPr id="285" name="Rectangle 284">
              <a:extLst>
                <a:ext uri="{FF2B5EF4-FFF2-40B4-BE49-F238E27FC236}">
                  <a16:creationId xmlns:a16="http://schemas.microsoft.com/office/drawing/2014/main" id="{26F9646F-F768-45F0-859C-D660024B00C5}"/>
                </a:ext>
              </a:extLst>
            </p:cNvPr>
            <p:cNvSpPr/>
            <p:nvPr/>
          </p:nvSpPr>
          <p:spPr bwMode="auto">
            <a:xfrm>
              <a:off x="660755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zure AD Join</a:t>
              </a:r>
            </a:p>
          </p:txBody>
        </p:sp>
        <p:pic>
          <p:nvPicPr>
            <p:cNvPr id="286" name="Picture 285">
              <a:extLst>
                <a:ext uri="{FF2B5EF4-FFF2-40B4-BE49-F238E27FC236}">
                  <a16:creationId xmlns:a16="http://schemas.microsoft.com/office/drawing/2014/main" id="{177F4028-8632-4300-B011-573A17BB60D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15680" y="4755189"/>
              <a:ext cx="534542" cy="534542"/>
            </a:xfrm>
            <a:prstGeom prst="rect">
              <a:avLst/>
            </a:prstGeom>
          </p:spPr>
        </p:pic>
      </p:grpSp>
      <p:grpSp>
        <p:nvGrpSpPr>
          <p:cNvPr id="287" name="Group 286">
            <a:extLst>
              <a:ext uri="{FF2B5EF4-FFF2-40B4-BE49-F238E27FC236}">
                <a16:creationId xmlns:a16="http://schemas.microsoft.com/office/drawing/2014/main" id="{880CA812-E616-41A3-A64C-BF7072582090}"/>
              </a:ext>
            </a:extLst>
          </p:cNvPr>
          <p:cNvGrpSpPr/>
          <p:nvPr/>
        </p:nvGrpSpPr>
        <p:grpSpPr>
          <a:xfrm>
            <a:off x="843560" y="3139281"/>
            <a:ext cx="1703207" cy="986067"/>
            <a:chOff x="6607557" y="1328125"/>
            <a:chExt cx="1737360" cy="1005840"/>
          </a:xfrm>
        </p:grpSpPr>
        <p:sp>
          <p:nvSpPr>
            <p:cNvPr id="288" name="Rectangle 287">
              <a:extLst>
                <a:ext uri="{FF2B5EF4-FFF2-40B4-BE49-F238E27FC236}">
                  <a16:creationId xmlns:a16="http://schemas.microsoft.com/office/drawing/2014/main" id="{78C2B158-31BB-4F2E-AF92-3567FF9D9B8E}"/>
                </a:ext>
              </a:extLst>
            </p:cNvPr>
            <p:cNvSpPr/>
            <p:nvPr/>
          </p:nvSpPr>
          <p:spPr bwMode="auto">
            <a:xfrm>
              <a:off x="660755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Self-Service capabilities</a:t>
              </a:r>
            </a:p>
          </p:txBody>
        </p:sp>
        <p:pic>
          <p:nvPicPr>
            <p:cNvPr id="289" name="Picture 288" descr="A close up of a logo&#10;&#10;Description generated with very high confidence">
              <a:extLst>
                <a:ext uri="{FF2B5EF4-FFF2-40B4-BE49-F238E27FC236}">
                  <a16:creationId xmlns:a16="http://schemas.microsoft.com/office/drawing/2014/main" id="{15F2E1DF-4825-40DF-9D40-02B38C0662E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35299" y="1602445"/>
              <a:ext cx="457200" cy="457200"/>
            </a:xfrm>
            <a:prstGeom prst="rect">
              <a:avLst/>
            </a:prstGeom>
          </p:spPr>
        </p:pic>
      </p:grpSp>
      <p:grpSp>
        <p:nvGrpSpPr>
          <p:cNvPr id="290" name="Group 289">
            <a:extLst>
              <a:ext uri="{FF2B5EF4-FFF2-40B4-BE49-F238E27FC236}">
                <a16:creationId xmlns:a16="http://schemas.microsoft.com/office/drawing/2014/main" id="{373E3E4E-B331-4785-9867-AEBB8AED4328}"/>
              </a:ext>
            </a:extLst>
          </p:cNvPr>
          <p:cNvGrpSpPr/>
          <p:nvPr/>
        </p:nvGrpSpPr>
        <p:grpSpPr>
          <a:xfrm>
            <a:off x="7900337" y="4182175"/>
            <a:ext cx="1703207" cy="986067"/>
            <a:chOff x="8407127" y="4519540"/>
            <a:chExt cx="1737360" cy="1005840"/>
          </a:xfrm>
        </p:grpSpPr>
        <p:sp>
          <p:nvSpPr>
            <p:cNvPr id="291" name="Rectangle 290">
              <a:extLst>
                <a:ext uri="{FF2B5EF4-FFF2-40B4-BE49-F238E27FC236}">
                  <a16:creationId xmlns:a16="http://schemas.microsoft.com/office/drawing/2014/main" id="{CE6C93CC-18EE-4EBB-A7B8-1933F4A078AE}"/>
                </a:ext>
              </a:extLst>
            </p:cNvPr>
            <p:cNvSpPr/>
            <p:nvPr/>
          </p:nvSpPr>
          <p:spPr bwMode="auto">
            <a:xfrm>
              <a:off x="840712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MDM-auto enrollment /</a:t>
              </a:r>
            </a:p>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Enterprise State Roaming</a:t>
              </a:r>
            </a:p>
          </p:txBody>
        </p:sp>
        <p:pic>
          <p:nvPicPr>
            <p:cNvPr id="292" name="Picture 291" descr="A picture containing thing, object&#10;&#10;Description generated with high confidence">
              <a:extLst>
                <a:ext uri="{FF2B5EF4-FFF2-40B4-BE49-F238E27FC236}">
                  <a16:creationId xmlns:a16="http://schemas.microsoft.com/office/drawing/2014/main" id="{A8111559-AB80-427C-8B36-058FB4063B2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500403" y="4824745"/>
              <a:ext cx="533566" cy="395430"/>
            </a:xfrm>
            <a:prstGeom prst="rect">
              <a:avLst/>
            </a:prstGeom>
          </p:spPr>
        </p:pic>
      </p:grpSp>
      <p:grpSp>
        <p:nvGrpSpPr>
          <p:cNvPr id="293" name="Group 292">
            <a:extLst>
              <a:ext uri="{FF2B5EF4-FFF2-40B4-BE49-F238E27FC236}">
                <a16:creationId xmlns:a16="http://schemas.microsoft.com/office/drawing/2014/main" id="{0DCDB9ED-FD44-43CC-8EF4-A3781139504B}"/>
              </a:ext>
            </a:extLst>
          </p:cNvPr>
          <p:cNvGrpSpPr/>
          <p:nvPr/>
        </p:nvGrpSpPr>
        <p:grpSpPr>
          <a:xfrm>
            <a:off x="9664532" y="4182175"/>
            <a:ext cx="1703207" cy="986067"/>
            <a:chOff x="10206697" y="4519540"/>
            <a:chExt cx="1737360" cy="1005840"/>
          </a:xfrm>
        </p:grpSpPr>
        <p:sp>
          <p:nvSpPr>
            <p:cNvPr id="294" name="Rectangle 293">
              <a:extLst>
                <a:ext uri="{FF2B5EF4-FFF2-40B4-BE49-F238E27FC236}">
                  <a16:creationId xmlns:a16="http://schemas.microsoft.com/office/drawing/2014/main" id="{A3F1394F-8346-4AF7-A402-2908893F16EB}"/>
                </a:ext>
              </a:extLst>
            </p:cNvPr>
            <p:cNvSpPr/>
            <p:nvPr/>
          </p:nvSpPr>
          <p:spPr bwMode="auto">
            <a:xfrm>
              <a:off x="1020669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Security Reporting</a:t>
              </a:r>
            </a:p>
          </p:txBody>
        </p:sp>
        <p:pic>
          <p:nvPicPr>
            <p:cNvPr id="295" name="Picture 294">
              <a:extLst>
                <a:ext uri="{FF2B5EF4-FFF2-40B4-BE49-F238E27FC236}">
                  <a16:creationId xmlns:a16="http://schemas.microsoft.com/office/drawing/2014/main" id="{CEFB526B-9246-4A13-A6C8-6E8ADAB43B6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402340" y="4839580"/>
              <a:ext cx="365760" cy="365760"/>
            </a:xfrm>
            <a:prstGeom prst="rect">
              <a:avLst/>
            </a:prstGeom>
          </p:spPr>
        </p:pic>
      </p:grpSp>
      <p:grpSp>
        <p:nvGrpSpPr>
          <p:cNvPr id="296" name="Group 295">
            <a:extLst>
              <a:ext uri="{FF2B5EF4-FFF2-40B4-BE49-F238E27FC236}">
                <a16:creationId xmlns:a16="http://schemas.microsoft.com/office/drawing/2014/main" id="{E745A70C-3C5E-437F-83E2-C341121E9A18}"/>
              </a:ext>
            </a:extLst>
          </p:cNvPr>
          <p:cNvGrpSpPr/>
          <p:nvPr/>
        </p:nvGrpSpPr>
        <p:grpSpPr>
          <a:xfrm>
            <a:off x="9664532" y="5225066"/>
            <a:ext cx="1703207" cy="986067"/>
            <a:chOff x="10206697" y="5583343"/>
            <a:chExt cx="1737360" cy="1005840"/>
          </a:xfrm>
        </p:grpSpPr>
        <p:sp>
          <p:nvSpPr>
            <p:cNvPr id="297" name="Rectangle 296">
              <a:extLst>
                <a:ext uri="{FF2B5EF4-FFF2-40B4-BE49-F238E27FC236}">
                  <a16:creationId xmlns:a16="http://schemas.microsoft.com/office/drawing/2014/main" id="{0EC836EF-4955-47DF-9EB3-C239736E8A68}"/>
                </a:ext>
              </a:extLst>
            </p:cNvPr>
            <p:cNvSpPr/>
            <p:nvPr/>
          </p:nvSpPr>
          <p:spPr bwMode="auto">
            <a:xfrm>
              <a:off x="1020669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ccess Reviews</a:t>
              </a:r>
            </a:p>
          </p:txBody>
        </p:sp>
        <p:pic>
          <p:nvPicPr>
            <p:cNvPr id="298" name="Picture 297">
              <a:extLst>
                <a:ext uri="{FF2B5EF4-FFF2-40B4-BE49-F238E27FC236}">
                  <a16:creationId xmlns:a16="http://schemas.microsoft.com/office/drawing/2014/main" id="{3EA01FAA-763C-4963-9078-3E6032981BFD}"/>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356620" y="5940386"/>
              <a:ext cx="457200" cy="291755"/>
            </a:xfrm>
            <a:prstGeom prst="rect">
              <a:avLst/>
            </a:prstGeom>
          </p:spPr>
        </p:pic>
      </p:grpSp>
      <p:grpSp>
        <p:nvGrpSpPr>
          <p:cNvPr id="299" name="Group 298">
            <a:extLst>
              <a:ext uri="{FF2B5EF4-FFF2-40B4-BE49-F238E27FC236}">
                <a16:creationId xmlns:a16="http://schemas.microsoft.com/office/drawing/2014/main" id="{C4A18806-4176-4382-A4D4-7386AF46D23D}"/>
              </a:ext>
            </a:extLst>
          </p:cNvPr>
          <p:cNvGrpSpPr/>
          <p:nvPr/>
        </p:nvGrpSpPr>
        <p:grpSpPr>
          <a:xfrm>
            <a:off x="7900337" y="5225066"/>
            <a:ext cx="1703207" cy="986067"/>
            <a:chOff x="8407127" y="5583343"/>
            <a:chExt cx="1737360" cy="1005840"/>
          </a:xfrm>
        </p:grpSpPr>
        <p:sp>
          <p:nvSpPr>
            <p:cNvPr id="300" name="Rectangle 299">
              <a:extLst>
                <a:ext uri="{FF2B5EF4-FFF2-40B4-BE49-F238E27FC236}">
                  <a16:creationId xmlns:a16="http://schemas.microsoft.com/office/drawing/2014/main" id="{20E3D853-5CB0-458A-BF66-9FAA91D0C989}"/>
                </a:ext>
              </a:extLst>
            </p:cNvPr>
            <p:cNvSpPr/>
            <p:nvPr/>
          </p:nvSpPr>
          <p:spPr bwMode="auto">
            <a:xfrm>
              <a:off x="840712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HR App Integration</a:t>
              </a:r>
            </a:p>
          </p:txBody>
        </p:sp>
        <p:pic>
          <p:nvPicPr>
            <p:cNvPr id="301" name="Picture 300">
              <a:extLst>
                <a:ext uri="{FF2B5EF4-FFF2-40B4-BE49-F238E27FC236}">
                  <a16:creationId xmlns:a16="http://schemas.microsoft.com/office/drawing/2014/main" id="{58DEBB23-AA16-42E1-AED9-A78D1037C7A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542380" y="5857216"/>
              <a:ext cx="457200" cy="458095"/>
            </a:xfrm>
            <a:prstGeom prst="rect">
              <a:avLst/>
            </a:prstGeom>
          </p:spPr>
        </p:pic>
      </p:grpSp>
      <p:grpSp>
        <p:nvGrpSpPr>
          <p:cNvPr id="302" name="Group 301">
            <a:extLst>
              <a:ext uri="{FF2B5EF4-FFF2-40B4-BE49-F238E27FC236}">
                <a16:creationId xmlns:a16="http://schemas.microsoft.com/office/drawing/2014/main" id="{D47C987B-9009-4034-AFFD-3433E1FADF66}"/>
              </a:ext>
            </a:extLst>
          </p:cNvPr>
          <p:cNvGrpSpPr/>
          <p:nvPr/>
        </p:nvGrpSpPr>
        <p:grpSpPr>
          <a:xfrm>
            <a:off x="843560" y="2096390"/>
            <a:ext cx="1703207" cy="986067"/>
            <a:chOff x="6607557" y="264320"/>
            <a:chExt cx="1737360" cy="1005840"/>
          </a:xfrm>
          <a:solidFill>
            <a:srgbClr val="0078D7"/>
          </a:solidFill>
        </p:grpSpPr>
        <p:sp>
          <p:nvSpPr>
            <p:cNvPr id="303" name="Rectangle 302">
              <a:extLst>
                <a:ext uri="{FF2B5EF4-FFF2-40B4-BE49-F238E27FC236}">
                  <a16:creationId xmlns:a16="http://schemas.microsoft.com/office/drawing/2014/main" id="{7524A915-4257-4A16-B227-4385CB153C6B}"/>
                </a:ext>
              </a:extLst>
            </p:cNvPr>
            <p:cNvSpPr/>
            <p:nvPr/>
          </p:nvSpPr>
          <p:spPr bwMode="auto">
            <a:xfrm>
              <a:off x="660755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B2B collaboration</a:t>
              </a:r>
            </a:p>
          </p:txBody>
        </p:sp>
        <p:grpSp>
          <p:nvGrpSpPr>
            <p:cNvPr id="304" name="Group 303">
              <a:extLst>
                <a:ext uri="{FF2B5EF4-FFF2-40B4-BE49-F238E27FC236}">
                  <a16:creationId xmlns:a16="http://schemas.microsoft.com/office/drawing/2014/main" id="{FFB00E73-F773-48A1-8709-6CAE8CAAA0ED}"/>
                </a:ext>
              </a:extLst>
            </p:cNvPr>
            <p:cNvGrpSpPr>
              <a:grpSpLocks noChangeAspect="1"/>
            </p:cNvGrpSpPr>
            <p:nvPr/>
          </p:nvGrpSpPr>
          <p:grpSpPr>
            <a:xfrm>
              <a:off x="6735299" y="630080"/>
              <a:ext cx="516326" cy="274320"/>
              <a:chOff x="10110340" y="2541110"/>
              <a:chExt cx="992606" cy="527364"/>
            </a:xfrm>
            <a:grpFill/>
          </p:grpSpPr>
          <p:grpSp>
            <p:nvGrpSpPr>
              <p:cNvPr id="305" name="Group 304">
                <a:extLst>
                  <a:ext uri="{FF2B5EF4-FFF2-40B4-BE49-F238E27FC236}">
                    <a16:creationId xmlns:a16="http://schemas.microsoft.com/office/drawing/2014/main" id="{6BD9BC79-86D4-4DCA-8454-3E2AF335B9CE}"/>
                  </a:ext>
                </a:extLst>
              </p:cNvPr>
              <p:cNvGrpSpPr/>
              <p:nvPr/>
            </p:nvGrpSpPr>
            <p:grpSpPr>
              <a:xfrm>
                <a:off x="10110340" y="2541110"/>
                <a:ext cx="697761" cy="527364"/>
                <a:chOff x="10110340" y="2541110"/>
                <a:chExt cx="697761" cy="527364"/>
              </a:xfrm>
              <a:grpFill/>
            </p:grpSpPr>
            <p:sp>
              <p:nvSpPr>
                <p:cNvPr id="307" name="Freeform 143">
                  <a:extLst>
                    <a:ext uri="{FF2B5EF4-FFF2-40B4-BE49-F238E27FC236}">
                      <a16:creationId xmlns:a16="http://schemas.microsoft.com/office/drawing/2014/main" id="{05E9EF44-F2D3-47C0-ACC5-70CEED8A1F41}"/>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nvGrpSpPr>
                <p:cNvPr id="308" name="Group 307">
                  <a:extLst>
                    <a:ext uri="{FF2B5EF4-FFF2-40B4-BE49-F238E27FC236}">
                      <a16:creationId xmlns:a16="http://schemas.microsoft.com/office/drawing/2014/main" id="{7B2BDC35-8FE4-4806-8C49-3BECF3D3B517}"/>
                    </a:ext>
                  </a:extLst>
                </p:cNvPr>
                <p:cNvGrpSpPr/>
                <p:nvPr/>
              </p:nvGrpSpPr>
              <p:grpSpPr>
                <a:xfrm>
                  <a:off x="10396736" y="2613879"/>
                  <a:ext cx="411365" cy="381827"/>
                  <a:chOff x="9675960" y="2523905"/>
                  <a:chExt cx="411365" cy="381827"/>
                </a:xfrm>
                <a:grpFill/>
              </p:grpSpPr>
              <p:sp>
                <p:nvSpPr>
                  <p:cNvPr id="309" name="Freeform 44">
                    <a:extLst>
                      <a:ext uri="{FF2B5EF4-FFF2-40B4-BE49-F238E27FC236}">
                        <a16:creationId xmlns:a16="http://schemas.microsoft.com/office/drawing/2014/main" id="{384CFF1E-3A11-42D4-9363-AB47485BCE88}"/>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310" name="Freeform 44">
                    <a:extLst>
                      <a:ext uri="{FF2B5EF4-FFF2-40B4-BE49-F238E27FC236}">
                        <a16:creationId xmlns:a16="http://schemas.microsoft.com/office/drawing/2014/main" id="{38418F19-CF02-4D54-992D-369FDB07277C}"/>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sp>
            <p:nvSpPr>
              <p:cNvPr id="306" name="Freeform 143">
                <a:extLst>
                  <a:ext uri="{FF2B5EF4-FFF2-40B4-BE49-F238E27FC236}">
                    <a16:creationId xmlns:a16="http://schemas.microsoft.com/office/drawing/2014/main" id="{EA68B7EC-1808-4316-8BAE-B75E565D587B}"/>
                  </a:ext>
                </a:extLst>
              </p:cNvPr>
              <p:cNvSpPr>
                <a:spLocks noEditPoints="1"/>
              </p:cNvSpPr>
              <p:nvPr/>
            </p:nvSpPr>
            <p:spPr bwMode="auto">
              <a:xfrm>
                <a:off x="10847406"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grpSp>
        <p:nvGrpSpPr>
          <p:cNvPr id="311" name="Group 310">
            <a:extLst>
              <a:ext uri="{FF2B5EF4-FFF2-40B4-BE49-F238E27FC236}">
                <a16:creationId xmlns:a16="http://schemas.microsoft.com/office/drawing/2014/main" id="{AA8DC374-80B7-47C0-8263-CBF7DDA269C1}"/>
              </a:ext>
            </a:extLst>
          </p:cNvPr>
          <p:cNvGrpSpPr/>
          <p:nvPr/>
        </p:nvGrpSpPr>
        <p:grpSpPr>
          <a:xfrm>
            <a:off x="6136143" y="3139281"/>
            <a:ext cx="1703207" cy="986067"/>
            <a:chOff x="6607557" y="3455733"/>
            <a:chExt cx="1737360" cy="1005840"/>
          </a:xfrm>
          <a:solidFill>
            <a:srgbClr val="0078D7"/>
          </a:solidFill>
        </p:grpSpPr>
        <p:sp>
          <p:nvSpPr>
            <p:cNvPr id="312" name="Rectangle 311">
              <a:extLst>
                <a:ext uri="{FF2B5EF4-FFF2-40B4-BE49-F238E27FC236}">
                  <a16:creationId xmlns:a16="http://schemas.microsoft.com/office/drawing/2014/main" id="{DBADDCAA-4F67-4D6E-8F05-5B2A63EC6DA7}"/>
                </a:ext>
              </a:extLst>
            </p:cNvPr>
            <p:cNvSpPr/>
            <p:nvPr/>
          </p:nvSpPr>
          <p:spPr bwMode="auto">
            <a:xfrm>
              <a:off x="660755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zure AD</a:t>
              </a:r>
              <a:b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b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B2C</a:t>
              </a:r>
            </a:p>
          </p:txBody>
        </p:sp>
        <p:grpSp>
          <p:nvGrpSpPr>
            <p:cNvPr id="313" name="Group 312">
              <a:extLst>
                <a:ext uri="{FF2B5EF4-FFF2-40B4-BE49-F238E27FC236}">
                  <a16:creationId xmlns:a16="http://schemas.microsoft.com/office/drawing/2014/main" id="{C63EC998-183E-4337-9E12-47D67F568002}"/>
                </a:ext>
              </a:extLst>
            </p:cNvPr>
            <p:cNvGrpSpPr>
              <a:grpSpLocks noChangeAspect="1"/>
            </p:cNvGrpSpPr>
            <p:nvPr/>
          </p:nvGrpSpPr>
          <p:grpSpPr>
            <a:xfrm>
              <a:off x="6687669" y="3821493"/>
              <a:ext cx="568103" cy="274320"/>
              <a:chOff x="7521353" y="3579354"/>
              <a:chExt cx="695006" cy="335598"/>
            </a:xfrm>
            <a:grpFill/>
          </p:grpSpPr>
          <p:grpSp>
            <p:nvGrpSpPr>
              <p:cNvPr id="314" name="Group 313">
                <a:extLst>
                  <a:ext uri="{FF2B5EF4-FFF2-40B4-BE49-F238E27FC236}">
                    <a16:creationId xmlns:a16="http://schemas.microsoft.com/office/drawing/2014/main" id="{3C0E78BF-EA76-429F-A46D-0A9A2FC35835}"/>
                  </a:ext>
                </a:extLst>
              </p:cNvPr>
              <p:cNvGrpSpPr/>
              <p:nvPr/>
            </p:nvGrpSpPr>
            <p:grpSpPr>
              <a:xfrm>
                <a:off x="7521353" y="3579354"/>
                <a:ext cx="444034" cy="335598"/>
                <a:chOff x="10110340" y="2541110"/>
                <a:chExt cx="697761" cy="527364"/>
              </a:xfrm>
              <a:grpFill/>
            </p:grpSpPr>
            <p:sp>
              <p:nvSpPr>
                <p:cNvPr id="316" name="Freeform 143">
                  <a:extLst>
                    <a:ext uri="{FF2B5EF4-FFF2-40B4-BE49-F238E27FC236}">
                      <a16:creationId xmlns:a16="http://schemas.microsoft.com/office/drawing/2014/main" id="{F5EF65E8-97EB-42F1-AF7B-B493E1BE41B7}"/>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nvGrpSpPr>
                <p:cNvPr id="317" name="Group 316">
                  <a:extLst>
                    <a:ext uri="{FF2B5EF4-FFF2-40B4-BE49-F238E27FC236}">
                      <a16:creationId xmlns:a16="http://schemas.microsoft.com/office/drawing/2014/main" id="{9B94D9C2-3222-4861-A2B4-BDC2E2CB7490}"/>
                    </a:ext>
                  </a:extLst>
                </p:cNvPr>
                <p:cNvGrpSpPr/>
                <p:nvPr/>
              </p:nvGrpSpPr>
              <p:grpSpPr>
                <a:xfrm>
                  <a:off x="10396736" y="2613879"/>
                  <a:ext cx="411365" cy="381827"/>
                  <a:chOff x="9675960" y="2523905"/>
                  <a:chExt cx="411365" cy="381827"/>
                </a:xfrm>
                <a:grpFill/>
              </p:grpSpPr>
              <p:sp>
                <p:nvSpPr>
                  <p:cNvPr id="318" name="Freeform 44">
                    <a:extLst>
                      <a:ext uri="{FF2B5EF4-FFF2-40B4-BE49-F238E27FC236}">
                        <a16:creationId xmlns:a16="http://schemas.microsoft.com/office/drawing/2014/main" id="{CB5CBE54-6B75-409A-801A-8876F99D7600}"/>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319" name="Freeform 44">
                    <a:extLst>
                      <a:ext uri="{FF2B5EF4-FFF2-40B4-BE49-F238E27FC236}">
                        <a16:creationId xmlns:a16="http://schemas.microsoft.com/office/drawing/2014/main" id="{5D8CC39D-A319-4C08-B62C-9763208B4CB9}"/>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sp>
            <p:nvSpPr>
              <p:cNvPr id="315" name="Freeform 12">
                <a:extLst>
                  <a:ext uri="{FF2B5EF4-FFF2-40B4-BE49-F238E27FC236}">
                    <a16:creationId xmlns:a16="http://schemas.microsoft.com/office/drawing/2014/main" id="{4E9585F0-3AEE-49B0-A674-1685F1D36B9A}"/>
                  </a:ext>
                </a:extLst>
              </p:cNvPr>
              <p:cNvSpPr>
                <a:spLocks noChangeAspect="1" noEditPoints="1"/>
              </p:cNvSpPr>
              <p:nvPr/>
            </p:nvSpPr>
            <p:spPr bwMode="auto">
              <a:xfrm>
                <a:off x="7949590" y="3603664"/>
                <a:ext cx="266769" cy="286979"/>
              </a:xfrm>
              <a:custGeom>
                <a:avLst/>
                <a:gdLst>
                  <a:gd name="T0" fmla="*/ 0 w 112"/>
                  <a:gd name="T1" fmla="*/ 120 h 120"/>
                  <a:gd name="T2" fmla="*/ 8 w 112"/>
                  <a:gd name="T3" fmla="*/ 120 h 120"/>
                  <a:gd name="T4" fmla="*/ 32 w 112"/>
                  <a:gd name="T5" fmla="*/ 96 h 120"/>
                  <a:gd name="T6" fmla="*/ 56 w 112"/>
                  <a:gd name="T7" fmla="*/ 120 h 120"/>
                  <a:gd name="T8" fmla="*/ 64 w 112"/>
                  <a:gd name="T9" fmla="*/ 120 h 120"/>
                  <a:gd name="T10" fmla="*/ 46 w 112"/>
                  <a:gd name="T11" fmla="*/ 91 h 120"/>
                  <a:gd name="T12" fmla="*/ 56 w 112"/>
                  <a:gd name="T13" fmla="*/ 72 h 120"/>
                  <a:gd name="T14" fmla="*/ 80 w 112"/>
                  <a:gd name="T15" fmla="*/ 48 h 120"/>
                  <a:gd name="T16" fmla="*/ 104 w 112"/>
                  <a:gd name="T17" fmla="*/ 72 h 120"/>
                  <a:gd name="T18" fmla="*/ 112 w 112"/>
                  <a:gd name="T19" fmla="*/ 72 h 120"/>
                  <a:gd name="T20" fmla="*/ 94 w 112"/>
                  <a:gd name="T21" fmla="*/ 43 h 120"/>
                  <a:gd name="T22" fmla="*/ 104 w 112"/>
                  <a:gd name="T23" fmla="*/ 24 h 120"/>
                  <a:gd name="T24" fmla="*/ 80 w 112"/>
                  <a:gd name="T25" fmla="*/ 0 h 120"/>
                  <a:gd name="T26" fmla="*/ 56 w 112"/>
                  <a:gd name="T27" fmla="*/ 24 h 120"/>
                  <a:gd name="T28" fmla="*/ 65 w 112"/>
                  <a:gd name="T29" fmla="*/ 43 h 120"/>
                  <a:gd name="T30" fmla="*/ 51 w 112"/>
                  <a:gd name="T31" fmla="*/ 58 h 120"/>
                  <a:gd name="T32" fmla="*/ 32 w 112"/>
                  <a:gd name="T33" fmla="*/ 48 h 120"/>
                  <a:gd name="T34" fmla="*/ 8 w 112"/>
                  <a:gd name="T35" fmla="*/ 72 h 120"/>
                  <a:gd name="T36" fmla="*/ 17 w 112"/>
                  <a:gd name="T37" fmla="*/ 91 h 120"/>
                  <a:gd name="T38" fmla="*/ 0 w 112"/>
                  <a:gd name="T39" fmla="*/ 120 h 120"/>
                  <a:gd name="T40" fmla="*/ 64 w 112"/>
                  <a:gd name="T41" fmla="*/ 24 h 120"/>
                  <a:gd name="T42" fmla="*/ 80 w 112"/>
                  <a:gd name="T43" fmla="*/ 8 h 120"/>
                  <a:gd name="T44" fmla="*/ 96 w 112"/>
                  <a:gd name="T45" fmla="*/ 24 h 120"/>
                  <a:gd name="T46" fmla="*/ 80 w 112"/>
                  <a:gd name="T47" fmla="*/ 40 h 120"/>
                  <a:gd name="T48" fmla="*/ 64 w 112"/>
                  <a:gd name="T49" fmla="*/ 24 h 120"/>
                  <a:gd name="T50" fmla="*/ 16 w 112"/>
                  <a:gd name="T51" fmla="*/ 72 h 120"/>
                  <a:gd name="T52" fmla="*/ 32 w 112"/>
                  <a:gd name="T53" fmla="*/ 56 h 120"/>
                  <a:gd name="T54" fmla="*/ 48 w 112"/>
                  <a:gd name="T55" fmla="*/ 72 h 120"/>
                  <a:gd name="T56" fmla="*/ 32 w 112"/>
                  <a:gd name="T57" fmla="*/ 88 h 120"/>
                  <a:gd name="T58" fmla="*/ 16 w 112"/>
                  <a:gd name="T59"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0" y="120"/>
                    </a:moveTo>
                    <a:cubicBezTo>
                      <a:pt x="8" y="120"/>
                      <a:pt x="8" y="120"/>
                      <a:pt x="8" y="120"/>
                    </a:cubicBezTo>
                    <a:cubicBezTo>
                      <a:pt x="8" y="107"/>
                      <a:pt x="18" y="96"/>
                      <a:pt x="32" y="96"/>
                    </a:cubicBezTo>
                    <a:cubicBezTo>
                      <a:pt x="45" y="96"/>
                      <a:pt x="56" y="107"/>
                      <a:pt x="56" y="120"/>
                    </a:cubicBezTo>
                    <a:cubicBezTo>
                      <a:pt x="64" y="120"/>
                      <a:pt x="64" y="120"/>
                      <a:pt x="64" y="120"/>
                    </a:cubicBezTo>
                    <a:cubicBezTo>
                      <a:pt x="64" y="107"/>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59"/>
                      <a:pt x="104" y="49"/>
                      <a:pt x="94" y="43"/>
                    </a:cubicBezTo>
                    <a:cubicBezTo>
                      <a:pt x="100" y="39"/>
                      <a:pt x="104" y="32"/>
                      <a:pt x="104" y="24"/>
                    </a:cubicBezTo>
                    <a:cubicBezTo>
                      <a:pt x="104" y="11"/>
                      <a:pt x="93" y="0"/>
                      <a:pt x="80" y="0"/>
                    </a:cubicBezTo>
                    <a:cubicBezTo>
                      <a:pt x="66" y="0"/>
                      <a:pt x="56" y="11"/>
                      <a:pt x="56" y="24"/>
                    </a:cubicBezTo>
                    <a:cubicBezTo>
                      <a:pt x="56" y="32"/>
                      <a:pt x="60" y="39"/>
                      <a:pt x="65" y="43"/>
                    </a:cubicBezTo>
                    <a:cubicBezTo>
                      <a:pt x="59" y="46"/>
                      <a:pt x="54" y="52"/>
                      <a:pt x="51" y="58"/>
                    </a:cubicBezTo>
                    <a:cubicBezTo>
                      <a:pt x="47" y="52"/>
                      <a:pt x="40" y="48"/>
                      <a:pt x="32" y="48"/>
                    </a:cubicBezTo>
                    <a:cubicBezTo>
                      <a:pt x="18" y="48"/>
                      <a:pt x="8" y="59"/>
                      <a:pt x="8" y="72"/>
                    </a:cubicBezTo>
                    <a:cubicBezTo>
                      <a:pt x="8" y="80"/>
                      <a:pt x="12" y="87"/>
                      <a:pt x="17" y="91"/>
                    </a:cubicBezTo>
                    <a:cubicBezTo>
                      <a:pt x="7" y="97"/>
                      <a:pt x="0" y="107"/>
                      <a:pt x="0" y="120"/>
                    </a:cubicBezTo>
                    <a:close/>
                    <a:moveTo>
                      <a:pt x="64" y="24"/>
                    </a:moveTo>
                    <a:cubicBezTo>
                      <a:pt x="64" y="15"/>
                      <a:pt x="71" y="8"/>
                      <a:pt x="80" y="8"/>
                    </a:cubicBezTo>
                    <a:cubicBezTo>
                      <a:pt x="88" y="8"/>
                      <a:pt x="96" y="15"/>
                      <a:pt x="96" y="24"/>
                    </a:cubicBezTo>
                    <a:cubicBezTo>
                      <a:pt x="96" y="33"/>
                      <a:pt x="88" y="40"/>
                      <a:pt x="80" y="40"/>
                    </a:cubicBezTo>
                    <a:cubicBezTo>
                      <a:pt x="71" y="40"/>
                      <a:pt x="64" y="33"/>
                      <a:pt x="64" y="24"/>
                    </a:cubicBezTo>
                    <a:close/>
                    <a:moveTo>
                      <a:pt x="16" y="72"/>
                    </a:moveTo>
                    <a:cubicBezTo>
                      <a:pt x="16" y="63"/>
                      <a:pt x="23" y="56"/>
                      <a:pt x="32" y="56"/>
                    </a:cubicBezTo>
                    <a:cubicBezTo>
                      <a:pt x="40" y="56"/>
                      <a:pt x="48" y="63"/>
                      <a:pt x="48" y="72"/>
                    </a:cubicBezTo>
                    <a:cubicBezTo>
                      <a:pt x="48" y="81"/>
                      <a:pt x="40" y="88"/>
                      <a:pt x="32" y="88"/>
                    </a:cubicBezTo>
                    <a:cubicBezTo>
                      <a:pt x="23" y="88"/>
                      <a:pt x="16" y="81"/>
                      <a:pt x="16" y="72"/>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grpSp>
        <p:nvGrpSpPr>
          <p:cNvPr id="320" name="Group 319">
            <a:extLst>
              <a:ext uri="{FF2B5EF4-FFF2-40B4-BE49-F238E27FC236}">
                <a16:creationId xmlns:a16="http://schemas.microsoft.com/office/drawing/2014/main" id="{79BFC24F-A912-4B12-BDFD-E55F37343D7B}"/>
              </a:ext>
            </a:extLst>
          </p:cNvPr>
          <p:cNvGrpSpPr/>
          <p:nvPr/>
        </p:nvGrpSpPr>
        <p:grpSpPr>
          <a:xfrm>
            <a:off x="843560" y="5225066"/>
            <a:ext cx="1703207" cy="986067"/>
            <a:chOff x="4807987" y="1328125"/>
            <a:chExt cx="1737360" cy="1005840"/>
          </a:xfrm>
        </p:grpSpPr>
        <p:sp>
          <p:nvSpPr>
            <p:cNvPr id="321" name="Rectangle 320">
              <a:extLst>
                <a:ext uri="{FF2B5EF4-FFF2-40B4-BE49-F238E27FC236}">
                  <a16:creationId xmlns:a16="http://schemas.microsoft.com/office/drawing/2014/main" id="{4AFD061E-9EF7-4A2C-BC86-BBF1B3F91AA5}"/>
                </a:ext>
              </a:extLst>
            </p:cNvPr>
            <p:cNvSpPr/>
            <p:nvPr/>
          </p:nvSpPr>
          <p:spPr bwMode="auto">
            <a:xfrm>
              <a:off x="480798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SSO to SaaS</a:t>
              </a:r>
            </a:p>
          </p:txBody>
        </p:sp>
        <p:pic>
          <p:nvPicPr>
            <p:cNvPr id="322" name="Picture 321" descr="A close up of a sign&#10;&#10;Description generated with high confidence">
              <a:extLst>
                <a:ext uri="{FF2B5EF4-FFF2-40B4-BE49-F238E27FC236}">
                  <a16:creationId xmlns:a16="http://schemas.microsoft.com/office/drawing/2014/main" id="{43C06931-ECA8-452D-AAE8-585F9D62C8F2}"/>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935470" y="1670140"/>
              <a:ext cx="468504" cy="321810"/>
            </a:xfrm>
            <a:prstGeom prst="rect">
              <a:avLst/>
            </a:prstGeom>
          </p:spPr>
        </p:pic>
      </p:grpSp>
      <p:grpSp>
        <p:nvGrpSpPr>
          <p:cNvPr id="323" name="Group 322">
            <a:extLst>
              <a:ext uri="{FF2B5EF4-FFF2-40B4-BE49-F238E27FC236}">
                <a16:creationId xmlns:a16="http://schemas.microsoft.com/office/drawing/2014/main" id="{7D1AF811-3527-4C68-92D0-DAE60A1D4495}"/>
              </a:ext>
            </a:extLst>
          </p:cNvPr>
          <p:cNvGrpSpPr/>
          <p:nvPr/>
        </p:nvGrpSpPr>
        <p:grpSpPr>
          <a:xfrm>
            <a:off x="4371949" y="4182175"/>
            <a:ext cx="1703207" cy="986067"/>
            <a:chOff x="4807987" y="4519540"/>
            <a:chExt cx="1737360" cy="1005840"/>
          </a:xfrm>
        </p:grpSpPr>
        <p:sp>
          <p:nvSpPr>
            <p:cNvPr id="324" name="Rectangle 323">
              <a:extLst>
                <a:ext uri="{FF2B5EF4-FFF2-40B4-BE49-F238E27FC236}">
                  <a16:creationId xmlns:a16="http://schemas.microsoft.com/office/drawing/2014/main" id="{459D07CD-F086-4A3E-A904-DA2357C76B2C}"/>
                </a:ext>
              </a:extLst>
            </p:cNvPr>
            <p:cNvSpPr/>
            <p:nvPr/>
          </p:nvSpPr>
          <p:spPr bwMode="auto">
            <a:xfrm>
              <a:off x="480798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Microsoft Authenticator  - Password-less Access</a:t>
              </a:r>
            </a:p>
          </p:txBody>
        </p:sp>
        <p:grpSp>
          <p:nvGrpSpPr>
            <p:cNvPr id="325" name="Group 324">
              <a:extLst>
                <a:ext uri="{FF2B5EF4-FFF2-40B4-BE49-F238E27FC236}">
                  <a16:creationId xmlns:a16="http://schemas.microsoft.com/office/drawing/2014/main" id="{54EBD9A0-7538-42B7-8726-1713E802619F}"/>
                </a:ext>
              </a:extLst>
            </p:cNvPr>
            <p:cNvGrpSpPr>
              <a:grpSpLocks noChangeAspect="1"/>
            </p:cNvGrpSpPr>
            <p:nvPr/>
          </p:nvGrpSpPr>
          <p:grpSpPr>
            <a:xfrm>
              <a:off x="5050459" y="4797980"/>
              <a:ext cx="238526" cy="448955"/>
              <a:chOff x="7368827" y="4988149"/>
              <a:chExt cx="456145" cy="858558"/>
            </a:xfrm>
          </p:grpSpPr>
          <p:grpSp>
            <p:nvGrpSpPr>
              <p:cNvPr id="326" name="Group 325">
                <a:extLst>
                  <a:ext uri="{FF2B5EF4-FFF2-40B4-BE49-F238E27FC236}">
                    <a16:creationId xmlns:a16="http://schemas.microsoft.com/office/drawing/2014/main" id="{68184C55-1485-421A-88C0-91F262DAC438}"/>
                  </a:ext>
                </a:extLst>
              </p:cNvPr>
              <p:cNvGrpSpPr/>
              <p:nvPr/>
            </p:nvGrpSpPr>
            <p:grpSpPr>
              <a:xfrm>
                <a:off x="7368827" y="4988149"/>
                <a:ext cx="456145" cy="858558"/>
                <a:chOff x="9273976" y="4198321"/>
                <a:chExt cx="406409" cy="764944"/>
              </a:xfrm>
            </p:grpSpPr>
            <p:sp>
              <p:nvSpPr>
                <p:cNvPr id="328" name="Freeform 8">
                  <a:extLst>
                    <a:ext uri="{FF2B5EF4-FFF2-40B4-BE49-F238E27FC236}">
                      <a16:creationId xmlns:a16="http://schemas.microsoft.com/office/drawing/2014/main" id="{A226FD86-2A93-496E-A96E-630904E681F4}"/>
                    </a:ext>
                  </a:extLst>
                </p:cNvPr>
                <p:cNvSpPr>
                  <a:spLocks/>
                </p:cNvSpPr>
                <p:nvPr/>
              </p:nvSpPr>
              <p:spPr bwMode="auto">
                <a:xfrm>
                  <a:off x="9273976" y="4198321"/>
                  <a:ext cx="406409" cy="764944"/>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329" name="Line 9">
                  <a:extLst>
                    <a:ext uri="{FF2B5EF4-FFF2-40B4-BE49-F238E27FC236}">
                      <a16:creationId xmlns:a16="http://schemas.microsoft.com/office/drawing/2014/main" id="{CDC8A7C0-5903-4FC4-ABB8-09A1A383CCB6}"/>
                    </a:ext>
                  </a:extLst>
                </p:cNvPr>
                <p:cNvSpPr>
                  <a:spLocks noChangeShapeType="1"/>
                </p:cNvSpPr>
                <p:nvPr/>
              </p:nvSpPr>
              <p:spPr bwMode="auto">
                <a:xfrm flipH="1" flipV="1">
                  <a:off x="9273976" y="4854288"/>
                  <a:ext cx="406409"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330" name="Line 10">
                  <a:extLst>
                    <a:ext uri="{FF2B5EF4-FFF2-40B4-BE49-F238E27FC236}">
                      <a16:creationId xmlns:a16="http://schemas.microsoft.com/office/drawing/2014/main" id="{A04A72F7-D81D-480B-BE39-2AB448E082B0}"/>
                    </a:ext>
                  </a:extLst>
                </p:cNvPr>
                <p:cNvSpPr>
                  <a:spLocks noChangeShapeType="1"/>
                </p:cNvSpPr>
                <p:nvPr/>
              </p:nvSpPr>
              <p:spPr bwMode="auto">
                <a:xfrm>
                  <a:off x="9273976" y="4298916"/>
                  <a:ext cx="402623" cy="25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sp>
            <p:nvSpPr>
              <p:cNvPr id="327" name="Freeform 172">
                <a:extLst>
                  <a:ext uri="{FF2B5EF4-FFF2-40B4-BE49-F238E27FC236}">
                    <a16:creationId xmlns:a16="http://schemas.microsoft.com/office/drawing/2014/main" id="{009531CC-F4AE-43A8-BC32-1A932CF1EAA8}"/>
                  </a:ext>
                </a:extLst>
              </p:cNvPr>
              <p:cNvSpPr>
                <a:spLocks noChangeAspect="1"/>
              </p:cNvSpPr>
              <p:nvPr/>
            </p:nvSpPr>
            <p:spPr bwMode="black">
              <a:xfrm>
                <a:off x="7436763" y="5243735"/>
                <a:ext cx="324656" cy="368647"/>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Tree>
    <p:extLst>
      <p:ext uri="{BB962C8B-B14F-4D97-AF65-F5344CB8AC3E}">
        <p14:creationId xmlns:p14="http://schemas.microsoft.com/office/powerpoint/2010/main" val="179369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2"/>
                                        </p:tgtEl>
                                        <p:attrNameLst>
                                          <p:attrName>style.visibility</p:attrName>
                                        </p:attrNameLst>
                                      </p:cBhvr>
                                      <p:to>
                                        <p:strVal val="visible"/>
                                      </p:to>
                                    </p:set>
                                    <p:animEffect transition="in" filter="fade">
                                      <p:cBhvr>
                                        <p:cTn id="7" dur="50"/>
                                        <p:tgtEl>
                                          <p:spTgt spid="302"/>
                                        </p:tgtEl>
                                      </p:cBhvr>
                                    </p:animEffect>
                                  </p:childTnLst>
                                </p:cTn>
                              </p:par>
                            </p:childTnLst>
                          </p:cTn>
                        </p:par>
                        <p:par>
                          <p:cTn id="8" fill="hold">
                            <p:stCondLst>
                              <p:cond delay="50"/>
                            </p:stCondLst>
                            <p:childTnLst>
                              <p:par>
                                <p:cTn id="9" presetID="10" presetClass="entr" presetSubtype="0" fill="hold" nodeType="afterEffect">
                                  <p:stCondLst>
                                    <p:cond delay="0"/>
                                  </p:stCondLst>
                                  <p:childTnLst>
                                    <p:set>
                                      <p:cBhvr>
                                        <p:cTn id="10" dur="1" fill="hold">
                                          <p:stCondLst>
                                            <p:cond delay="0"/>
                                          </p:stCondLst>
                                        </p:cTn>
                                        <p:tgtEl>
                                          <p:spTgt spid="287"/>
                                        </p:tgtEl>
                                        <p:attrNameLst>
                                          <p:attrName>style.visibility</p:attrName>
                                        </p:attrNameLst>
                                      </p:cBhvr>
                                      <p:to>
                                        <p:strVal val="visible"/>
                                      </p:to>
                                    </p:set>
                                    <p:animEffect transition="in" filter="fade">
                                      <p:cBhvr>
                                        <p:cTn id="11" dur="50"/>
                                        <p:tgtEl>
                                          <p:spTgt spid="287"/>
                                        </p:tgtEl>
                                      </p:cBhvr>
                                    </p:animEffect>
                                  </p:childTnLst>
                                </p:cTn>
                              </p:par>
                            </p:childTnLst>
                          </p:cTn>
                        </p:par>
                        <p:par>
                          <p:cTn id="12" fill="hold">
                            <p:stCondLst>
                              <p:cond delay="100"/>
                            </p:stCondLst>
                            <p:childTnLst>
                              <p:par>
                                <p:cTn id="13" presetID="10" presetClass="entr" presetSubtype="0" fill="hold" nodeType="afterEffect">
                                  <p:stCondLst>
                                    <p:cond delay="0"/>
                                  </p:stCondLst>
                                  <p:childTnLst>
                                    <p:set>
                                      <p:cBhvr>
                                        <p:cTn id="14" dur="1" fill="hold">
                                          <p:stCondLst>
                                            <p:cond delay="0"/>
                                          </p:stCondLst>
                                        </p:cTn>
                                        <p:tgtEl>
                                          <p:spTgt spid="275"/>
                                        </p:tgtEl>
                                        <p:attrNameLst>
                                          <p:attrName>style.visibility</p:attrName>
                                        </p:attrNameLst>
                                      </p:cBhvr>
                                      <p:to>
                                        <p:strVal val="visible"/>
                                      </p:to>
                                    </p:set>
                                    <p:animEffect transition="in" filter="fade">
                                      <p:cBhvr>
                                        <p:cTn id="15" dur="50"/>
                                        <p:tgtEl>
                                          <p:spTgt spid="275"/>
                                        </p:tgtEl>
                                      </p:cBhvr>
                                    </p:animEffect>
                                  </p:childTnLst>
                                </p:cTn>
                              </p:par>
                            </p:childTnLst>
                          </p:cTn>
                        </p:par>
                        <p:par>
                          <p:cTn id="16" fill="hold">
                            <p:stCondLst>
                              <p:cond delay="150"/>
                            </p:stCondLst>
                            <p:childTnLst>
                              <p:par>
                                <p:cTn id="17" presetID="10" presetClass="entr" presetSubtype="0" fill="hold" nodeType="afterEffect">
                                  <p:stCondLst>
                                    <p:cond delay="0"/>
                                  </p:stCondLst>
                                  <p:childTnLst>
                                    <p:set>
                                      <p:cBhvr>
                                        <p:cTn id="18" dur="1" fill="hold">
                                          <p:stCondLst>
                                            <p:cond delay="0"/>
                                          </p:stCondLst>
                                        </p:cTn>
                                        <p:tgtEl>
                                          <p:spTgt spid="320"/>
                                        </p:tgtEl>
                                        <p:attrNameLst>
                                          <p:attrName>style.visibility</p:attrName>
                                        </p:attrNameLst>
                                      </p:cBhvr>
                                      <p:to>
                                        <p:strVal val="visible"/>
                                      </p:to>
                                    </p:set>
                                    <p:animEffect transition="in" filter="fade">
                                      <p:cBhvr>
                                        <p:cTn id="19" dur="50"/>
                                        <p:tgtEl>
                                          <p:spTgt spid="320"/>
                                        </p:tgtEl>
                                      </p:cBhvr>
                                    </p:animEffect>
                                  </p:childTnLst>
                                </p:cTn>
                              </p:par>
                            </p:childTnLst>
                          </p:cTn>
                        </p:par>
                        <p:par>
                          <p:cTn id="20" fill="hold">
                            <p:stCondLst>
                              <p:cond delay="200"/>
                            </p:stCondLst>
                            <p:childTnLst>
                              <p:par>
                                <p:cTn id="21" presetID="10" presetClass="entr" presetSubtype="0" fill="hold" nodeType="afterEffect">
                                  <p:stCondLst>
                                    <p:cond delay="0"/>
                                  </p:stCondLst>
                                  <p:childTnLst>
                                    <p:set>
                                      <p:cBhvr>
                                        <p:cTn id="22" dur="1" fill="hold">
                                          <p:stCondLst>
                                            <p:cond delay="0"/>
                                          </p:stCondLst>
                                        </p:cTn>
                                        <p:tgtEl>
                                          <p:spTgt spid="281"/>
                                        </p:tgtEl>
                                        <p:attrNameLst>
                                          <p:attrName>style.visibility</p:attrName>
                                        </p:attrNameLst>
                                      </p:cBhvr>
                                      <p:to>
                                        <p:strVal val="visible"/>
                                      </p:to>
                                    </p:set>
                                    <p:animEffect transition="in" filter="fade">
                                      <p:cBhvr>
                                        <p:cTn id="23" dur="50"/>
                                        <p:tgtEl>
                                          <p:spTgt spid="281"/>
                                        </p:tgtEl>
                                      </p:cBhvr>
                                    </p:animEffect>
                                  </p:childTnLst>
                                </p:cTn>
                              </p:par>
                            </p:childTnLst>
                          </p:cTn>
                        </p:par>
                        <p:par>
                          <p:cTn id="24" fill="hold">
                            <p:stCondLst>
                              <p:cond delay="250"/>
                            </p:stCondLst>
                            <p:childTnLst>
                              <p:par>
                                <p:cTn id="25" presetID="10" presetClass="entr" presetSubtype="0" fill="hold" nodeType="afterEffect">
                                  <p:stCondLst>
                                    <p:cond delay="0"/>
                                  </p:stCondLst>
                                  <p:childTnLst>
                                    <p:set>
                                      <p:cBhvr>
                                        <p:cTn id="26" dur="1" fill="hold">
                                          <p:stCondLst>
                                            <p:cond delay="0"/>
                                          </p:stCondLst>
                                        </p:cTn>
                                        <p:tgtEl>
                                          <p:spTgt spid="278"/>
                                        </p:tgtEl>
                                        <p:attrNameLst>
                                          <p:attrName>style.visibility</p:attrName>
                                        </p:attrNameLst>
                                      </p:cBhvr>
                                      <p:to>
                                        <p:strVal val="visible"/>
                                      </p:to>
                                    </p:set>
                                    <p:animEffect transition="in" filter="fade">
                                      <p:cBhvr>
                                        <p:cTn id="27" dur="50"/>
                                        <p:tgtEl>
                                          <p:spTgt spid="278"/>
                                        </p:tgtEl>
                                      </p:cBhvr>
                                    </p:animEffect>
                                  </p:childTnLst>
                                </p:cTn>
                              </p:par>
                            </p:childTnLst>
                          </p:cTn>
                        </p:par>
                        <p:par>
                          <p:cTn id="28" fill="hold">
                            <p:stCondLst>
                              <p:cond delay="300"/>
                            </p:stCondLst>
                            <p:childTnLst>
                              <p:par>
                                <p:cTn id="29" presetID="10" presetClass="entr" presetSubtype="0" fill="hold" nodeType="afterEffect">
                                  <p:stCondLst>
                                    <p:cond delay="0"/>
                                  </p:stCondLst>
                                  <p:childTnLst>
                                    <p:set>
                                      <p:cBhvr>
                                        <p:cTn id="30" dur="1" fill="hold">
                                          <p:stCondLst>
                                            <p:cond delay="0"/>
                                          </p:stCondLst>
                                        </p:cTn>
                                        <p:tgtEl>
                                          <p:spTgt spid="242"/>
                                        </p:tgtEl>
                                        <p:attrNameLst>
                                          <p:attrName>style.visibility</p:attrName>
                                        </p:attrNameLst>
                                      </p:cBhvr>
                                      <p:to>
                                        <p:strVal val="visible"/>
                                      </p:to>
                                    </p:set>
                                    <p:animEffect transition="in" filter="fade">
                                      <p:cBhvr>
                                        <p:cTn id="31" dur="50"/>
                                        <p:tgtEl>
                                          <p:spTgt spid="242"/>
                                        </p:tgtEl>
                                      </p:cBhvr>
                                    </p:animEffect>
                                  </p:childTnLst>
                                </p:cTn>
                              </p:par>
                            </p:childTnLst>
                          </p:cTn>
                        </p:par>
                        <p:par>
                          <p:cTn id="32" fill="hold">
                            <p:stCondLst>
                              <p:cond delay="350"/>
                            </p:stCondLst>
                            <p:childTnLst>
                              <p:par>
                                <p:cTn id="33" presetID="10" presetClass="entr" presetSubtype="0" fill="hold" nodeType="afterEffect">
                                  <p:stCondLst>
                                    <p:cond delay="0"/>
                                  </p:stCondLst>
                                  <p:childTnLst>
                                    <p:set>
                                      <p:cBhvr>
                                        <p:cTn id="34" dur="1" fill="hold">
                                          <p:stCondLst>
                                            <p:cond delay="0"/>
                                          </p:stCondLst>
                                        </p:cTn>
                                        <p:tgtEl>
                                          <p:spTgt spid="245"/>
                                        </p:tgtEl>
                                        <p:attrNameLst>
                                          <p:attrName>style.visibility</p:attrName>
                                        </p:attrNameLst>
                                      </p:cBhvr>
                                      <p:to>
                                        <p:strVal val="visible"/>
                                      </p:to>
                                    </p:set>
                                    <p:animEffect transition="in" filter="fade">
                                      <p:cBhvr>
                                        <p:cTn id="35" dur="50"/>
                                        <p:tgtEl>
                                          <p:spTgt spid="245"/>
                                        </p:tgtEl>
                                      </p:cBhvr>
                                    </p:animEffect>
                                  </p:childTnLst>
                                </p:cTn>
                              </p:par>
                            </p:childTnLst>
                          </p:cTn>
                        </p:par>
                        <p:par>
                          <p:cTn id="36" fill="hold">
                            <p:stCondLst>
                              <p:cond delay="400"/>
                            </p:stCondLst>
                            <p:childTnLst>
                              <p:par>
                                <p:cTn id="37" presetID="10" presetClass="entr" presetSubtype="0" fill="hold" nodeType="afterEffect">
                                  <p:stCondLst>
                                    <p:cond delay="0"/>
                                  </p:stCondLst>
                                  <p:childTnLst>
                                    <p:set>
                                      <p:cBhvr>
                                        <p:cTn id="38" dur="1" fill="hold">
                                          <p:stCondLst>
                                            <p:cond delay="0"/>
                                          </p:stCondLst>
                                        </p:cTn>
                                        <p:tgtEl>
                                          <p:spTgt spid="248"/>
                                        </p:tgtEl>
                                        <p:attrNameLst>
                                          <p:attrName>style.visibility</p:attrName>
                                        </p:attrNameLst>
                                      </p:cBhvr>
                                      <p:to>
                                        <p:strVal val="visible"/>
                                      </p:to>
                                    </p:set>
                                    <p:animEffect transition="in" filter="fade">
                                      <p:cBhvr>
                                        <p:cTn id="39" dur="50"/>
                                        <p:tgtEl>
                                          <p:spTgt spid="248"/>
                                        </p:tgtEl>
                                      </p:cBhvr>
                                    </p:animEffect>
                                  </p:childTnLst>
                                </p:cTn>
                              </p:par>
                            </p:childTnLst>
                          </p:cTn>
                        </p:par>
                        <p:par>
                          <p:cTn id="40" fill="hold">
                            <p:stCondLst>
                              <p:cond delay="450"/>
                            </p:stCondLst>
                            <p:childTnLst>
                              <p:par>
                                <p:cTn id="41" presetID="10" presetClass="entr" presetSubtype="0" fill="hold" nodeType="afterEffect">
                                  <p:stCondLst>
                                    <p:cond delay="0"/>
                                  </p:stCondLst>
                                  <p:childTnLst>
                                    <p:set>
                                      <p:cBhvr>
                                        <p:cTn id="42" dur="1" fill="hold">
                                          <p:stCondLst>
                                            <p:cond delay="0"/>
                                          </p:stCondLst>
                                        </p:cTn>
                                        <p:tgtEl>
                                          <p:spTgt spid="251"/>
                                        </p:tgtEl>
                                        <p:attrNameLst>
                                          <p:attrName>style.visibility</p:attrName>
                                        </p:attrNameLst>
                                      </p:cBhvr>
                                      <p:to>
                                        <p:strVal val="visible"/>
                                      </p:to>
                                    </p:set>
                                    <p:animEffect transition="in" filter="fade">
                                      <p:cBhvr>
                                        <p:cTn id="43" dur="50"/>
                                        <p:tgtEl>
                                          <p:spTgt spid="251"/>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323"/>
                                        </p:tgtEl>
                                        <p:attrNameLst>
                                          <p:attrName>style.visibility</p:attrName>
                                        </p:attrNameLst>
                                      </p:cBhvr>
                                      <p:to>
                                        <p:strVal val="visible"/>
                                      </p:to>
                                    </p:set>
                                    <p:animEffect transition="in" filter="fade">
                                      <p:cBhvr>
                                        <p:cTn id="47" dur="50"/>
                                        <p:tgtEl>
                                          <p:spTgt spid="323"/>
                                        </p:tgtEl>
                                      </p:cBhvr>
                                    </p:animEffect>
                                  </p:childTnLst>
                                </p:cTn>
                              </p:par>
                            </p:childTnLst>
                          </p:cTn>
                        </p:par>
                        <p:par>
                          <p:cTn id="48" fill="hold">
                            <p:stCondLst>
                              <p:cond delay="550"/>
                            </p:stCondLst>
                            <p:childTnLst>
                              <p:par>
                                <p:cTn id="49" presetID="10" presetClass="entr" presetSubtype="0" fill="hold" nodeType="afterEffect">
                                  <p:stCondLst>
                                    <p:cond delay="0"/>
                                  </p:stCondLst>
                                  <p:childTnLst>
                                    <p:set>
                                      <p:cBhvr>
                                        <p:cTn id="50" dur="1" fill="hold">
                                          <p:stCondLst>
                                            <p:cond delay="0"/>
                                          </p:stCondLst>
                                        </p:cTn>
                                        <p:tgtEl>
                                          <p:spTgt spid="263"/>
                                        </p:tgtEl>
                                        <p:attrNameLst>
                                          <p:attrName>style.visibility</p:attrName>
                                        </p:attrNameLst>
                                      </p:cBhvr>
                                      <p:to>
                                        <p:strVal val="visible"/>
                                      </p:to>
                                    </p:set>
                                    <p:animEffect transition="in" filter="fade">
                                      <p:cBhvr>
                                        <p:cTn id="51" dur="50"/>
                                        <p:tgtEl>
                                          <p:spTgt spid="263"/>
                                        </p:tgtEl>
                                      </p:cBhvr>
                                    </p:animEffect>
                                  </p:childTnLst>
                                </p:cTn>
                              </p:par>
                            </p:childTnLst>
                          </p:cTn>
                        </p:par>
                        <p:par>
                          <p:cTn id="52" fill="hold">
                            <p:stCondLst>
                              <p:cond delay="600"/>
                            </p:stCondLst>
                            <p:childTnLst>
                              <p:par>
                                <p:cTn id="53" presetID="10" presetClass="entr" presetSubtype="0" fill="hold" nodeType="afterEffect">
                                  <p:stCondLst>
                                    <p:cond delay="0"/>
                                  </p:stCondLst>
                                  <p:childTnLst>
                                    <p:set>
                                      <p:cBhvr>
                                        <p:cTn id="54" dur="1" fill="hold">
                                          <p:stCondLst>
                                            <p:cond delay="0"/>
                                          </p:stCondLst>
                                        </p:cTn>
                                        <p:tgtEl>
                                          <p:spTgt spid="272"/>
                                        </p:tgtEl>
                                        <p:attrNameLst>
                                          <p:attrName>style.visibility</p:attrName>
                                        </p:attrNameLst>
                                      </p:cBhvr>
                                      <p:to>
                                        <p:strVal val="visible"/>
                                      </p:to>
                                    </p:set>
                                    <p:animEffect transition="in" filter="fade">
                                      <p:cBhvr>
                                        <p:cTn id="55" dur="50"/>
                                        <p:tgtEl>
                                          <p:spTgt spid="272"/>
                                        </p:tgtEl>
                                      </p:cBhvr>
                                    </p:animEffect>
                                  </p:childTnLst>
                                </p:cTn>
                              </p:par>
                            </p:childTnLst>
                          </p:cTn>
                        </p:par>
                        <p:par>
                          <p:cTn id="56" fill="hold">
                            <p:stCondLst>
                              <p:cond delay="650"/>
                            </p:stCondLst>
                            <p:childTnLst>
                              <p:par>
                                <p:cTn id="57" presetID="10" presetClass="entr" presetSubtype="0" fill="hold" nodeType="afterEffect">
                                  <p:stCondLst>
                                    <p:cond delay="0"/>
                                  </p:stCondLst>
                                  <p:childTnLst>
                                    <p:set>
                                      <p:cBhvr>
                                        <p:cTn id="58" dur="1" fill="hold">
                                          <p:stCondLst>
                                            <p:cond delay="0"/>
                                          </p:stCondLst>
                                        </p:cTn>
                                        <p:tgtEl>
                                          <p:spTgt spid="311"/>
                                        </p:tgtEl>
                                        <p:attrNameLst>
                                          <p:attrName>style.visibility</p:attrName>
                                        </p:attrNameLst>
                                      </p:cBhvr>
                                      <p:to>
                                        <p:strVal val="visible"/>
                                      </p:to>
                                    </p:set>
                                    <p:animEffect transition="in" filter="fade">
                                      <p:cBhvr>
                                        <p:cTn id="59" dur="50"/>
                                        <p:tgtEl>
                                          <p:spTgt spid="311"/>
                                        </p:tgtEl>
                                      </p:cBhvr>
                                    </p:animEffect>
                                  </p:childTnLst>
                                </p:cTn>
                              </p:par>
                            </p:childTnLst>
                          </p:cTn>
                        </p:par>
                        <p:par>
                          <p:cTn id="60" fill="hold">
                            <p:stCondLst>
                              <p:cond delay="700"/>
                            </p:stCondLst>
                            <p:childTnLst>
                              <p:par>
                                <p:cTn id="61" presetID="10" presetClass="entr" presetSubtype="0" fill="hold" nodeType="afterEffect">
                                  <p:stCondLst>
                                    <p:cond delay="0"/>
                                  </p:stCondLst>
                                  <p:childTnLst>
                                    <p:set>
                                      <p:cBhvr>
                                        <p:cTn id="62" dur="1" fill="hold">
                                          <p:stCondLst>
                                            <p:cond delay="0"/>
                                          </p:stCondLst>
                                        </p:cTn>
                                        <p:tgtEl>
                                          <p:spTgt spid="284"/>
                                        </p:tgtEl>
                                        <p:attrNameLst>
                                          <p:attrName>style.visibility</p:attrName>
                                        </p:attrNameLst>
                                      </p:cBhvr>
                                      <p:to>
                                        <p:strVal val="visible"/>
                                      </p:to>
                                    </p:set>
                                    <p:animEffect transition="in" filter="fade">
                                      <p:cBhvr>
                                        <p:cTn id="63" dur="50"/>
                                        <p:tgtEl>
                                          <p:spTgt spid="284"/>
                                        </p:tgtEl>
                                      </p:cBhvr>
                                    </p:animEffect>
                                  </p:childTnLst>
                                </p:cTn>
                              </p:par>
                            </p:childTnLst>
                          </p:cTn>
                        </p:par>
                        <p:par>
                          <p:cTn id="64" fill="hold">
                            <p:stCondLst>
                              <p:cond delay="750"/>
                            </p:stCondLst>
                            <p:childTnLst>
                              <p:par>
                                <p:cTn id="65" presetID="10" presetClass="entr" presetSubtype="0" fill="hold" nodeType="afterEffect">
                                  <p:stCondLst>
                                    <p:cond delay="0"/>
                                  </p:stCondLst>
                                  <p:childTnLst>
                                    <p:set>
                                      <p:cBhvr>
                                        <p:cTn id="66" dur="1" fill="hold">
                                          <p:stCondLst>
                                            <p:cond delay="0"/>
                                          </p:stCondLst>
                                        </p:cTn>
                                        <p:tgtEl>
                                          <p:spTgt spid="266"/>
                                        </p:tgtEl>
                                        <p:attrNameLst>
                                          <p:attrName>style.visibility</p:attrName>
                                        </p:attrNameLst>
                                      </p:cBhvr>
                                      <p:to>
                                        <p:strVal val="visible"/>
                                      </p:to>
                                    </p:set>
                                    <p:animEffect transition="in" filter="fade">
                                      <p:cBhvr>
                                        <p:cTn id="67" dur="50"/>
                                        <p:tgtEl>
                                          <p:spTgt spid="266"/>
                                        </p:tgtEl>
                                      </p:cBhvr>
                                    </p:animEffect>
                                  </p:childTnLst>
                                </p:cTn>
                              </p:par>
                            </p:childTnLst>
                          </p:cTn>
                        </p:par>
                        <p:par>
                          <p:cTn id="68" fill="hold">
                            <p:stCondLst>
                              <p:cond delay="800"/>
                            </p:stCondLst>
                            <p:childTnLst>
                              <p:par>
                                <p:cTn id="69" presetID="10" presetClass="entr" presetSubtype="0" fill="hold" nodeType="afterEffect">
                                  <p:stCondLst>
                                    <p:cond delay="0"/>
                                  </p:stCondLst>
                                  <p:childTnLst>
                                    <p:set>
                                      <p:cBhvr>
                                        <p:cTn id="70" dur="1" fill="hold">
                                          <p:stCondLst>
                                            <p:cond delay="0"/>
                                          </p:stCondLst>
                                        </p:cTn>
                                        <p:tgtEl>
                                          <p:spTgt spid="257"/>
                                        </p:tgtEl>
                                        <p:attrNameLst>
                                          <p:attrName>style.visibility</p:attrName>
                                        </p:attrNameLst>
                                      </p:cBhvr>
                                      <p:to>
                                        <p:strVal val="visible"/>
                                      </p:to>
                                    </p:set>
                                    <p:animEffect transition="in" filter="fade">
                                      <p:cBhvr>
                                        <p:cTn id="71" dur="50"/>
                                        <p:tgtEl>
                                          <p:spTgt spid="257"/>
                                        </p:tgtEl>
                                      </p:cBhvr>
                                    </p:animEffect>
                                  </p:childTnLst>
                                </p:cTn>
                              </p:par>
                            </p:childTnLst>
                          </p:cTn>
                        </p:par>
                        <p:par>
                          <p:cTn id="72" fill="hold">
                            <p:stCondLst>
                              <p:cond delay="850"/>
                            </p:stCondLst>
                            <p:childTnLst>
                              <p:par>
                                <p:cTn id="73" presetID="10" presetClass="entr" presetSubtype="0" fill="hold" nodeType="afterEffect">
                                  <p:stCondLst>
                                    <p:cond delay="0"/>
                                  </p:stCondLst>
                                  <p:childTnLst>
                                    <p:set>
                                      <p:cBhvr>
                                        <p:cTn id="74" dur="1" fill="hold">
                                          <p:stCondLst>
                                            <p:cond delay="0"/>
                                          </p:stCondLst>
                                        </p:cTn>
                                        <p:tgtEl>
                                          <p:spTgt spid="269"/>
                                        </p:tgtEl>
                                        <p:attrNameLst>
                                          <p:attrName>style.visibility</p:attrName>
                                        </p:attrNameLst>
                                      </p:cBhvr>
                                      <p:to>
                                        <p:strVal val="visible"/>
                                      </p:to>
                                    </p:set>
                                    <p:animEffect transition="in" filter="fade">
                                      <p:cBhvr>
                                        <p:cTn id="75" dur="50"/>
                                        <p:tgtEl>
                                          <p:spTgt spid="269"/>
                                        </p:tgtEl>
                                      </p:cBhvr>
                                    </p:animEffect>
                                  </p:childTnLst>
                                </p:cTn>
                              </p:par>
                            </p:childTnLst>
                          </p:cTn>
                        </p:par>
                        <p:par>
                          <p:cTn id="76" fill="hold">
                            <p:stCondLst>
                              <p:cond delay="900"/>
                            </p:stCondLst>
                            <p:childTnLst>
                              <p:par>
                                <p:cTn id="77" presetID="10" presetClass="entr" presetSubtype="0" fill="hold" nodeType="afterEffect">
                                  <p:stCondLst>
                                    <p:cond delay="0"/>
                                  </p:stCondLst>
                                  <p:childTnLst>
                                    <p:set>
                                      <p:cBhvr>
                                        <p:cTn id="78" dur="1" fill="hold">
                                          <p:stCondLst>
                                            <p:cond delay="0"/>
                                          </p:stCondLst>
                                        </p:cTn>
                                        <p:tgtEl>
                                          <p:spTgt spid="290"/>
                                        </p:tgtEl>
                                        <p:attrNameLst>
                                          <p:attrName>style.visibility</p:attrName>
                                        </p:attrNameLst>
                                      </p:cBhvr>
                                      <p:to>
                                        <p:strVal val="visible"/>
                                      </p:to>
                                    </p:set>
                                    <p:animEffect transition="in" filter="fade">
                                      <p:cBhvr>
                                        <p:cTn id="79" dur="50"/>
                                        <p:tgtEl>
                                          <p:spTgt spid="290"/>
                                        </p:tgtEl>
                                      </p:cBhvr>
                                    </p:animEffect>
                                  </p:childTnLst>
                                </p:cTn>
                              </p:par>
                            </p:childTnLst>
                          </p:cTn>
                        </p:par>
                        <p:par>
                          <p:cTn id="80" fill="hold">
                            <p:stCondLst>
                              <p:cond delay="950"/>
                            </p:stCondLst>
                            <p:childTnLst>
                              <p:par>
                                <p:cTn id="81" presetID="10" presetClass="entr" presetSubtype="0" fill="hold" nodeType="afterEffect">
                                  <p:stCondLst>
                                    <p:cond delay="0"/>
                                  </p:stCondLst>
                                  <p:childTnLst>
                                    <p:set>
                                      <p:cBhvr>
                                        <p:cTn id="82" dur="1" fill="hold">
                                          <p:stCondLst>
                                            <p:cond delay="0"/>
                                          </p:stCondLst>
                                        </p:cTn>
                                        <p:tgtEl>
                                          <p:spTgt spid="299"/>
                                        </p:tgtEl>
                                        <p:attrNameLst>
                                          <p:attrName>style.visibility</p:attrName>
                                        </p:attrNameLst>
                                      </p:cBhvr>
                                      <p:to>
                                        <p:strVal val="visible"/>
                                      </p:to>
                                    </p:set>
                                    <p:animEffect transition="in" filter="fade">
                                      <p:cBhvr>
                                        <p:cTn id="83" dur="50"/>
                                        <p:tgtEl>
                                          <p:spTgt spid="299"/>
                                        </p:tgtEl>
                                      </p:cBhvr>
                                    </p:animEffect>
                                  </p:childTnLst>
                                </p:cTn>
                              </p:par>
                            </p:childTnLst>
                          </p:cTn>
                        </p:par>
                        <p:par>
                          <p:cTn id="84" fill="hold">
                            <p:stCondLst>
                              <p:cond delay="1000"/>
                            </p:stCondLst>
                            <p:childTnLst>
                              <p:par>
                                <p:cTn id="85" presetID="10" presetClass="entr" presetSubtype="0" fill="hold" nodeType="afterEffect">
                                  <p:stCondLst>
                                    <p:cond delay="0"/>
                                  </p:stCondLst>
                                  <p:childTnLst>
                                    <p:set>
                                      <p:cBhvr>
                                        <p:cTn id="86" dur="1" fill="hold">
                                          <p:stCondLst>
                                            <p:cond delay="0"/>
                                          </p:stCondLst>
                                        </p:cTn>
                                        <p:tgtEl>
                                          <p:spTgt spid="260"/>
                                        </p:tgtEl>
                                        <p:attrNameLst>
                                          <p:attrName>style.visibility</p:attrName>
                                        </p:attrNameLst>
                                      </p:cBhvr>
                                      <p:to>
                                        <p:strVal val="visible"/>
                                      </p:to>
                                    </p:set>
                                    <p:animEffect transition="in" filter="fade">
                                      <p:cBhvr>
                                        <p:cTn id="87" dur="50"/>
                                        <p:tgtEl>
                                          <p:spTgt spid="260"/>
                                        </p:tgtEl>
                                      </p:cBhvr>
                                    </p:animEffect>
                                  </p:childTnLst>
                                </p:cTn>
                              </p:par>
                            </p:childTnLst>
                          </p:cTn>
                        </p:par>
                        <p:par>
                          <p:cTn id="88" fill="hold">
                            <p:stCondLst>
                              <p:cond delay="1050"/>
                            </p:stCondLst>
                            <p:childTnLst>
                              <p:par>
                                <p:cTn id="89" presetID="10" presetClass="entr" presetSubtype="0" fill="hold" nodeType="afterEffect">
                                  <p:stCondLst>
                                    <p:cond delay="0"/>
                                  </p:stCondLst>
                                  <p:childTnLst>
                                    <p:set>
                                      <p:cBhvr>
                                        <p:cTn id="90" dur="1" fill="hold">
                                          <p:stCondLst>
                                            <p:cond delay="0"/>
                                          </p:stCondLst>
                                        </p:cTn>
                                        <p:tgtEl>
                                          <p:spTgt spid="254"/>
                                        </p:tgtEl>
                                        <p:attrNameLst>
                                          <p:attrName>style.visibility</p:attrName>
                                        </p:attrNameLst>
                                      </p:cBhvr>
                                      <p:to>
                                        <p:strVal val="visible"/>
                                      </p:to>
                                    </p:set>
                                    <p:animEffect transition="in" filter="fade">
                                      <p:cBhvr>
                                        <p:cTn id="91" dur="50"/>
                                        <p:tgtEl>
                                          <p:spTgt spid="254"/>
                                        </p:tgtEl>
                                      </p:cBhvr>
                                    </p:animEffect>
                                  </p:childTnLst>
                                </p:cTn>
                              </p:par>
                            </p:childTnLst>
                          </p:cTn>
                        </p:par>
                        <p:par>
                          <p:cTn id="92" fill="hold">
                            <p:stCondLst>
                              <p:cond delay="1100"/>
                            </p:stCondLst>
                            <p:childTnLst>
                              <p:par>
                                <p:cTn id="93" presetID="10" presetClass="entr" presetSubtype="0" fill="hold" nodeType="afterEffect">
                                  <p:stCondLst>
                                    <p:cond delay="0"/>
                                  </p:stCondLst>
                                  <p:childTnLst>
                                    <p:set>
                                      <p:cBhvr>
                                        <p:cTn id="94" dur="1" fill="hold">
                                          <p:stCondLst>
                                            <p:cond delay="0"/>
                                          </p:stCondLst>
                                        </p:cTn>
                                        <p:tgtEl>
                                          <p:spTgt spid="293"/>
                                        </p:tgtEl>
                                        <p:attrNameLst>
                                          <p:attrName>style.visibility</p:attrName>
                                        </p:attrNameLst>
                                      </p:cBhvr>
                                      <p:to>
                                        <p:strVal val="visible"/>
                                      </p:to>
                                    </p:set>
                                    <p:animEffect transition="in" filter="fade">
                                      <p:cBhvr>
                                        <p:cTn id="95" dur="50"/>
                                        <p:tgtEl>
                                          <p:spTgt spid="293"/>
                                        </p:tgtEl>
                                      </p:cBhvr>
                                    </p:animEffect>
                                  </p:childTnLst>
                                </p:cTn>
                              </p:par>
                            </p:childTnLst>
                          </p:cTn>
                        </p:par>
                        <p:par>
                          <p:cTn id="96" fill="hold">
                            <p:stCondLst>
                              <p:cond delay="1150"/>
                            </p:stCondLst>
                            <p:childTnLst>
                              <p:par>
                                <p:cTn id="97" presetID="10" presetClass="entr" presetSubtype="0" fill="hold" nodeType="afterEffect">
                                  <p:stCondLst>
                                    <p:cond delay="0"/>
                                  </p:stCondLst>
                                  <p:childTnLst>
                                    <p:set>
                                      <p:cBhvr>
                                        <p:cTn id="98" dur="1" fill="hold">
                                          <p:stCondLst>
                                            <p:cond delay="0"/>
                                          </p:stCondLst>
                                        </p:cTn>
                                        <p:tgtEl>
                                          <p:spTgt spid="296"/>
                                        </p:tgtEl>
                                        <p:attrNameLst>
                                          <p:attrName>style.visibility</p:attrName>
                                        </p:attrNameLst>
                                      </p:cBhvr>
                                      <p:to>
                                        <p:strVal val="visible"/>
                                      </p:to>
                                    </p:set>
                                    <p:animEffect transition="in" filter="fade">
                                      <p:cBhvr>
                                        <p:cTn id="99" dur="50"/>
                                        <p:tgtEl>
                                          <p:spTgt spid="2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FEF78F-DB25-481B-8832-3D86D96E9BB2}"/>
              </a:ext>
            </a:extLst>
          </p:cNvPr>
          <p:cNvSpPr>
            <a:spLocks noGrp="1"/>
          </p:cNvSpPr>
          <p:nvPr>
            <p:ph type="body" sz="quarter" idx="10"/>
          </p:nvPr>
        </p:nvSpPr>
        <p:spPr>
          <a:xfrm>
            <a:off x="269240" y="1189178"/>
            <a:ext cx="11653523" cy="5523500"/>
          </a:xfrm>
        </p:spPr>
        <p:txBody>
          <a:bodyPr/>
          <a:lstStyle/>
          <a:p>
            <a:r>
              <a:rPr lang="en-US" dirty="0">
                <a:solidFill>
                  <a:schemeClr val="tx1"/>
                </a:solidFill>
              </a:rPr>
              <a:t>Microsoft’s multi-tenant cloud based directory and identity management service</a:t>
            </a:r>
          </a:p>
          <a:p>
            <a:r>
              <a:rPr lang="en-US" dirty="0">
                <a:solidFill>
                  <a:schemeClr val="tx1"/>
                </a:solidFill>
              </a:rPr>
              <a:t>Comes in </a:t>
            </a:r>
            <a:r>
              <a:rPr lang="en-US" dirty="0">
                <a:solidFill>
                  <a:schemeClr val="tx1"/>
                </a:solidFill>
                <a:hlinkClick r:id="rId3"/>
              </a:rPr>
              <a:t>four editions</a:t>
            </a:r>
            <a:endParaRPr lang="en-US" dirty="0">
              <a:solidFill>
                <a:schemeClr val="tx1"/>
              </a:solidFill>
            </a:endParaRPr>
          </a:p>
          <a:p>
            <a:pPr lvl="1"/>
            <a:r>
              <a:rPr lang="en-US" dirty="0">
                <a:solidFill>
                  <a:schemeClr val="tx1"/>
                </a:solidFill>
              </a:rPr>
              <a:t>Free</a:t>
            </a:r>
          </a:p>
          <a:p>
            <a:pPr lvl="1"/>
            <a:r>
              <a:rPr lang="en-US" dirty="0">
                <a:solidFill>
                  <a:schemeClr val="tx1"/>
                </a:solidFill>
              </a:rPr>
              <a:t>Basic</a:t>
            </a:r>
          </a:p>
          <a:p>
            <a:pPr lvl="1"/>
            <a:r>
              <a:rPr lang="en-US" dirty="0">
                <a:solidFill>
                  <a:schemeClr val="tx1"/>
                </a:solidFill>
              </a:rPr>
              <a:t>Premium P1</a:t>
            </a:r>
          </a:p>
          <a:p>
            <a:pPr lvl="1"/>
            <a:r>
              <a:rPr lang="en-US" dirty="0">
                <a:solidFill>
                  <a:schemeClr val="tx1"/>
                </a:solidFill>
              </a:rPr>
              <a:t>Premium P2</a:t>
            </a:r>
          </a:p>
          <a:p>
            <a:r>
              <a:rPr lang="en-US" dirty="0">
                <a:solidFill>
                  <a:schemeClr val="tx1"/>
                </a:solidFill>
              </a:rPr>
              <a:t>Users and groups are created in a flat structure without OUs or GPOs</a:t>
            </a:r>
          </a:p>
          <a:p>
            <a:r>
              <a:rPr lang="en-US" dirty="0">
                <a:solidFill>
                  <a:schemeClr val="tx1"/>
                </a:solidFill>
              </a:rPr>
              <a:t>Authentication is performed through protocols such as SAML, WS-Federation, and OAuth</a:t>
            </a:r>
          </a:p>
        </p:txBody>
      </p:sp>
      <p:sp>
        <p:nvSpPr>
          <p:cNvPr id="3" name="Title 2">
            <a:extLst>
              <a:ext uri="{FF2B5EF4-FFF2-40B4-BE49-F238E27FC236}">
                <a16:creationId xmlns:a16="http://schemas.microsoft.com/office/drawing/2014/main" id="{827097D4-7862-4E97-B4FC-B1FC2C776DE9}"/>
              </a:ext>
            </a:extLst>
          </p:cNvPr>
          <p:cNvSpPr>
            <a:spLocks noGrp="1"/>
          </p:cNvSpPr>
          <p:nvPr>
            <p:ph type="title"/>
          </p:nvPr>
        </p:nvSpPr>
        <p:spPr/>
        <p:txBody>
          <a:bodyPr>
            <a:noAutofit/>
          </a:bodyPr>
          <a:lstStyle/>
          <a:p>
            <a:r>
              <a:rPr lang="en-US" sz="6000" dirty="0">
                <a:solidFill>
                  <a:schemeClr val="tx1"/>
                </a:solidFill>
              </a:rPr>
              <a:t>Azure Active Directory (AAD)</a:t>
            </a:r>
          </a:p>
        </p:txBody>
      </p:sp>
    </p:spTree>
    <p:extLst>
      <p:ext uri="{BB962C8B-B14F-4D97-AF65-F5344CB8AC3E}">
        <p14:creationId xmlns:p14="http://schemas.microsoft.com/office/powerpoint/2010/main" val="23096393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E49E13-21C7-451E-BD45-BE8E89BB16DB}"/>
              </a:ext>
            </a:extLst>
          </p:cNvPr>
          <p:cNvSpPr>
            <a:spLocks noGrp="1"/>
          </p:cNvSpPr>
          <p:nvPr>
            <p:ph type="body" sz="quarter" idx="10"/>
          </p:nvPr>
        </p:nvSpPr>
        <p:spPr>
          <a:xfrm>
            <a:off x="269240" y="1189178"/>
            <a:ext cx="11653523" cy="2664512"/>
          </a:xfrm>
        </p:spPr>
        <p:txBody>
          <a:bodyPr/>
          <a:lstStyle/>
          <a:p>
            <a:r>
              <a:rPr lang="en-US" dirty="0">
                <a:solidFill>
                  <a:schemeClr val="tx1"/>
                </a:solidFill>
              </a:rPr>
              <a:t>Key Features</a:t>
            </a:r>
          </a:p>
          <a:p>
            <a:pPr lvl="1"/>
            <a:r>
              <a:rPr lang="en-US" dirty="0">
                <a:solidFill>
                  <a:schemeClr val="tx1"/>
                </a:solidFill>
              </a:rPr>
              <a:t>Single Sign-On (SSO)</a:t>
            </a:r>
          </a:p>
          <a:p>
            <a:pPr lvl="1"/>
            <a:r>
              <a:rPr lang="en-US" dirty="0">
                <a:solidFill>
                  <a:schemeClr val="tx1"/>
                </a:solidFill>
              </a:rPr>
              <a:t>Self-Service Password Change </a:t>
            </a:r>
          </a:p>
          <a:p>
            <a:pPr lvl="1"/>
            <a:r>
              <a:rPr lang="en-US" dirty="0">
                <a:solidFill>
                  <a:schemeClr val="tx1"/>
                </a:solidFill>
              </a:rPr>
              <a:t>Multi-Factor Authentication (MFA)</a:t>
            </a:r>
          </a:p>
          <a:p>
            <a:pPr lvl="1"/>
            <a:r>
              <a:rPr lang="en-US" dirty="0">
                <a:solidFill>
                  <a:schemeClr val="tx1"/>
                </a:solidFill>
              </a:rPr>
              <a:t>AD Join for Windows 10</a:t>
            </a:r>
          </a:p>
          <a:p>
            <a:pPr lvl="1"/>
            <a:r>
              <a:rPr lang="en-US" dirty="0">
                <a:solidFill>
                  <a:schemeClr val="tx1"/>
                </a:solidFill>
              </a:rPr>
              <a:t>Company Branding</a:t>
            </a:r>
          </a:p>
        </p:txBody>
      </p:sp>
      <p:sp>
        <p:nvSpPr>
          <p:cNvPr id="2" name="Title 1">
            <a:extLst>
              <a:ext uri="{FF2B5EF4-FFF2-40B4-BE49-F238E27FC236}">
                <a16:creationId xmlns:a16="http://schemas.microsoft.com/office/drawing/2014/main" id="{8DC4CFBA-2277-45DB-9BE4-26803CA8C357}"/>
              </a:ext>
            </a:extLst>
          </p:cNvPr>
          <p:cNvSpPr>
            <a:spLocks noGrp="1"/>
          </p:cNvSpPr>
          <p:nvPr>
            <p:ph type="title"/>
          </p:nvPr>
        </p:nvSpPr>
        <p:spPr/>
        <p:txBody>
          <a:bodyPr>
            <a:noAutofit/>
          </a:bodyPr>
          <a:lstStyle/>
          <a:p>
            <a:r>
              <a:rPr lang="en-US" sz="6000" dirty="0">
                <a:solidFill>
                  <a:schemeClr val="tx1"/>
                </a:solidFill>
              </a:rPr>
              <a:t>Azure Active Directory (AAD)</a:t>
            </a:r>
          </a:p>
        </p:txBody>
      </p:sp>
      <p:pic>
        <p:nvPicPr>
          <p:cNvPr id="13314" name="Picture 2" descr="Azure AD Connect Stack">
            <a:extLst>
              <a:ext uri="{FF2B5EF4-FFF2-40B4-BE49-F238E27FC236}">
                <a16:creationId xmlns:a16="http://schemas.microsoft.com/office/drawing/2014/main" id="{330865A7-BCA9-4BDA-9FBD-08AF5C1227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4453" y="3389224"/>
            <a:ext cx="6753225" cy="2809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579539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A2C7B5-743D-42FC-8571-6B7DB222E524}"/>
              </a:ext>
            </a:extLst>
          </p:cNvPr>
          <p:cNvSpPr>
            <a:spLocks noGrp="1"/>
          </p:cNvSpPr>
          <p:nvPr>
            <p:ph type="body" sz="quarter" idx="10"/>
          </p:nvPr>
        </p:nvSpPr>
        <p:spPr>
          <a:xfrm>
            <a:off x="269240" y="1189178"/>
            <a:ext cx="11653523" cy="2736198"/>
          </a:xfrm>
        </p:spPr>
        <p:txBody>
          <a:bodyPr/>
          <a:lstStyle/>
          <a:p>
            <a:r>
              <a:rPr lang="en-US" dirty="0">
                <a:solidFill>
                  <a:schemeClr val="tx1"/>
                </a:solidFill>
              </a:rPr>
              <a:t>AAD is not Active Directory nor Azure Active Directory – Domain Services!  One solutions does not replace the other …</a:t>
            </a:r>
          </a:p>
          <a:p>
            <a:r>
              <a:rPr lang="en-US" dirty="0">
                <a:solidFill>
                  <a:schemeClr val="tx1"/>
                </a:solidFill>
              </a:rPr>
              <a:t>Most customers will need AD and AAD, and you integrate them with Azure AD Connect </a:t>
            </a:r>
          </a:p>
        </p:txBody>
      </p:sp>
      <p:sp>
        <p:nvSpPr>
          <p:cNvPr id="2" name="Title 1">
            <a:extLst>
              <a:ext uri="{FF2B5EF4-FFF2-40B4-BE49-F238E27FC236}">
                <a16:creationId xmlns:a16="http://schemas.microsoft.com/office/drawing/2014/main" id="{E85FD9CD-9CD3-444D-9129-B03CB133B856}"/>
              </a:ext>
            </a:extLst>
          </p:cNvPr>
          <p:cNvSpPr>
            <a:spLocks noGrp="1"/>
          </p:cNvSpPr>
          <p:nvPr>
            <p:ph type="title"/>
          </p:nvPr>
        </p:nvSpPr>
        <p:spPr/>
        <p:txBody>
          <a:bodyPr>
            <a:noAutofit/>
          </a:bodyPr>
          <a:lstStyle/>
          <a:p>
            <a:r>
              <a:rPr lang="en-US" sz="6000" dirty="0">
                <a:solidFill>
                  <a:schemeClr val="tx1"/>
                </a:solidFill>
              </a:rPr>
              <a:t>Azure Active Directory (AAD)</a:t>
            </a:r>
          </a:p>
        </p:txBody>
      </p:sp>
    </p:spTree>
    <p:extLst>
      <p:ext uri="{BB962C8B-B14F-4D97-AF65-F5344CB8AC3E}">
        <p14:creationId xmlns:p14="http://schemas.microsoft.com/office/powerpoint/2010/main" val="15646126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a:xfrm>
            <a:off x="304800" y="1295400"/>
            <a:ext cx="5199270" cy="1686801"/>
          </a:xfrm>
        </p:spPr>
        <p:txBody>
          <a:bodyPr/>
          <a:lstStyle/>
          <a:p>
            <a:r>
              <a:rPr lang="en-US" dirty="0"/>
              <a:t>Azure Active Directory – Domain Services </a:t>
            </a:r>
            <a:br>
              <a:rPr lang="en-US" dirty="0"/>
            </a:br>
            <a:r>
              <a:rPr lang="en-US" dirty="0"/>
              <a:t>(AAD-DS)</a:t>
            </a:r>
          </a:p>
        </p:txBody>
      </p:sp>
    </p:spTree>
    <p:extLst>
      <p:ext uri="{BB962C8B-B14F-4D97-AF65-F5344CB8AC3E}">
        <p14:creationId xmlns:p14="http://schemas.microsoft.com/office/powerpoint/2010/main" val="242089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6C3D9-F20E-453F-8665-CFB92CB3A7B5}"/>
              </a:ext>
            </a:extLst>
          </p:cNvPr>
          <p:cNvSpPr>
            <a:spLocks noGrp="1"/>
          </p:cNvSpPr>
          <p:nvPr>
            <p:ph type="title"/>
          </p:nvPr>
        </p:nvSpPr>
        <p:spPr/>
        <p:txBody>
          <a:bodyPr/>
          <a:lstStyle/>
          <a:p>
            <a:r>
              <a:rPr lang="en-US" b="1" dirty="0"/>
              <a:t>Azure AD Domain Services</a:t>
            </a:r>
          </a:p>
        </p:txBody>
      </p:sp>
      <p:sp>
        <p:nvSpPr>
          <p:cNvPr id="3" name="Text Placeholder 2">
            <a:extLst>
              <a:ext uri="{FF2B5EF4-FFF2-40B4-BE49-F238E27FC236}">
                <a16:creationId xmlns:a16="http://schemas.microsoft.com/office/drawing/2014/main" id="{AAF7B49A-57B9-4D52-800F-BEA906E51C07}"/>
              </a:ext>
            </a:extLst>
          </p:cNvPr>
          <p:cNvSpPr>
            <a:spLocks noGrp="1"/>
          </p:cNvSpPr>
          <p:nvPr>
            <p:ph type="body" sz="quarter" idx="10"/>
          </p:nvPr>
        </p:nvSpPr>
        <p:spPr>
          <a:xfrm>
            <a:off x="269240" y="1189178"/>
            <a:ext cx="11653523" cy="5503045"/>
          </a:xfrm>
        </p:spPr>
        <p:txBody>
          <a:bodyPr/>
          <a:lstStyle/>
          <a:p>
            <a:pPr marL="571500" indent="-571500">
              <a:buFont typeface="Arial" panose="020B0604020202020204" pitchFamily="34" charset="0"/>
              <a:buChar char="•"/>
            </a:pPr>
            <a:r>
              <a:rPr lang="en-US" sz="3600" dirty="0"/>
              <a:t>AD DS evolved to the cloud</a:t>
            </a:r>
          </a:p>
          <a:p>
            <a:pPr marL="571500" indent="-571500">
              <a:buFont typeface="Arial" panose="020B0604020202020204" pitchFamily="34" charset="0"/>
              <a:buChar char="•"/>
            </a:pPr>
            <a:r>
              <a:rPr lang="en-US" sz="3600" dirty="0"/>
              <a:t>Provides managed domain services such as domain join, group policy, LDAP, Kerberos/NTLM authentication that are fully compatible with Windows Server Active Directory</a:t>
            </a:r>
          </a:p>
          <a:p>
            <a:pPr marL="571500" indent="-571500">
              <a:buFont typeface="Arial" panose="020B0604020202020204" pitchFamily="34" charset="0"/>
              <a:buChar char="•"/>
            </a:pPr>
            <a:r>
              <a:rPr lang="en-US" sz="3600" dirty="0"/>
              <a:t>Enables you to deploy your workloads in Azure Infrastructure Services without having to worry about maintaining your identity infrastructure</a:t>
            </a:r>
          </a:p>
          <a:p>
            <a:pPr marL="571500" indent="-571500">
              <a:buFont typeface="Arial" panose="020B0604020202020204" pitchFamily="34" charset="0"/>
              <a:buChar char="•"/>
            </a:pPr>
            <a:r>
              <a:rPr lang="en-US" sz="3600" dirty="0"/>
              <a:t>Great for cloud-only customers that do not have any on-premises identity footprint</a:t>
            </a:r>
          </a:p>
        </p:txBody>
      </p:sp>
    </p:spTree>
    <p:extLst>
      <p:ext uri="{BB962C8B-B14F-4D97-AF65-F5344CB8AC3E}">
        <p14:creationId xmlns:p14="http://schemas.microsoft.com/office/powerpoint/2010/main" val="36511185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Freeform 38">
            <a:extLst>
              <a:ext uri="{FF2B5EF4-FFF2-40B4-BE49-F238E27FC236}">
                <a16:creationId xmlns:a16="http://schemas.microsoft.com/office/drawing/2014/main" id="{43F93F86-3EF2-4C16-8483-8A83D2247B2E}"/>
              </a:ext>
            </a:extLst>
          </p:cNvPr>
          <p:cNvSpPr>
            <a:spLocks/>
          </p:cNvSpPr>
          <p:nvPr/>
        </p:nvSpPr>
        <p:spPr bwMode="auto">
          <a:xfrm>
            <a:off x="474104" y="1541500"/>
            <a:ext cx="6814268" cy="4480753"/>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lumMod val="95000"/>
            </a:schemeClr>
          </a:solidFill>
          <a:ln w="19050">
            <a:solidFill>
              <a:schemeClr val="accent4"/>
            </a:solid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2" name="Title 1">
            <a:extLst>
              <a:ext uri="{FF2B5EF4-FFF2-40B4-BE49-F238E27FC236}">
                <a16:creationId xmlns:a16="http://schemas.microsoft.com/office/drawing/2014/main" id="{AF622CAF-49F3-4B35-8356-F01013D91846}"/>
              </a:ext>
            </a:extLst>
          </p:cNvPr>
          <p:cNvSpPr>
            <a:spLocks noGrp="1"/>
          </p:cNvSpPr>
          <p:nvPr>
            <p:ph type="title"/>
          </p:nvPr>
        </p:nvSpPr>
        <p:spPr/>
        <p:txBody>
          <a:bodyPr/>
          <a:lstStyle/>
          <a:p>
            <a:r>
              <a:rPr lang="en-US" dirty="0"/>
              <a:t>Azure Active Directory Domain Services</a:t>
            </a:r>
          </a:p>
        </p:txBody>
      </p:sp>
      <p:sp>
        <p:nvSpPr>
          <p:cNvPr id="55" name="TextBox 54">
            <a:extLst>
              <a:ext uri="{FF2B5EF4-FFF2-40B4-BE49-F238E27FC236}">
                <a16:creationId xmlns:a16="http://schemas.microsoft.com/office/drawing/2014/main" id="{02B25972-DAD8-48C3-B73C-1DCA4DCD1FF7}"/>
              </a:ext>
            </a:extLst>
          </p:cNvPr>
          <p:cNvSpPr txBox="1"/>
          <p:nvPr/>
        </p:nvSpPr>
        <p:spPr>
          <a:xfrm>
            <a:off x="4363994" y="5183425"/>
            <a:ext cx="1852910" cy="624378"/>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ts val="961"/>
              </a:lnSpc>
              <a:spcBef>
                <a:spcPts val="0"/>
              </a:spcBef>
              <a:spcAft>
                <a:spcPts val="576"/>
              </a:spcAft>
              <a:buClrTx/>
              <a:buSzTx/>
              <a:buFontTx/>
              <a:buNone/>
              <a:tabLst/>
              <a:defRPr/>
            </a:pPr>
            <a:r>
              <a:rPr kumimoji="0" lang="en-US" sz="1345" b="0" i="0" u="none" strike="noStrike" kern="0" cap="none" spc="0" normalizeH="0" baseline="0" noProof="0" dirty="0">
                <a:ln>
                  <a:noFill/>
                </a:ln>
                <a:solidFill>
                  <a:srgbClr val="353535"/>
                </a:solidFill>
                <a:effectLst/>
                <a:uLnTx/>
                <a:uFillTx/>
                <a:latin typeface="Segoe UI"/>
                <a:ea typeface="+mn-ea"/>
                <a:cs typeface="+mn-cs"/>
              </a:rPr>
              <a:t>Azure</a:t>
            </a:r>
          </a:p>
          <a:p>
            <a:pPr marL="0" marR="0" lvl="0" indent="0" algn="ctr" defTabSz="896354" rtl="0" eaLnBrk="1" fontAlgn="auto" latinLnBrk="0" hangingPunct="1">
              <a:lnSpc>
                <a:spcPts val="961"/>
              </a:lnSpc>
              <a:spcBef>
                <a:spcPts val="0"/>
              </a:spcBef>
              <a:spcAft>
                <a:spcPts val="576"/>
              </a:spcAft>
              <a:buClrTx/>
              <a:buSzTx/>
              <a:buFontTx/>
              <a:buNone/>
              <a:tabLst/>
              <a:defRPr/>
            </a:pPr>
            <a:r>
              <a:rPr kumimoji="0" lang="en-US" sz="1345" b="0" i="0" u="none" strike="noStrike" kern="0" cap="none" spc="0" normalizeH="0" baseline="0" noProof="0" dirty="0">
                <a:ln>
                  <a:noFill/>
                </a:ln>
                <a:solidFill>
                  <a:srgbClr val="353535"/>
                </a:solidFill>
                <a:effectLst/>
                <a:uLnTx/>
                <a:uFillTx/>
                <a:latin typeface="Segoe UI"/>
                <a:ea typeface="+mn-ea"/>
                <a:cs typeface="+mn-cs"/>
              </a:rPr>
              <a:t>Active Directory</a:t>
            </a:r>
          </a:p>
        </p:txBody>
      </p:sp>
      <p:cxnSp>
        <p:nvCxnSpPr>
          <p:cNvPr id="56" name="Straight Arrow Connector 55">
            <a:extLst>
              <a:ext uri="{FF2B5EF4-FFF2-40B4-BE49-F238E27FC236}">
                <a16:creationId xmlns:a16="http://schemas.microsoft.com/office/drawing/2014/main" id="{42CFB449-894E-4A31-9772-2969E1CBEE3A}"/>
              </a:ext>
            </a:extLst>
          </p:cNvPr>
          <p:cNvCxnSpPr/>
          <p:nvPr/>
        </p:nvCxnSpPr>
        <p:spPr>
          <a:xfrm>
            <a:off x="5360697" y="4790416"/>
            <a:ext cx="1568743" cy="0"/>
          </a:xfrm>
          <a:prstGeom prst="straightConnector1">
            <a:avLst/>
          </a:prstGeom>
          <a:noFill/>
          <a:ln w="19050" cap="flat" cmpd="sng" algn="ctr">
            <a:solidFill>
              <a:schemeClr val="accent4"/>
            </a:solidFill>
            <a:prstDash val="solid"/>
            <a:headEnd type="none"/>
            <a:tailEnd type="oval"/>
          </a:ln>
          <a:effectLst/>
        </p:spPr>
      </p:cxnSp>
      <p:cxnSp>
        <p:nvCxnSpPr>
          <p:cNvPr id="57" name="Straight Arrow Connector 56">
            <a:extLst>
              <a:ext uri="{FF2B5EF4-FFF2-40B4-BE49-F238E27FC236}">
                <a16:creationId xmlns:a16="http://schemas.microsoft.com/office/drawing/2014/main" id="{6A038225-868A-4799-B121-D176E7E03E84}"/>
              </a:ext>
            </a:extLst>
          </p:cNvPr>
          <p:cNvCxnSpPr/>
          <p:nvPr/>
        </p:nvCxnSpPr>
        <p:spPr>
          <a:xfrm>
            <a:off x="5360697" y="5041533"/>
            <a:ext cx="1568743" cy="0"/>
          </a:xfrm>
          <a:prstGeom prst="straightConnector1">
            <a:avLst/>
          </a:prstGeom>
          <a:noFill/>
          <a:ln w="19050" cap="flat" cmpd="sng" algn="ctr">
            <a:solidFill>
              <a:schemeClr val="accent4"/>
            </a:solidFill>
            <a:prstDash val="solid"/>
            <a:headEnd type="none"/>
            <a:tailEnd type="oval"/>
          </a:ln>
          <a:effectLst/>
        </p:spPr>
      </p:cxnSp>
      <p:sp>
        <p:nvSpPr>
          <p:cNvPr id="58" name="Rectangle 57">
            <a:extLst>
              <a:ext uri="{FF2B5EF4-FFF2-40B4-BE49-F238E27FC236}">
                <a16:creationId xmlns:a16="http://schemas.microsoft.com/office/drawing/2014/main" id="{D8B07F05-7942-480F-B82D-E48B0208F1EA}"/>
              </a:ext>
            </a:extLst>
          </p:cNvPr>
          <p:cNvSpPr/>
          <p:nvPr/>
        </p:nvSpPr>
        <p:spPr>
          <a:xfrm>
            <a:off x="7213670" y="2059487"/>
            <a:ext cx="3706206" cy="754315"/>
          </a:xfrm>
          <a:prstGeom prst="rect">
            <a:avLst/>
          </a:prstGeom>
        </p:spPr>
        <p:txBody>
          <a:bodyPr wrap="square">
            <a:spAutoFit/>
          </a:bodyPr>
          <a:lstStyle/>
          <a:p>
            <a:pPr marL="0" marR="0" lvl="0" indent="0" algn="l" defTabSz="896354" rtl="0" eaLnBrk="1" fontAlgn="auto" latinLnBrk="0" hangingPunct="1">
              <a:lnSpc>
                <a:spcPct val="100000"/>
              </a:lnSpc>
              <a:spcBef>
                <a:spcPts val="1730"/>
              </a:spcBef>
              <a:spcAft>
                <a:spcPts val="0"/>
              </a:spcAft>
              <a:buClrTx/>
              <a:buSzTx/>
              <a:buFontTx/>
              <a:buNone/>
              <a:tabLst/>
              <a:defRPr/>
            </a:pPr>
            <a:r>
              <a:rPr kumimoji="0" lang="en-US" sz="2157" b="0" i="0" u="none" strike="noStrike" kern="0" cap="none" spc="0" normalizeH="0" baseline="0" noProof="0" dirty="0">
                <a:ln>
                  <a:noFill/>
                </a:ln>
                <a:solidFill>
                  <a:srgbClr val="353535"/>
                </a:solidFill>
                <a:effectLst/>
                <a:uLnTx/>
                <a:uFillTx/>
                <a:latin typeface="Segoe UI Semilight"/>
                <a:ea typeface="+mn-ea"/>
                <a:cs typeface="+mn-cs"/>
              </a:rPr>
              <a:t>Lift-and-shift on-premises apps to Azure IaaS</a:t>
            </a:r>
          </a:p>
        </p:txBody>
      </p:sp>
      <p:sp>
        <p:nvSpPr>
          <p:cNvPr id="59" name="TextBox 58">
            <a:extLst>
              <a:ext uri="{FF2B5EF4-FFF2-40B4-BE49-F238E27FC236}">
                <a16:creationId xmlns:a16="http://schemas.microsoft.com/office/drawing/2014/main" id="{942BAEAE-CD87-4B92-AB66-D77A13CE5C6F}"/>
              </a:ext>
            </a:extLst>
          </p:cNvPr>
          <p:cNvSpPr txBox="1"/>
          <p:nvPr/>
        </p:nvSpPr>
        <p:spPr>
          <a:xfrm>
            <a:off x="9457593" y="5296552"/>
            <a:ext cx="1462282" cy="470314"/>
          </a:xfrm>
          <a:prstGeom prst="rect">
            <a:avLst/>
          </a:prstGeom>
          <a:noFill/>
        </p:spPr>
        <p:txBody>
          <a:bodyPr wrap="square" lIns="175761" tIns="140609" rIns="175761" bIns="140609" rtlCol="0">
            <a:spAutoFit/>
          </a:bodyPr>
          <a:lstStyle/>
          <a:p>
            <a:pPr marL="0" marR="0" lvl="0" indent="0" algn="ctr" defTabSz="896386" rtl="0" eaLnBrk="1" fontAlgn="auto" latinLnBrk="0" hangingPunct="1">
              <a:lnSpc>
                <a:spcPct val="90000"/>
              </a:lnSpc>
              <a:spcBef>
                <a:spcPts val="0"/>
              </a:spcBef>
              <a:spcAft>
                <a:spcPts val="576"/>
              </a:spcAft>
              <a:buClrTx/>
              <a:buSzTx/>
              <a:buFontTx/>
              <a:buNone/>
              <a:tabLst/>
              <a:defRPr/>
            </a:pPr>
            <a:r>
              <a:rPr kumimoji="0" lang="en-US" sz="1345" b="0" i="0" u="none" strike="noStrike" kern="0" cap="none" spc="0" normalizeH="0" baseline="0" noProof="0" dirty="0">
                <a:ln>
                  <a:noFill/>
                </a:ln>
                <a:solidFill>
                  <a:srgbClr val="353535"/>
                </a:solidFill>
                <a:effectLst/>
                <a:uLnTx/>
                <a:uFillTx/>
                <a:latin typeface="Segoe UI"/>
                <a:ea typeface="+mn-ea"/>
                <a:cs typeface="+mn-cs"/>
              </a:rPr>
              <a:t>On-premises</a:t>
            </a:r>
          </a:p>
        </p:txBody>
      </p:sp>
      <p:sp>
        <p:nvSpPr>
          <p:cNvPr id="60" name="TextBox 59">
            <a:extLst>
              <a:ext uri="{FF2B5EF4-FFF2-40B4-BE49-F238E27FC236}">
                <a16:creationId xmlns:a16="http://schemas.microsoft.com/office/drawing/2014/main" id="{31A2F9A7-1E4C-40B5-955C-6CE71E8662C5}"/>
              </a:ext>
            </a:extLst>
          </p:cNvPr>
          <p:cNvSpPr txBox="1"/>
          <p:nvPr/>
        </p:nvSpPr>
        <p:spPr>
          <a:xfrm>
            <a:off x="7404211" y="3760311"/>
            <a:ext cx="1610635" cy="766726"/>
          </a:xfrm>
          <a:prstGeom prst="rect">
            <a:avLst/>
          </a:prstGeom>
          <a:noFill/>
        </p:spPr>
        <p:txBody>
          <a:bodyPr wrap="square" lIns="175761" tIns="140609" rIns="175761" bIns="140609" rtlCol="0">
            <a:spAutoFit/>
          </a:bodyPr>
          <a:lstStyle/>
          <a:p>
            <a:pPr marL="0" marR="0" lvl="0" indent="0" algn="ctr" defTabSz="895509" rtl="0" eaLnBrk="1" fontAlgn="base" latinLnBrk="0" hangingPunct="1">
              <a:lnSpc>
                <a:spcPct val="100000"/>
              </a:lnSpc>
              <a:spcBef>
                <a:spcPct val="20000"/>
              </a:spcBef>
              <a:spcAft>
                <a:spcPct val="0"/>
              </a:spcAft>
              <a:buClrTx/>
              <a:buSzPct val="90000"/>
              <a:buFontTx/>
              <a:buNone/>
              <a:tabLst/>
              <a:defRPr/>
            </a:pPr>
            <a:r>
              <a:rPr kumimoji="0" lang="en-US" sz="1568" b="0" i="0" u="none" strike="noStrike" kern="0" cap="none" spc="0" normalizeH="0" baseline="0" noProof="0" dirty="0">
                <a:ln>
                  <a:noFill/>
                </a:ln>
                <a:solidFill>
                  <a:srgbClr val="353535"/>
                </a:solidFill>
                <a:effectLst/>
                <a:uLnTx/>
                <a:uFillTx/>
                <a:latin typeface="Segoe UI Semibold" panose="020B0702040204020203" pitchFamily="34" charset="0"/>
                <a:ea typeface="Segoe UI" charset="0"/>
                <a:cs typeface="Segoe UI Semibold" panose="020B0702040204020203" pitchFamily="34" charset="0"/>
              </a:rPr>
              <a:t>Azure AD</a:t>
            </a:r>
            <a:br>
              <a:rPr kumimoji="0" lang="en-US" sz="1568" b="0" i="0" u="none" strike="noStrike" kern="0" cap="none" spc="0" normalizeH="0" baseline="0" noProof="0" dirty="0">
                <a:ln>
                  <a:noFill/>
                </a:ln>
                <a:solidFill>
                  <a:srgbClr val="353535"/>
                </a:solidFill>
                <a:effectLst/>
                <a:uLnTx/>
                <a:uFillTx/>
                <a:latin typeface="Segoe UI Semibold" panose="020B0702040204020203" pitchFamily="34" charset="0"/>
                <a:ea typeface="Segoe UI" charset="0"/>
                <a:cs typeface="Segoe UI Semibold" panose="020B0702040204020203" pitchFamily="34" charset="0"/>
              </a:rPr>
            </a:br>
            <a:r>
              <a:rPr kumimoji="0" lang="en-US" sz="1568" b="0" i="0" u="none" strike="noStrike" kern="0" cap="none" spc="0" normalizeH="0" baseline="0" noProof="0" dirty="0">
                <a:ln>
                  <a:noFill/>
                </a:ln>
                <a:solidFill>
                  <a:srgbClr val="353535"/>
                </a:solidFill>
                <a:effectLst/>
                <a:uLnTx/>
                <a:uFillTx/>
                <a:latin typeface="Segoe UI Semibold" panose="020B0702040204020203" pitchFamily="34" charset="0"/>
                <a:ea typeface="Segoe UI" charset="0"/>
                <a:cs typeface="Segoe UI Semibold" panose="020B0702040204020203" pitchFamily="34" charset="0"/>
              </a:rPr>
              <a:t>Connect</a:t>
            </a:r>
          </a:p>
        </p:txBody>
      </p:sp>
      <p:grpSp>
        <p:nvGrpSpPr>
          <p:cNvPr id="62" name="Group 61">
            <a:extLst>
              <a:ext uri="{FF2B5EF4-FFF2-40B4-BE49-F238E27FC236}">
                <a16:creationId xmlns:a16="http://schemas.microsoft.com/office/drawing/2014/main" id="{345C251F-B9D7-4FEF-BE9D-B96A20DA2A77}"/>
              </a:ext>
            </a:extLst>
          </p:cNvPr>
          <p:cNvGrpSpPr/>
          <p:nvPr/>
        </p:nvGrpSpPr>
        <p:grpSpPr>
          <a:xfrm>
            <a:off x="9287174" y="4151391"/>
            <a:ext cx="1632702" cy="990051"/>
            <a:chOff x="9870172" y="2679804"/>
            <a:chExt cx="1665441" cy="1009904"/>
          </a:xfrm>
        </p:grpSpPr>
        <p:pic>
          <p:nvPicPr>
            <p:cNvPr id="63" name="Picture 62">
              <a:extLst>
                <a:ext uri="{FF2B5EF4-FFF2-40B4-BE49-F238E27FC236}">
                  <a16:creationId xmlns:a16="http://schemas.microsoft.com/office/drawing/2014/main" id="{AF48EE62-2F44-4C82-82D1-1945CEFFA49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396412" y="2679804"/>
              <a:ext cx="617355" cy="408500"/>
            </a:xfrm>
            <a:prstGeom prst="rect">
              <a:avLst/>
            </a:prstGeom>
            <a:noFill/>
          </p:spPr>
        </p:pic>
        <p:sp>
          <p:nvSpPr>
            <p:cNvPr id="64" name="TextBox 63">
              <a:extLst>
                <a:ext uri="{FF2B5EF4-FFF2-40B4-BE49-F238E27FC236}">
                  <a16:creationId xmlns:a16="http://schemas.microsoft.com/office/drawing/2014/main" id="{E619070A-F624-4A1C-8D03-54C4E31FF616}"/>
                </a:ext>
              </a:extLst>
            </p:cNvPr>
            <p:cNvSpPr txBox="1"/>
            <p:nvPr/>
          </p:nvSpPr>
          <p:spPr>
            <a:xfrm>
              <a:off x="9870172" y="3012252"/>
              <a:ext cx="1665441" cy="677456"/>
            </a:xfrm>
            <a:prstGeom prst="rect">
              <a:avLst/>
            </a:prstGeom>
            <a:noFill/>
          </p:spPr>
          <p:txBody>
            <a:bodyPr wrap="square" lIns="175761" tIns="140609" rIns="175761" bIns="140609" rtlCol="0">
              <a:spAutoFit/>
            </a:bodyPr>
            <a:lstStyle/>
            <a:p>
              <a:pPr marL="0" marR="0" lvl="0" indent="0" algn="ctr" defTabSz="896386"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Windows Server Active Directory</a:t>
              </a:r>
            </a:p>
          </p:txBody>
        </p:sp>
      </p:grpSp>
      <p:sp>
        <p:nvSpPr>
          <p:cNvPr id="65" name="Rectangle 64">
            <a:extLst>
              <a:ext uri="{FF2B5EF4-FFF2-40B4-BE49-F238E27FC236}">
                <a16:creationId xmlns:a16="http://schemas.microsoft.com/office/drawing/2014/main" id="{6E6FDF79-13B6-45B6-AEB3-92641CA020C2}"/>
              </a:ext>
            </a:extLst>
          </p:cNvPr>
          <p:cNvSpPr/>
          <p:nvPr/>
        </p:nvSpPr>
        <p:spPr bwMode="auto">
          <a:xfrm>
            <a:off x="9265266" y="4039150"/>
            <a:ext cx="2033761" cy="1214535"/>
          </a:xfrm>
          <a:prstGeom prst="rect">
            <a:avLst/>
          </a:prstGeom>
          <a:noFill/>
          <a:ln w="19050" cap="rnd" cmpd="sng" algn="ctr">
            <a:solidFill>
              <a:schemeClr val="accent4"/>
            </a:solidFill>
            <a:prstDash val="sysDot"/>
            <a:headEnd type="none" w="med" len="med"/>
            <a:tailEnd type="none" w="med" len="med"/>
          </a:ln>
          <a:effectLst/>
        </p:spPr>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6" name="Group 65">
            <a:extLst>
              <a:ext uri="{FF2B5EF4-FFF2-40B4-BE49-F238E27FC236}">
                <a16:creationId xmlns:a16="http://schemas.microsoft.com/office/drawing/2014/main" id="{5AFB4E39-96DF-4676-8AE9-7C233F2B723B}"/>
              </a:ext>
            </a:extLst>
          </p:cNvPr>
          <p:cNvGrpSpPr/>
          <p:nvPr/>
        </p:nvGrpSpPr>
        <p:grpSpPr>
          <a:xfrm>
            <a:off x="10807682" y="4848145"/>
            <a:ext cx="543389" cy="750126"/>
            <a:chOff x="9483586" y="2725460"/>
            <a:chExt cx="715530" cy="987759"/>
          </a:xfrm>
          <a:solidFill>
            <a:schemeClr val="accent4"/>
          </a:solidFill>
        </p:grpSpPr>
        <p:sp>
          <p:nvSpPr>
            <p:cNvPr id="67" name="Freeform 47">
              <a:extLst>
                <a:ext uri="{FF2B5EF4-FFF2-40B4-BE49-F238E27FC236}">
                  <a16:creationId xmlns:a16="http://schemas.microsoft.com/office/drawing/2014/main" id="{45AA6926-4D30-4B28-A49F-945616A3054C}"/>
                </a:ext>
              </a:extLst>
            </p:cNvPr>
            <p:cNvSpPr>
              <a:spLocks noEditPoints="1"/>
            </p:cNvSpPr>
            <p:nvPr/>
          </p:nvSpPr>
          <p:spPr bwMode="auto">
            <a:xfrm>
              <a:off x="9483586" y="2725460"/>
              <a:ext cx="715530" cy="957647"/>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68" name="Rectangle 48">
              <a:extLst>
                <a:ext uri="{FF2B5EF4-FFF2-40B4-BE49-F238E27FC236}">
                  <a16:creationId xmlns:a16="http://schemas.microsoft.com/office/drawing/2014/main" id="{485AEDA3-A092-4565-9126-A6B01174C7C6}"/>
                </a:ext>
              </a:extLst>
            </p:cNvPr>
            <p:cNvSpPr>
              <a:spLocks noChangeArrowheads="1"/>
            </p:cNvSpPr>
            <p:nvPr/>
          </p:nvSpPr>
          <p:spPr bwMode="auto">
            <a:xfrm>
              <a:off x="9743257" y="3683108"/>
              <a:ext cx="74192" cy="301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69" name="Rectangle 49">
              <a:extLst>
                <a:ext uri="{FF2B5EF4-FFF2-40B4-BE49-F238E27FC236}">
                  <a16:creationId xmlns:a16="http://schemas.microsoft.com/office/drawing/2014/main" id="{B8DD7E43-7C32-4680-8185-06B927EB1EA0}"/>
                </a:ext>
              </a:extLst>
            </p:cNvPr>
            <p:cNvSpPr>
              <a:spLocks noChangeArrowheads="1"/>
            </p:cNvSpPr>
            <p:nvPr/>
          </p:nvSpPr>
          <p:spPr bwMode="auto">
            <a:xfrm>
              <a:off x="9865254" y="3683108"/>
              <a:ext cx="74192" cy="301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cxnSp>
        <p:nvCxnSpPr>
          <p:cNvPr id="70" name="Straight Arrow Connector 69">
            <a:extLst>
              <a:ext uri="{FF2B5EF4-FFF2-40B4-BE49-F238E27FC236}">
                <a16:creationId xmlns:a16="http://schemas.microsoft.com/office/drawing/2014/main" id="{DB72125A-4B7F-44B7-BE46-BF10022A94FE}"/>
              </a:ext>
            </a:extLst>
          </p:cNvPr>
          <p:cNvCxnSpPr>
            <a:cxnSpLocks/>
          </p:cNvCxnSpPr>
          <p:nvPr/>
        </p:nvCxnSpPr>
        <p:spPr>
          <a:xfrm flipH="1">
            <a:off x="7477678" y="4698935"/>
            <a:ext cx="1606405" cy="0"/>
          </a:xfrm>
          <a:prstGeom prst="straightConnector1">
            <a:avLst/>
          </a:prstGeom>
          <a:noFill/>
          <a:ln w="22225" cap="flat" cmpd="sng" algn="ctr">
            <a:solidFill>
              <a:schemeClr val="accent4"/>
            </a:solidFill>
            <a:prstDash val="solid"/>
            <a:headEnd type="triangle"/>
            <a:tailEnd type="triangle" w="med" len="sm"/>
          </a:ln>
          <a:effectLst/>
        </p:spPr>
      </p:cxnSp>
      <p:sp>
        <p:nvSpPr>
          <p:cNvPr id="71" name="TextBox 70">
            <a:extLst>
              <a:ext uri="{FF2B5EF4-FFF2-40B4-BE49-F238E27FC236}">
                <a16:creationId xmlns:a16="http://schemas.microsoft.com/office/drawing/2014/main" id="{82604BCB-23B2-4F4C-AF10-02166F179EC1}"/>
              </a:ext>
            </a:extLst>
          </p:cNvPr>
          <p:cNvSpPr txBox="1"/>
          <p:nvPr/>
        </p:nvSpPr>
        <p:spPr>
          <a:xfrm>
            <a:off x="1769108" y="4281921"/>
            <a:ext cx="1303597" cy="576800"/>
          </a:xfrm>
          <a:prstGeom prst="rect">
            <a:avLst/>
          </a:prstGeom>
          <a:noFill/>
        </p:spPr>
        <p:txBody>
          <a:bodyPr wrap="square" lIns="175761" tIns="140609" rIns="175761" bIns="140609" rtlCol="0">
            <a:spAutoFit/>
          </a:bodyPr>
          <a:lstStyle/>
          <a:p>
            <a:pPr marL="0" marR="0" lvl="0" indent="0" algn="ctr" defTabSz="896386" rtl="0" eaLnBrk="1" fontAlgn="auto" latinLnBrk="0" hangingPunct="1">
              <a:lnSpc>
                <a:spcPct val="90000"/>
              </a:lnSpc>
              <a:spcBef>
                <a:spcPts val="0"/>
              </a:spcBef>
              <a:spcAft>
                <a:spcPts val="576"/>
              </a:spcAft>
              <a:buClrTx/>
              <a:buSzTx/>
              <a:buFontTx/>
              <a:buNone/>
              <a:tabLst/>
              <a:defRPr/>
            </a:pPr>
            <a:r>
              <a:rPr kumimoji="0" lang="en-US" sz="1057" b="0" i="0" u="none" strike="noStrike" kern="0" cap="none" spc="0" normalizeH="0" baseline="0" noProof="0" dirty="0">
                <a:ln>
                  <a:noFill/>
                </a:ln>
                <a:solidFill>
                  <a:srgbClr val="353535"/>
                </a:solidFill>
                <a:effectLst/>
                <a:uLnTx/>
                <a:uFillTx/>
                <a:latin typeface="Segoe UI"/>
                <a:ea typeface="+mn-ea"/>
                <a:cs typeface="+mn-cs"/>
              </a:rPr>
              <a:t>Your Azure IaaS workloads/apps</a:t>
            </a:r>
          </a:p>
        </p:txBody>
      </p:sp>
      <p:sp>
        <p:nvSpPr>
          <p:cNvPr id="72" name="TextBox 71">
            <a:extLst>
              <a:ext uri="{FF2B5EF4-FFF2-40B4-BE49-F238E27FC236}">
                <a16:creationId xmlns:a16="http://schemas.microsoft.com/office/drawing/2014/main" id="{B01B9269-A5C1-4A4E-86F3-026498F0D7B1}"/>
              </a:ext>
            </a:extLst>
          </p:cNvPr>
          <p:cNvSpPr txBox="1"/>
          <p:nvPr/>
        </p:nvSpPr>
        <p:spPr>
          <a:xfrm>
            <a:off x="3372796" y="3639369"/>
            <a:ext cx="1801292" cy="730614"/>
          </a:xfrm>
          <a:prstGeom prst="rect">
            <a:avLst/>
          </a:prstGeom>
          <a:noFill/>
        </p:spPr>
        <p:txBody>
          <a:bodyPr wrap="square" lIns="175761" tIns="140609" rIns="175761" bIns="140609" rtlCol="0">
            <a:spAutoFit/>
          </a:bodyPr>
          <a:lstStyle/>
          <a:p>
            <a:pPr marL="0" marR="0" lvl="0" indent="0" algn="ctr" defTabSz="896386" rtl="0" eaLnBrk="1" fontAlgn="auto" latinLnBrk="0" hangingPunct="1">
              <a:lnSpc>
                <a:spcPct val="90000"/>
              </a:lnSpc>
              <a:spcBef>
                <a:spcPts val="0"/>
              </a:spcBef>
              <a:spcAft>
                <a:spcPts val="576"/>
              </a:spcAft>
              <a:buClrTx/>
              <a:buSzTx/>
              <a:buFontTx/>
              <a:buNone/>
              <a:tabLst/>
              <a:defRPr/>
            </a:pPr>
            <a:r>
              <a:rPr kumimoji="0" lang="en-US" sz="1345" b="0" i="0" u="none" strike="noStrike" kern="0" cap="none" spc="0" normalizeH="0" baseline="0" noProof="0" dirty="0">
                <a:ln>
                  <a:noFill/>
                </a:ln>
                <a:solidFill>
                  <a:srgbClr val="353535"/>
                </a:solidFill>
                <a:effectLst/>
                <a:uLnTx/>
                <a:uFillTx/>
                <a:latin typeface="Segoe UI"/>
                <a:ea typeface="+mn-ea"/>
                <a:cs typeface="+mn-cs"/>
              </a:rPr>
              <a:t>Azure AD </a:t>
            </a:r>
          </a:p>
          <a:p>
            <a:pPr marL="0" marR="0" lvl="0" indent="0" algn="ctr" defTabSz="896386" rtl="0" eaLnBrk="1" fontAlgn="auto" latinLnBrk="0" hangingPunct="1">
              <a:lnSpc>
                <a:spcPct val="90000"/>
              </a:lnSpc>
              <a:spcBef>
                <a:spcPts val="0"/>
              </a:spcBef>
              <a:spcAft>
                <a:spcPts val="576"/>
              </a:spcAft>
              <a:buClrTx/>
              <a:buSzTx/>
              <a:buFontTx/>
              <a:buNone/>
              <a:tabLst/>
              <a:defRPr/>
            </a:pPr>
            <a:r>
              <a:rPr kumimoji="0" lang="en-US" sz="1345" b="0" i="0" u="none" strike="noStrike" kern="0" cap="none" spc="0" normalizeH="0" baseline="0" noProof="0" dirty="0">
                <a:ln>
                  <a:noFill/>
                </a:ln>
                <a:solidFill>
                  <a:srgbClr val="353535"/>
                </a:solidFill>
                <a:effectLst/>
                <a:uLnTx/>
                <a:uFillTx/>
                <a:latin typeface="Segoe UI"/>
                <a:ea typeface="+mn-ea"/>
                <a:cs typeface="+mn-cs"/>
              </a:rPr>
              <a:t>Domain Services</a:t>
            </a:r>
          </a:p>
        </p:txBody>
      </p:sp>
      <p:sp>
        <p:nvSpPr>
          <p:cNvPr id="73" name="Rectangle 72">
            <a:extLst>
              <a:ext uri="{FF2B5EF4-FFF2-40B4-BE49-F238E27FC236}">
                <a16:creationId xmlns:a16="http://schemas.microsoft.com/office/drawing/2014/main" id="{D847A66C-73C4-4C4E-B7E8-99994E9E5610}"/>
              </a:ext>
            </a:extLst>
          </p:cNvPr>
          <p:cNvSpPr/>
          <p:nvPr/>
        </p:nvSpPr>
        <p:spPr>
          <a:xfrm>
            <a:off x="1394669" y="2950377"/>
            <a:ext cx="2044149" cy="589905"/>
          </a:xfrm>
          <a:prstGeom prst="rect">
            <a:avLst/>
          </a:prstGeom>
        </p:spPr>
        <p:txBody>
          <a:bodyPr wrap="none">
            <a:spAutoFit/>
          </a:bodyPr>
          <a:lstStyle/>
          <a:p>
            <a:pPr marL="0" marR="0" lvl="0" indent="0" algn="ctr" defTabSz="895509" rtl="0" eaLnBrk="1" fontAlgn="base" latinLnBrk="0" hangingPunct="1">
              <a:lnSpc>
                <a:spcPts val="4666"/>
              </a:lnSpc>
              <a:spcBef>
                <a:spcPct val="20000"/>
              </a:spcBef>
              <a:spcAft>
                <a:spcPct val="0"/>
              </a:spcAft>
              <a:buClrTx/>
              <a:buSzPct val="90000"/>
              <a:buFontTx/>
              <a:buNone/>
              <a:tabLst/>
              <a:defRPr/>
            </a:pPr>
            <a:r>
              <a:rPr kumimoji="0" lang="en-US" sz="1568" b="0" i="0" u="none" strike="noStrike" kern="0" cap="none" spc="0" normalizeH="0" baseline="0" noProof="0" dirty="0">
                <a:ln>
                  <a:noFill/>
                </a:ln>
                <a:solidFill>
                  <a:srgbClr val="353535"/>
                </a:solidFill>
                <a:effectLst/>
                <a:uLnTx/>
                <a:uFillTx/>
                <a:latin typeface="Segoe UI Semibold" panose="020B0702040204020203" pitchFamily="34" charset="0"/>
                <a:ea typeface="Segoe UI" charset="0"/>
                <a:cs typeface="Segoe UI Semibold" panose="020B0702040204020203" pitchFamily="34" charset="0"/>
              </a:rPr>
              <a:t>Your virtual network</a:t>
            </a:r>
          </a:p>
        </p:txBody>
      </p:sp>
      <p:sp>
        <p:nvSpPr>
          <p:cNvPr id="74" name="Oval 73">
            <a:extLst>
              <a:ext uri="{FF2B5EF4-FFF2-40B4-BE49-F238E27FC236}">
                <a16:creationId xmlns:a16="http://schemas.microsoft.com/office/drawing/2014/main" id="{152BF579-1929-4475-8658-F12A287AB78E}"/>
              </a:ext>
            </a:extLst>
          </p:cNvPr>
          <p:cNvSpPr/>
          <p:nvPr/>
        </p:nvSpPr>
        <p:spPr bwMode="auto">
          <a:xfrm>
            <a:off x="2709447" y="4853676"/>
            <a:ext cx="627497" cy="627497"/>
          </a:xfrm>
          <a:prstGeom prst="ellipse">
            <a:avLst/>
          </a:prstGeom>
          <a:noFill/>
          <a:ln w="22225" cap="rnd" cmpd="sng" algn="ctr">
            <a:solidFill>
              <a:schemeClr val="accent4"/>
            </a:solidFill>
            <a:prstDash val="sysDot"/>
            <a:headEnd type="none" w="med" len="med"/>
            <a:tailEnd type="none" w="med" len="med"/>
          </a:ln>
          <a:effectLst/>
        </p:spPr>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5" name="Oval 74">
            <a:extLst>
              <a:ext uri="{FF2B5EF4-FFF2-40B4-BE49-F238E27FC236}">
                <a16:creationId xmlns:a16="http://schemas.microsoft.com/office/drawing/2014/main" id="{0E1304B9-97C8-4107-B682-859BF9E8673C}"/>
              </a:ext>
            </a:extLst>
          </p:cNvPr>
          <p:cNvSpPr/>
          <p:nvPr/>
        </p:nvSpPr>
        <p:spPr bwMode="auto">
          <a:xfrm>
            <a:off x="1508598" y="4853676"/>
            <a:ext cx="627497" cy="627497"/>
          </a:xfrm>
          <a:prstGeom prst="ellipse">
            <a:avLst/>
          </a:prstGeom>
          <a:noFill/>
          <a:ln w="22225" cap="rnd" cmpd="sng" algn="ctr">
            <a:solidFill>
              <a:schemeClr val="accent4"/>
            </a:solidFill>
            <a:prstDash val="sysDot"/>
            <a:headEnd type="none" w="med" len="med"/>
            <a:tailEnd type="none" w="med" len="med"/>
          </a:ln>
          <a:effectLst/>
        </p:spPr>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6" name="Oval 75">
            <a:extLst>
              <a:ext uri="{FF2B5EF4-FFF2-40B4-BE49-F238E27FC236}">
                <a16:creationId xmlns:a16="http://schemas.microsoft.com/office/drawing/2014/main" id="{63F09249-12E0-4EC3-B58A-0427B8668890}"/>
              </a:ext>
            </a:extLst>
          </p:cNvPr>
          <p:cNvSpPr/>
          <p:nvPr/>
        </p:nvSpPr>
        <p:spPr bwMode="auto">
          <a:xfrm>
            <a:off x="2709447" y="3667183"/>
            <a:ext cx="627497" cy="627497"/>
          </a:xfrm>
          <a:prstGeom prst="ellipse">
            <a:avLst/>
          </a:prstGeom>
          <a:noFill/>
          <a:ln w="22225" cap="rnd" cmpd="sng" algn="ctr">
            <a:solidFill>
              <a:schemeClr val="accent4"/>
            </a:solidFill>
            <a:prstDash val="sysDot"/>
            <a:headEnd type="none" w="med" len="med"/>
            <a:tailEnd type="none" w="med" len="med"/>
          </a:ln>
          <a:effectLst/>
        </p:spPr>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7" name="Oval 76">
            <a:extLst>
              <a:ext uri="{FF2B5EF4-FFF2-40B4-BE49-F238E27FC236}">
                <a16:creationId xmlns:a16="http://schemas.microsoft.com/office/drawing/2014/main" id="{128AF0C0-3E13-47C6-8B46-06768ACC6A4F}"/>
              </a:ext>
            </a:extLst>
          </p:cNvPr>
          <p:cNvSpPr/>
          <p:nvPr/>
        </p:nvSpPr>
        <p:spPr bwMode="auto">
          <a:xfrm>
            <a:off x="1508598" y="3667183"/>
            <a:ext cx="627497" cy="627497"/>
          </a:xfrm>
          <a:prstGeom prst="ellipse">
            <a:avLst/>
          </a:prstGeom>
          <a:noFill/>
          <a:ln w="22225" cap="rnd" cmpd="sng" algn="ctr">
            <a:solidFill>
              <a:schemeClr val="accent4"/>
            </a:solidFill>
            <a:prstDash val="sysDot"/>
            <a:headEnd type="none" w="med" len="med"/>
            <a:tailEnd type="none" w="med" len="med"/>
          </a:ln>
          <a:effectLst/>
        </p:spPr>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78" name="Straight Connector 77">
            <a:extLst>
              <a:ext uri="{FF2B5EF4-FFF2-40B4-BE49-F238E27FC236}">
                <a16:creationId xmlns:a16="http://schemas.microsoft.com/office/drawing/2014/main" id="{9EA3C3F0-5E98-4C50-AC27-53237BC8864B}"/>
              </a:ext>
            </a:extLst>
          </p:cNvPr>
          <p:cNvCxnSpPr>
            <a:cxnSpLocks/>
            <a:stCxn id="77" idx="6"/>
            <a:endCxn id="76" idx="2"/>
          </p:cNvCxnSpPr>
          <p:nvPr/>
        </p:nvCxnSpPr>
        <p:spPr>
          <a:xfrm>
            <a:off x="2136095" y="3980932"/>
            <a:ext cx="573351" cy="0"/>
          </a:xfrm>
          <a:prstGeom prst="line">
            <a:avLst/>
          </a:prstGeom>
          <a:noFill/>
          <a:ln w="22225" cap="rnd" cmpd="sng" algn="ctr">
            <a:solidFill>
              <a:schemeClr val="accent4"/>
            </a:solidFill>
            <a:prstDash val="sysDot"/>
            <a:headEnd type="none"/>
            <a:tailEnd type="none"/>
          </a:ln>
          <a:effectLst/>
        </p:spPr>
      </p:cxnSp>
      <p:cxnSp>
        <p:nvCxnSpPr>
          <p:cNvPr id="79" name="Straight Connector 78">
            <a:extLst>
              <a:ext uri="{FF2B5EF4-FFF2-40B4-BE49-F238E27FC236}">
                <a16:creationId xmlns:a16="http://schemas.microsoft.com/office/drawing/2014/main" id="{6305668F-76B3-49EF-BB43-7B3500BCD143}"/>
              </a:ext>
            </a:extLst>
          </p:cNvPr>
          <p:cNvCxnSpPr>
            <a:cxnSpLocks/>
            <a:stCxn id="75" idx="6"/>
            <a:endCxn id="74" idx="2"/>
          </p:cNvCxnSpPr>
          <p:nvPr/>
        </p:nvCxnSpPr>
        <p:spPr>
          <a:xfrm>
            <a:off x="2136095" y="5167425"/>
            <a:ext cx="573351" cy="0"/>
          </a:xfrm>
          <a:prstGeom prst="line">
            <a:avLst/>
          </a:prstGeom>
          <a:noFill/>
          <a:ln w="22225" cap="rnd" cmpd="sng" algn="ctr">
            <a:solidFill>
              <a:schemeClr val="accent4"/>
            </a:solidFill>
            <a:prstDash val="sysDot"/>
            <a:headEnd type="none"/>
            <a:tailEnd type="none"/>
          </a:ln>
          <a:effectLst/>
        </p:spPr>
      </p:cxnSp>
      <p:cxnSp>
        <p:nvCxnSpPr>
          <p:cNvPr id="80" name="Straight Connector 79">
            <a:extLst>
              <a:ext uri="{FF2B5EF4-FFF2-40B4-BE49-F238E27FC236}">
                <a16:creationId xmlns:a16="http://schemas.microsoft.com/office/drawing/2014/main" id="{7D82C83B-6947-4764-A6EE-F9027B0C894B}"/>
              </a:ext>
            </a:extLst>
          </p:cNvPr>
          <p:cNvCxnSpPr>
            <a:cxnSpLocks/>
            <a:stCxn id="76" idx="4"/>
            <a:endCxn id="74" idx="0"/>
          </p:cNvCxnSpPr>
          <p:nvPr/>
        </p:nvCxnSpPr>
        <p:spPr>
          <a:xfrm>
            <a:off x="3023195" y="4294681"/>
            <a:ext cx="0" cy="558996"/>
          </a:xfrm>
          <a:prstGeom prst="line">
            <a:avLst/>
          </a:prstGeom>
          <a:noFill/>
          <a:ln w="22225" cap="rnd" cmpd="sng" algn="ctr">
            <a:solidFill>
              <a:schemeClr val="accent4"/>
            </a:solidFill>
            <a:prstDash val="sysDot"/>
            <a:headEnd type="none"/>
            <a:tailEnd type="none"/>
          </a:ln>
          <a:effectLst/>
        </p:spPr>
      </p:cxnSp>
      <p:cxnSp>
        <p:nvCxnSpPr>
          <p:cNvPr id="81" name="Straight Connector 80">
            <a:extLst>
              <a:ext uri="{FF2B5EF4-FFF2-40B4-BE49-F238E27FC236}">
                <a16:creationId xmlns:a16="http://schemas.microsoft.com/office/drawing/2014/main" id="{69EE6B3B-8BC7-429A-9C74-365D1BF7F338}"/>
              </a:ext>
            </a:extLst>
          </p:cNvPr>
          <p:cNvCxnSpPr>
            <a:cxnSpLocks/>
            <a:endCxn id="75" idx="0"/>
          </p:cNvCxnSpPr>
          <p:nvPr/>
        </p:nvCxnSpPr>
        <p:spPr>
          <a:xfrm>
            <a:off x="1822347" y="4324336"/>
            <a:ext cx="0" cy="529341"/>
          </a:xfrm>
          <a:prstGeom prst="line">
            <a:avLst/>
          </a:prstGeom>
          <a:noFill/>
          <a:ln w="22225" cap="rnd" cmpd="sng" algn="ctr">
            <a:solidFill>
              <a:schemeClr val="accent4"/>
            </a:solidFill>
            <a:prstDash val="sysDot"/>
            <a:headEnd type="none"/>
            <a:tailEnd type="none"/>
          </a:ln>
          <a:effectLst/>
        </p:spPr>
      </p:cxnSp>
      <p:sp>
        <p:nvSpPr>
          <p:cNvPr id="82" name="Rectangle 81">
            <a:extLst>
              <a:ext uri="{FF2B5EF4-FFF2-40B4-BE49-F238E27FC236}">
                <a16:creationId xmlns:a16="http://schemas.microsoft.com/office/drawing/2014/main" id="{72DF98AB-124A-4418-8FA4-0BE4DAEC90F6}"/>
              </a:ext>
            </a:extLst>
          </p:cNvPr>
          <p:cNvSpPr/>
          <p:nvPr/>
        </p:nvSpPr>
        <p:spPr>
          <a:xfrm>
            <a:off x="3316390" y="1919821"/>
            <a:ext cx="1925342" cy="693970"/>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576"/>
              </a:spcAft>
              <a:buClrTx/>
              <a:buSzTx/>
              <a:buFontTx/>
              <a:buNone/>
              <a:tabLst/>
              <a:defRPr/>
            </a:pPr>
            <a:r>
              <a:rPr kumimoji="0" lang="en-US" sz="3921" b="0" i="0" u="none" strike="noStrike" kern="0" cap="none" spc="0" normalizeH="0" baseline="0" noProof="0" dirty="0">
                <a:ln>
                  <a:noFill/>
                </a:ln>
                <a:solidFill>
                  <a:srgbClr val="353535"/>
                </a:solidFill>
                <a:effectLst/>
                <a:uLnTx/>
                <a:uFillTx/>
                <a:latin typeface="Segoe UI Light"/>
                <a:ea typeface="+mn-ea"/>
                <a:cs typeface="+mn-cs"/>
              </a:rPr>
              <a:t>Azure</a:t>
            </a:r>
          </a:p>
        </p:txBody>
      </p:sp>
      <p:sp>
        <p:nvSpPr>
          <p:cNvPr id="83" name="Freeform 9">
            <a:extLst>
              <a:ext uri="{FF2B5EF4-FFF2-40B4-BE49-F238E27FC236}">
                <a16:creationId xmlns:a16="http://schemas.microsoft.com/office/drawing/2014/main" id="{DB1CD80D-9273-4921-942C-FD308D7B5E09}"/>
              </a:ext>
            </a:extLst>
          </p:cNvPr>
          <p:cNvSpPr>
            <a:spLocks noChangeAspect="1" noEditPoints="1"/>
          </p:cNvSpPr>
          <p:nvPr/>
        </p:nvSpPr>
        <p:spPr bwMode="black">
          <a:xfrm>
            <a:off x="3860479" y="4274280"/>
            <a:ext cx="739731" cy="59979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4"/>
          </a:solidFill>
          <a:ln>
            <a:noFill/>
          </a:ln>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5" name="Straight Connector 84">
            <a:extLst>
              <a:ext uri="{FF2B5EF4-FFF2-40B4-BE49-F238E27FC236}">
                <a16:creationId xmlns:a16="http://schemas.microsoft.com/office/drawing/2014/main" id="{3E344EF2-C56C-4E28-85A9-FF2357F55B0B}"/>
              </a:ext>
            </a:extLst>
          </p:cNvPr>
          <p:cNvCxnSpPr>
            <a:cxnSpLocks/>
            <a:stCxn id="71" idx="3"/>
          </p:cNvCxnSpPr>
          <p:nvPr/>
        </p:nvCxnSpPr>
        <p:spPr>
          <a:xfrm>
            <a:off x="3072705" y="4570321"/>
            <a:ext cx="726895" cy="0"/>
          </a:xfrm>
          <a:prstGeom prst="line">
            <a:avLst/>
          </a:prstGeom>
          <a:noFill/>
          <a:ln w="22225" cap="rnd" cmpd="sng" algn="ctr">
            <a:solidFill>
              <a:schemeClr val="accent4"/>
            </a:solidFill>
            <a:prstDash val="sysDot"/>
            <a:headEnd type="none"/>
            <a:tailEnd type="none"/>
          </a:ln>
          <a:effectLst/>
        </p:spPr>
      </p:cxnSp>
      <p:grpSp>
        <p:nvGrpSpPr>
          <p:cNvPr id="86" name="Group 85">
            <a:extLst>
              <a:ext uri="{FF2B5EF4-FFF2-40B4-BE49-F238E27FC236}">
                <a16:creationId xmlns:a16="http://schemas.microsoft.com/office/drawing/2014/main" id="{67AA7855-84C3-4B5D-B890-D32C3D3D73BF}"/>
              </a:ext>
            </a:extLst>
          </p:cNvPr>
          <p:cNvGrpSpPr/>
          <p:nvPr/>
        </p:nvGrpSpPr>
        <p:grpSpPr>
          <a:xfrm>
            <a:off x="1624437" y="3850019"/>
            <a:ext cx="395822" cy="261826"/>
            <a:chOff x="2735263" y="1203325"/>
            <a:chExt cx="6724650" cy="4448176"/>
          </a:xfrm>
          <a:solidFill>
            <a:schemeClr val="accent4"/>
          </a:solidFill>
        </p:grpSpPr>
        <p:sp>
          <p:nvSpPr>
            <p:cNvPr id="87" name="Freeform 19">
              <a:extLst>
                <a:ext uri="{FF2B5EF4-FFF2-40B4-BE49-F238E27FC236}">
                  <a16:creationId xmlns:a16="http://schemas.microsoft.com/office/drawing/2014/main" id="{52792BE2-3F1B-4D65-A871-0B8E78FD9B73}"/>
                </a:ext>
              </a:extLst>
            </p:cNvPr>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8" name="Freeform 20">
              <a:extLst>
                <a:ext uri="{FF2B5EF4-FFF2-40B4-BE49-F238E27FC236}">
                  <a16:creationId xmlns:a16="http://schemas.microsoft.com/office/drawing/2014/main" id="{D16A3CB7-FB3A-4DE6-9EFB-FE71CCB80EC8}"/>
                </a:ext>
              </a:extLst>
            </p:cNvPr>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16D0F2E6-A497-4050-BB49-FC98BA3CD76E}"/>
              </a:ext>
            </a:extLst>
          </p:cNvPr>
          <p:cNvGrpSpPr/>
          <p:nvPr/>
        </p:nvGrpSpPr>
        <p:grpSpPr>
          <a:xfrm>
            <a:off x="2825285" y="3850019"/>
            <a:ext cx="395822" cy="261826"/>
            <a:chOff x="2735263" y="1203325"/>
            <a:chExt cx="6724650" cy="4448176"/>
          </a:xfrm>
          <a:solidFill>
            <a:schemeClr val="accent4"/>
          </a:solidFill>
        </p:grpSpPr>
        <p:sp>
          <p:nvSpPr>
            <p:cNvPr id="90" name="Freeform 19">
              <a:extLst>
                <a:ext uri="{FF2B5EF4-FFF2-40B4-BE49-F238E27FC236}">
                  <a16:creationId xmlns:a16="http://schemas.microsoft.com/office/drawing/2014/main" id="{EAA89E34-E4F4-45A5-9657-1E3288363E8F}"/>
                </a:ext>
              </a:extLst>
            </p:cNvPr>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91" name="Freeform 20">
              <a:extLst>
                <a:ext uri="{FF2B5EF4-FFF2-40B4-BE49-F238E27FC236}">
                  <a16:creationId xmlns:a16="http://schemas.microsoft.com/office/drawing/2014/main" id="{F905A364-9536-4DAE-B2FD-DC8C58DBFD97}"/>
                </a:ext>
              </a:extLst>
            </p:cNvPr>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92" name="Group 91">
            <a:extLst>
              <a:ext uri="{FF2B5EF4-FFF2-40B4-BE49-F238E27FC236}">
                <a16:creationId xmlns:a16="http://schemas.microsoft.com/office/drawing/2014/main" id="{A3DD1E91-D43E-471D-A593-45C76EF7E522}"/>
              </a:ext>
            </a:extLst>
          </p:cNvPr>
          <p:cNvGrpSpPr/>
          <p:nvPr/>
        </p:nvGrpSpPr>
        <p:grpSpPr>
          <a:xfrm>
            <a:off x="1624437" y="5036512"/>
            <a:ext cx="395822" cy="261826"/>
            <a:chOff x="2735263" y="1203325"/>
            <a:chExt cx="6724650" cy="4448176"/>
          </a:xfrm>
          <a:solidFill>
            <a:schemeClr val="accent4"/>
          </a:solidFill>
        </p:grpSpPr>
        <p:sp>
          <p:nvSpPr>
            <p:cNvPr id="93" name="Freeform 19">
              <a:extLst>
                <a:ext uri="{FF2B5EF4-FFF2-40B4-BE49-F238E27FC236}">
                  <a16:creationId xmlns:a16="http://schemas.microsoft.com/office/drawing/2014/main" id="{F64AFDEB-FE62-467C-8C0B-28B8B2654A94}"/>
                </a:ext>
              </a:extLst>
            </p:cNvPr>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94" name="Freeform 20">
              <a:extLst>
                <a:ext uri="{FF2B5EF4-FFF2-40B4-BE49-F238E27FC236}">
                  <a16:creationId xmlns:a16="http://schemas.microsoft.com/office/drawing/2014/main" id="{CCCCC616-A3B1-4B7B-8F73-56680088C0F7}"/>
                </a:ext>
              </a:extLst>
            </p:cNvPr>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59FC9213-7CB2-4DA3-95BB-0B3B387E85E9}"/>
              </a:ext>
            </a:extLst>
          </p:cNvPr>
          <p:cNvGrpSpPr/>
          <p:nvPr/>
        </p:nvGrpSpPr>
        <p:grpSpPr>
          <a:xfrm>
            <a:off x="2825285" y="5036512"/>
            <a:ext cx="395822" cy="261826"/>
            <a:chOff x="2735263" y="1203325"/>
            <a:chExt cx="6724650" cy="4448176"/>
          </a:xfrm>
          <a:solidFill>
            <a:schemeClr val="accent4"/>
          </a:solidFill>
        </p:grpSpPr>
        <p:sp>
          <p:nvSpPr>
            <p:cNvPr id="96" name="Freeform 19">
              <a:extLst>
                <a:ext uri="{FF2B5EF4-FFF2-40B4-BE49-F238E27FC236}">
                  <a16:creationId xmlns:a16="http://schemas.microsoft.com/office/drawing/2014/main" id="{92F43D98-01D5-4D37-BBB6-060D950165DF}"/>
                </a:ext>
              </a:extLst>
            </p:cNvPr>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97" name="Freeform 20">
              <a:extLst>
                <a:ext uri="{FF2B5EF4-FFF2-40B4-BE49-F238E27FC236}">
                  <a16:creationId xmlns:a16="http://schemas.microsoft.com/office/drawing/2014/main" id="{BA4017FC-8279-4C01-BDE1-7621B394F73A}"/>
                </a:ext>
              </a:extLst>
            </p:cNvPr>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cxnSp>
        <p:nvCxnSpPr>
          <p:cNvPr id="101" name="Straight Arrow Connector 100">
            <a:extLst>
              <a:ext uri="{FF2B5EF4-FFF2-40B4-BE49-F238E27FC236}">
                <a16:creationId xmlns:a16="http://schemas.microsoft.com/office/drawing/2014/main" id="{B7787BB2-E203-4480-893D-7C929270AF6A}"/>
              </a:ext>
            </a:extLst>
          </p:cNvPr>
          <p:cNvCxnSpPr/>
          <p:nvPr/>
        </p:nvCxnSpPr>
        <p:spPr>
          <a:xfrm>
            <a:off x="5360696" y="4266829"/>
            <a:ext cx="1568743" cy="0"/>
          </a:xfrm>
          <a:prstGeom prst="straightConnector1">
            <a:avLst/>
          </a:prstGeom>
          <a:noFill/>
          <a:ln w="19050" cap="flat" cmpd="sng" algn="ctr">
            <a:solidFill>
              <a:schemeClr val="accent4"/>
            </a:solidFill>
            <a:prstDash val="solid"/>
            <a:headEnd type="none"/>
            <a:tailEnd type="oval"/>
          </a:ln>
          <a:effectLst/>
        </p:spPr>
      </p:cxnSp>
      <p:cxnSp>
        <p:nvCxnSpPr>
          <p:cNvPr id="102" name="Straight Arrow Connector 101">
            <a:extLst>
              <a:ext uri="{FF2B5EF4-FFF2-40B4-BE49-F238E27FC236}">
                <a16:creationId xmlns:a16="http://schemas.microsoft.com/office/drawing/2014/main" id="{2C02E379-832E-42D5-A100-265BEB99578E}"/>
              </a:ext>
            </a:extLst>
          </p:cNvPr>
          <p:cNvCxnSpPr/>
          <p:nvPr/>
        </p:nvCxnSpPr>
        <p:spPr>
          <a:xfrm>
            <a:off x="5360696" y="4527037"/>
            <a:ext cx="1568743" cy="0"/>
          </a:xfrm>
          <a:prstGeom prst="straightConnector1">
            <a:avLst/>
          </a:prstGeom>
          <a:noFill/>
          <a:ln w="19050" cap="flat" cmpd="sng" algn="ctr">
            <a:solidFill>
              <a:schemeClr val="accent4"/>
            </a:solidFill>
            <a:prstDash val="solid"/>
            <a:headEnd type="none"/>
            <a:tailEnd type="oval"/>
          </a:ln>
          <a:effectLst/>
        </p:spPr>
      </p:cxnSp>
      <p:sp>
        <p:nvSpPr>
          <p:cNvPr id="103" name="TextBox 102">
            <a:extLst>
              <a:ext uri="{FF2B5EF4-FFF2-40B4-BE49-F238E27FC236}">
                <a16:creationId xmlns:a16="http://schemas.microsoft.com/office/drawing/2014/main" id="{9713FB84-F5BE-48DD-825F-57E7B3A56F5D}"/>
              </a:ext>
            </a:extLst>
          </p:cNvPr>
          <p:cNvSpPr txBox="1">
            <a:spLocks noChangeAspect="1"/>
          </p:cNvSpPr>
          <p:nvPr/>
        </p:nvSpPr>
        <p:spPr>
          <a:xfrm>
            <a:off x="5968822" y="4011594"/>
            <a:ext cx="760917" cy="267908"/>
          </a:xfrm>
          <a:prstGeom prst="rect">
            <a:avLst/>
          </a:prstGeom>
          <a:noFill/>
          <a:ln>
            <a:noFill/>
          </a:ln>
        </p:spPr>
        <p:txBody>
          <a:bodyPr wrap="none" rtlCol="0">
            <a:spAutoFit/>
          </a:bodyPr>
          <a:lstStyle/>
          <a:p>
            <a:pPr marL="0" marR="0" lvl="0" indent="0" algn="l" defTabSz="895337" rtl="0" eaLnBrk="1" fontAlgn="base" latinLnBrk="0" hangingPunct="1">
              <a:lnSpc>
                <a:spcPct val="100000"/>
              </a:lnSpc>
              <a:spcBef>
                <a:spcPct val="0"/>
              </a:spcBef>
              <a:spcAft>
                <a:spcPct val="0"/>
              </a:spcAft>
              <a:buClrTx/>
              <a:buSzTx/>
              <a:buFontTx/>
              <a:buNone/>
              <a:tabLst/>
              <a:defRPr/>
            </a:pPr>
            <a:r>
              <a:rPr kumimoji="0" lang="en-US" sz="1153" b="0" i="0" u="none" strike="noStrike" kern="0" cap="none" spc="0" normalizeH="0" baseline="0" noProof="0" dirty="0">
                <a:ln>
                  <a:noFill/>
                </a:ln>
                <a:solidFill>
                  <a:srgbClr val="353535"/>
                </a:solidFill>
                <a:effectLst/>
                <a:uLnTx/>
                <a:uFillTx/>
                <a:latin typeface="Segoe UI"/>
                <a:ea typeface="ＭＳ Ｐゴシック" charset="0"/>
                <a:cs typeface="+mn-cs"/>
              </a:rPr>
              <a:t>Kerberos</a:t>
            </a:r>
          </a:p>
        </p:txBody>
      </p:sp>
      <p:sp>
        <p:nvSpPr>
          <p:cNvPr id="104" name="TextBox 103">
            <a:extLst>
              <a:ext uri="{FF2B5EF4-FFF2-40B4-BE49-F238E27FC236}">
                <a16:creationId xmlns:a16="http://schemas.microsoft.com/office/drawing/2014/main" id="{9E86C93F-73E8-4B77-8392-A520DBACD17F}"/>
              </a:ext>
            </a:extLst>
          </p:cNvPr>
          <p:cNvSpPr txBox="1">
            <a:spLocks noChangeAspect="1"/>
          </p:cNvSpPr>
          <p:nvPr/>
        </p:nvSpPr>
        <p:spPr>
          <a:xfrm>
            <a:off x="6060826" y="4271201"/>
            <a:ext cx="574196" cy="269754"/>
          </a:xfrm>
          <a:prstGeom prst="rect">
            <a:avLst/>
          </a:prstGeom>
          <a:noFill/>
          <a:ln>
            <a:noFill/>
          </a:ln>
        </p:spPr>
        <p:txBody>
          <a:bodyPr wrap="none" rtlCol="0">
            <a:spAutoFit/>
          </a:bodyPr>
          <a:lstStyle/>
          <a:p>
            <a:pPr marL="0" marR="0" lvl="0" indent="0" algn="l" defTabSz="895337" rtl="0" eaLnBrk="1" fontAlgn="base" latinLnBrk="0" hangingPunct="1">
              <a:lnSpc>
                <a:spcPct val="100000"/>
              </a:lnSpc>
              <a:spcBef>
                <a:spcPct val="0"/>
              </a:spcBef>
              <a:spcAft>
                <a:spcPct val="0"/>
              </a:spcAft>
              <a:buClrTx/>
              <a:buSzTx/>
              <a:buFontTx/>
              <a:buNone/>
              <a:tabLst/>
              <a:defRPr/>
            </a:pPr>
            <a:r>
              <a:rPr kumimoji="0" lang="en-US" sz="1153" b="0" i="0" u="none" strike="noStrike" kern="0" cap="none" spc="0" normalizeH="0" baseline="0" noProof="0" dirty="0">
                <a:ln>
                  <a:noFill/>
                </a:ln>
                <a:solidFill>
                  <a:srgbClr val="353535"/>
                </a:solidFill>
                <a:effectLst/>
                <a:uLnTx/>
                <a:uFillTx/>
                <a:latin typeface="Segoe UI"/>
                <a:ea typeface="ＭＳ Ｐゴシック" charset="0"/>
                <a:cs typeface="+mn-cs"/>
              </a:rPr>
              <a:t>NTLM</a:t>
            </a:r>
          </a:p>
        </p:txBody>
      </p:sp>
      <p:sp>
        <p:nvSpPr>
          <p:cNvPr id="105" name="TextBox 104">
            <a:extLst>
              <a:ext uri="{FF2B5EF4-FFF2-40B4-BE49-F238E27FC236}">
                <a16:creationId xmlns:a16="http://schemas.microsoft.com/office/drawing/2014/main" id="{E7E1A5C6-3F1B-4E80-BC7D-A28167D85515}"/>
              </a:ext>
            </a:extLst>
          </p:cNvPr>
          <p:cNvSpPr txBox="1">
            <a:spLocks noChangeAspect="1"/>
          </p:cNvSpPr>
          <p:nvPr/>
        </p:nvSpPr>
        <p:spPr>
          <a:xfrm>
            <a:off x="6081286" y="4530808"/>
            <a:ext cx="533050" cy="267908"/>
          </a:xfrm>
          <a:prstGeom prst="rect">
            <a:avLst/>
          </a:prstGeom>
          <a:noFill/>
          <a:ln>
            <a:noFill/>
          </a:ln>
        </p:spPr>
        <p:txBody>
          <a:bodyPr wrap="none" rtlCol="0">
            <a:spAutoFit/>
          </a:bodyPr>
          <a:lstStyle/>
          <a:p>
            <a:pPr marL="0" marR="0" lvl="0" indent="0" algn="l" defTabSz="895337" rtl="0" eaLnBrk="1" fontAlgn="base" latinLnBrk="0" hangingPunct="1">
              <a:lnSpc>
                <a:spcPct val="100000"/>
              </a:lnSpc>
              <a:spcBef>
                <a:spcPct val="0"/>
              </a:spcBef>
              <a:spcAft>
                <a:spcPct val="0"/>
              </a:spcAft>
              <a:buClrTx/>
              <a:buSzTx/>
              <a:buFontTx/>
              <a:buNone/>
              <a:tabLst/>
              <a:defRPr/>
            </a:pPr>
            <a:r>
              <a:rPr kumimoji="0" lang="en-US" sz="1153" b="0" i="0" u="none" strike="noStrike" kern="0" cap="none" spc="0" normalizeH="0" baseline="0" noProof="0" dirty="0">
                <a:ln>
                  <a:noFill/>
                </a:ln>
                <a:solidFill>
                  <a:srgbClr val="353535"/>
                </a:solidFill>
                <a:effectLst/>
                <a:uLnTx/>
                <a:uFillTx/>
                <a:latin typeface="Segoe UI"/>
                <a:ea typeface="ＭＳ Ｐゴシック" charset="0"/>
                <a:cs typeface="+mn-cs"/>
              </a:rPr>
              <a:t>LDAP</a:t>
            </a:r>
          </a:p>
        </p:txBody>
      </p:sp>
      <p:sp>
        <p:nvSpPr>
          <p:cNvPr id="106" name="TextBox 105">
            <a:extLst>
              <a:ext uri="{FF2B5EF4-FFF2-40B4-BE49-F238E27FC236}">
                <a16:creationId xmlns:a16="http://schemas.microsoft.com/office/drawing/2014/main" id="{92B67948-31FB-4522-8237-D91CBA140F61}"/>
              </a:ext>
            </a:extLst>
          </p:cNvPr>
          <p:cNvSpPr txBox="1">
            <a:spLocks noChangeAspect="1"/>
          </p:cNvSpPr>
          <p:nvPr/>
        </p:nvSpPr>
        <p:spPr>
          <a:xfrm>
            <a:off x="5845789" y="4790414"/>
            <a:ext cx="1016505" cy="269754"/>
          </a:xfrm>
          <a:prstGeom prst="rect">
            <a:avLst/>
          </a:prstGeom>
          <a:noFill/>
          <a:ln>
            <a:noFill/>
          </a:ln>
        </p:spPr>
        <p:txBody>
          <a:bodyPr wrap="square" rtlCol="0">
            <a:spAutoFit/>
          </a:bodyPr>
          <a:lstStyle/>
          <a:p>
            <a:pPr marL="0" marR="0" lvl="0" indent="0" algn="l" defTabSz="895337" rtl="0" eaLnBrk="1" fontAlgn="base" latinLnBrk="0" hangingPunct="1">
              <a:lnSpc>
                <a:spcPct val="100000"/>
              </a:lnSpc>
              <a:spcBef>
                <a:spcPct val="0"/>
              </a:spcBef>
              <a:spcAft>
                <a:spcPct val="0"/>
              </a:spcAft>
              <a:buClrTx/>
              <a:buSzTx/>
              <a:buFontTx/>
              <a:buNone/>
              <a:tabLst/>
              <a:defRPr/>
            </a:pPr>
            <a:r>
              <a:rPr kumimoji="0" lang="en-US" sz="1153" b="0" i="0" u="none" strike="noStrike" kern="0" cap="none" spc="0" normalizeH="0" baseline="0" noProof="0" dirty="0">
                <a:ln>
                  <a:noFill/>
                </a:ln>
                <a:solidFill>
                  <a:srgbClr val="353535"/>
                </a:solidFill>
                <a:effectLst/>
                <a:uLnTx/>
                <a:uFillTx/>
                <a:latin typeface="Segoe UI"/>
                <a:ea typeface="ＭＳ Ｐゴシック" charset="0"/>
                <a:cs typeface="+mn-cs"/>
              </a:rPr>
              <a:t>Group Policy</a:t>
            </a:r>
          </a:p>
        </p:txBody>
      </p:sp>
      <p:pic>
        <p:nvPicPr>
          <p:cNvPr id="121" name="Picture 120">
            <a:extLst>
              <a:ext uri="{FF2B5EF4-FFF2-40B4-BE49-F238E27FC236}">
                <a16:creationId xmlns:a16="http://schemas.microsoft.com/office/drawing/2014/main" id="{2A6C965B-F44B-47AB-B158-AD2130FB42E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78098" y="4111133"/>
            <a:ext cx="1034769" cy="1030309"/>
          </a:xfrm>
          <a:prstGeom prst="rect">
            <a:avLst/>
          </a:prstGeom>
        </p:spPr>
      </p:pic>
      <p:grpSp>
        <p:nvGrpSpPr>
          <p:cNvPr id="124" name="Group 123">
            <a:extLst>
              <a:ext uri="{FF2B5EF4-FFF2-40B4-BE49-F238E27FC236}">
                <a16:creationId xmlns:a16="http://schemas.microsoft.com/office/drawing/2014/main" id="{41702570-F12F-4650-BF5D-B6FAA813C923}"/>
              </a:ext>
            </a:extLst>
          </p:cNvPr>
          <p:cNvGrpSpPr/>
          <p:nvPr/>
        </p:nvGrpSpPr>
        <p:grpSpPr>
          <a:xfrm>
            <a:off x="8061016" y="4509480"/>
            <a:ext cx="367409" cy="378910"/>
            <a:chOff x="7596294" y="4477333"/>
            <a:chExt cx="374776" cy="386508"/>
          </a:xfrm>
        </p:grpSpPr>
        <p:sp>
          <p:nvSpPr>
            <p:cNvPr id="125" name="Oval 124">
              <a:extLst>
                <a:ext uri="{FF2B5EF4-FFF2-40B4-BE49-F238E27FC236}">
                  <a16:creationId xmlns:a16="http://schemas.microsoft.com/office/drawing/2014/main" id="{C52CC8C9-3EEC-44E4-A832-53A5DFC2A006}"/>
                </a:ext>
              </a:extLst>
            </p:cNvPr>
            <p:cNvSpPr/>
            <p:nvPr/>
          </p:nvSpPr>
          <p:spPr bwMode="auto">
            <a:xfrm>
              <a:off x="7596294" y="4484497"/>
              <a:ext cx="374776" cy="37477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6" name="Freeform 149">
              <a:extLst>
                <a:ext uri="{FF2B5EF4-FFF2-40B4-BE49-F238E27FC236}">
                  <a16:creationId xmlns:a16="http://schemas.microsoft.com/office/drawing/2014/main" id="{49C84E3F-AFE9-4157-81A3-7143E4EFD8F3}"/>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7446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750"/>
                                        <p:tgtEl>
                                          <p:spTgt spid="124"/>
                                        </p:tgtEl>
                                      </p:cBhvr>
                                    </p:animEffect>
                                  </p:childTnLst>
                                </p:cTn>
                              </p:par>
                              <p:par>
                                <p:cTn id="8" presetID="8" presetClass="emph" presetSubtype="0" fill="hold" nodeType="withEffect">
                                  <p:stCondLst>
                                    <p:cond delay="0"/>
                                  </p:stCondLst>
                                  <p:childTnLst>
                                    <p:animRot by="21600000">
                                      <p:cBhvr>
                                        <p:cTn id="9" dur="1500" fill="hold"/>
                                        <p:tgtEl>
                                          <p:spTgt spid="1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FFA22-AFCB-42CF-8D39-B67FEACA5F3D}"/>
              </a:ext>
            </a:extLst>
          </p:cNvPr>
          <p:cNvSpPr>
            <a:spLocks noGrp="1"/>
          </p:cNvSpPr>
          <p:nvPr>
            <p:ph type="title"/>
          </p:nvPr>
        </p:nvSpPr>
        <p:spPr>
          <a:xfrm>
            <a:off x="269240" y="289511"/>
            <a:ext cx="11655840" cy="899665"/>
          </a:xfrm>
        </p:spPr>
        <p:txBody>
          <a:bodyPr/>
          <a:lstStyle/>
          <a:p>
            <a:r>
              <a:rPr lang="en-US" dirty="0"/>
              <a:t>Azure AD Domain Services</a:t>
            </a:r>
          </a:p>
        </p:txBody>
      </p:sp>
      <p:sp>
        <p:nvSpPr>
          <p:cNvPr id="3" name="Text Placeholder 2">
            <a:extLst>
              <a:ext uri="{FF2B5EF4-FFF2-40B4-BE49-F238E27FC236}">
                <a16:creationId xmlns:a16="http://schemas.microsoft.com/office/drawing/2014/main" id="{403C8294-32B3-4D1B-8449-E342E1362F68}"/>
              </a:ext>
            </a:extLst>
          </p:cNvPr>
          <p:cNvSpPr>
            <a:spLocks noGrp="1"/>
          </p:cNvSpPr>
          <p:nvPr>
            <p:ph type="body" sz="quarter" idx="10"/>
          </p:nvPr>
        </p:nvSpPr>
        <p:spPr>
          <a:xfrm>
            <a:off x="269302" y="1187644"/>
            <a:ext cx="11922697" cy="673454"/>
          </a:xfrm>
        </p:spPr>
        <p:txBody>
          <a:bodyPr/>
          <a:lstStyle/>
          <a:p>
            <a:r>
              <a:rPr lang="en-US" dirty="0">
                <a:hlinkClick r:id="rId3"/>
              </a:rPr>
              <a:t>AAD DS</a:t>
            </a:r>
            <a:r>
              <a:rPr lang="en-US" dirty="0"/>
              <a:t> does not necessarily mean you replace AD DS!  </a:t>
            </a:r>
          </a:p>
        </p:txBody>
      </p:sp>
      <p:graphicFrame>
        <p:nvGraphicFramePr>
          <p:cNvPr id="4" name="Table 3">
            <a:extLst>
              <a:ext uri="{FF2B5EF4-FFF2-40B4-BE49-F238E27FC236}">
                <a16:creationId xmlns:a16="http://schemas.microsoft.com/office/drawing/2014/main" id="{7D3F5227-805F-4328-B42D-E943AF2B6FD1}"/>
              </a:ext>
            </a:extLst>
          </p:cNvPr>
          <p:cNvGraphicFramePr>
            <a:graphicFrameLocks noGrp="1"/>
          </p:cNvGraphicFramePr>
          <p:nvPr>
            <p:extLst>
              <p:ext uri="{D42A27DB-BD31-4B8C-83A1-F6EECF244321}">
                <p14:modId xmlns:p14="http://schemas.microsoft.com/office/powerpoint/2010/main" val="1281248491"/>
              </p:ext>
            </p:extLst>
          </p:nvPr>
        </p:nvGraphicFramePr>
        <p:xfrm>
          <a:off x="2286000" y="1838444"/>
          <a:ext cx="8534400" cy="4918576"/>
        </p:xfrm>
        <a:graphic>
          <a:graphicData uri="http://schemas.openxmlformats.org/drawingml/2006/table">
            <a:tbl>
              <a:tblPr/>
              <a:tblGrid>
                <a:gridCol w="2844800">
                  <a:extLst>
                    <a:ext uri="{9D8B030D-6E8A-4147-A177-3AD203B41FA5}">
                      <a16:colId xmlns:a16="http://schemas.microsoft.com/office/drawing/2014/main" val="431978241"/>
                    </a:ext>
                  </a:extLst>
                </a:gridCol>
                <a:gridCol w="2844800">
                  <a:extLst>
                    <a:ext uri="{9D8B030D-6E8A-4147-A177-3AD203B41FA5}">
                      <a16:colId xmlns:a16="http://schemas.microsoft.com/office/drawing/2014/main" val="540770895"/>
                    </a:ext>
                  </a:extLst>
                </a:gridCol>
                <a:gridCol w="2844800">
                  <a:extLst>
                    <a:ext uri="{9D8B030D-6E8A-4147-A177-3AD203B41FA5}">
                      <a16:colId xmlns:a16="http://schemas.microsoft.com/office/drawing/2014/main" val="4104647524"/>
                    </a:ext>
                  </a:extLst>
                </a:gridCol>
              </a:tblGrid>
              <a:tr h="247014">
                <a:tc>
                  <a:txBody>
                    <a:bodyPr/>
                    <a:lstStyle/>
                    <a:p>
                      <a:pPr algn="ctr" fontAlgn="b"/>
                      <a:r>
                        <a:rPr lang="en-US" sz="1400" b="1" dirty="0">
                          <a:solidFill>
                            <a:schemeClr val="bg1"/>
                          </a:solidFill>
                          <a:effectLst/>
                          <a:latin typeface="segoe-ui_bold"/>
                        </a:rPr>
                        <a:t>Feature</a:t>
                      </a:r>
                      <a:endParaRPr lang="en-US" sz="1400" b="0" dirty="0">
                        <a:solidFill>
                          <a:schemeClr val="bg1"/>
                        </a:solidFill>
                        <a:effectLst/>
                        <a:latin typeface="segoe-ui_semibold"/>
                      </a:endParaRPr>
                    </a:p>
                  </a:txBody>
                  <a:tcPr marL="36030" marR="36030" marT="27023" marB="27023"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b"/>
                      <a:r>
                        <a:rPr lang="en-US" sz="1400" b="1">
                          <a:solidFill>
                            <a:schemeClr val="bg1"/>
                          </a:solidFill>
                          <a:effectLst/>
                          <a:latin typeface="segoe-ui_bold"/>
                        </a:rPr>
                        <a:t>Azure AD Domain Services</a:t>
                      </a:r>
                      <a:endParaRPr lang="en-US" sz="1400" b="0">
                        <a:solidFill>
                          <a:schemeClr val="bg1"/>
                        </a:solidFill>
                        <a:effectLst/>
                        <a:latin typeface="segoe-ui_semibold"/>
                      </a:endParaRPr>
                    </a:p>
                  </a:txBody>
                  <a:tcPr marL="36030" marR="36030" marT="27023" marB="27023"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b"/>
                      <a:r>
                        <a:rPr lang="en-US" sz="1400" b="1">
                          <a:solidFill>
                            <a:schemeClr val="bg1"/>
                          </a:solidFill>
                          <a:effectLst/>
                          <a:latin typeface="segoe-ui_bold"/>
                        </a:rPr>
                        <a:t>'Do-it-yourself' AD in Azure VMs</a:t>
                      </a:r>
                      <a:endParaRPr lang="en-US" sz="1400" b="0">
                        <a:solidFill>
                          <a:schemeClr val="bg1"/>
                        </a:solidFill>
                        <a:effectLst/>
                        <a:latin typeface="segoe-ui_semibold"/>
                      </a:endParaRPr>
                    </a:p>
                  </a:txBody>
                  <a:tcPr marL="36030" marR="36030" marT="27023" marB="27023"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3277390624"/>
                  </a:ext>
                </a:extLst>
              </a:tr>
              <a:tr h="245838">
                <a:tc>
                  <a:txBody>
                    <a:bodyPr/>
                    <a:lstStyle/>
                    <a:p>
                      <a:pPr algn="ctr" fontAlgn="t"/>
                      <a:r>
                        <a:rPr lang="en-US" sz="1400" b="1" u="none" strike="noStrike" dirty="0">
                          <a:solidFill>
                            <a:srgbClr val="00A4F3"/>
                          </a:solidFill>
                          <a:effectLst/>
                          <a:latin typeface="segoe-ui_bold"/>
                          <a:hlinkClick r:id="rId4"/>
                        </a:rPr>
                        <a:t>Managed service</a:t>
                      </a:r>
                      <a:endParaRPr lang="en-US" sz="1400" dirty="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2979147274"/>
                  </a:ext>
                </a:extLst>
              </a:tr>
              <a:tr h="441988">
                <a:tc>
                  <a:txBody>
                    <a:bodyPr/>
                    <a:lstStyle/>
                    <a:p>
                      <a:pPr algn="ctr" fontAlgn="t"/>
                      <a:r>
                        <a:rPr lang="en-US" sz="1400" b="1" u="none" strike="noStrike">
                          <a:solidFill>
                            <a:srgbClr val="00A4F3"/>
                          </a:solidFill>
                          <a:effectLst/>
                          <a:latin typeface="segoe-ui_bold"/>
                          <a:hlinkClick r:id="rId5"/>
                        </a:rPr>
                        <a:t>Secure deployment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a:solidFill>
                            <a:schemeClr val="bg1"/>
                          </a:solidFill>
                          <a:effectLst/>
                        </a:rPr>
                        <a:t>Administrator needs to secure the deployment.</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2612809981"/>
                  </a:ext>
                </a:extLst>
              </a:tr>
              <a:tr h="245838">
                <a:tc>
                  <a:txBody>
                    <a:bodyPr/>
                    <a:lstStyle/>
                    <a:p>
                      <a:pPr algn="ctr" fontAlgn="t"/>
                      <a:r>
                        <a:rPr lang="en-US" sz="1400" b="1" u="none" strike="noStrike">
                          <a:solidFill>
                            <a:srgbClr val="00A4F3"/>
                          </a:solidFill>
                          <a:effectLst/>
                          <a:latin typeface="segoe-ui_bold"/>
                          <a:hlinkClick r:id="rId6"/>
                        </a:rPr>
                        <a:t>DNS server</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r>
                        <a:rPr lang="en-US" sz="1400">
                          <a:solidFill>
                            <a:schemeClr val="bg1"/>
                          </a:solidFill>
                          <a:effectLst/>
                        </a:rPr>
                        <a:t> (managed service)</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151819132"/>
                  </a:ext>
                </a:extLst>
              </a:tr>
              <a:tr h="441988">
                <a:tc>
                  <a:txBody>
                    <a:bodyPr/>
                    <a:lstStyle/>
                    <a:p>
                      <a:pPr algn="ctr" fontAlgn="t"/>
                      <a:r>
                        <a:rPr lang="en-US" sz="1400" b="1" u="none" strike="noStrike">
                          <a:solidFill>
                            <a:srgbClr val="00A4F3"/>
                          </a:solidFill>
                          <a:effectLst/>
                          <a:latin typeface="segoe-ui_bold"/>
                          <a:hlinkClick r:id="rId7"/>
                        </a:rPr>
                        <a:t>Domain or Enterprise administrator privilege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2096836432"/>
                  </a:ext>
                </a:extLst>
              </a:tr>
              <a:tr h="245838">
                <a:tc>
                  <a:txBody>
                    <a:bodyPr/>
                    <a:lstStyle/>
                    <a:p>
                      <a:pPr algn="ctr" fontAlgn="t"/>
                      <a:r>
                        <a:rPr lang="en-US" sz="1400" b="1" u="none" strike="noStrike" dirty="0">
                          <a:solidFill>
                            <a:srgbClr val="00A4F3"/>
                          </a:solidFill>
                          <a:effectLst/>
                          <a:latin typeface="segoe-ui_bold"/>
                          <a:hlinkClick r:id="rId8"/>
                        </a:rPr>
                        <a:t>Domain join</a:t>
                      </a:r>
                      <a:endParaRPr lang="en-US" sz="1400" dirty="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429509675"/>
                  </a:ext>
                </a:extLst>
              </a:tr>
              <a:tr h="441988">
                <a:tc>
                  <a:txBody>
                    <a:bodyPr/>
                    <a:lstStyle/>
                    <a:p>
                      <a:pPr algn="ctr" fontAlgn="t"/>
                      <a:r>
                        <a:rPr lang="en-US" sz="1400" b="1" u="none" strike="noStrike">
                          <a:solidFill>
                            <a:srgbClr val="00A4F3"/>
                          </a:solidFill>
                          <a:effectLst/>
                          <a:latin typeface="segoe-ui_bold"/>
                          <a:hlinkClick r:id="rId9"/>
                        </a:rPr>
                        <a:t>Domain authentication using NTLM and Kerbero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1652307485"/>
                  </a:ext>
                </a:extLst>
              </a:tr>
              <a:tr h="247014">
                <a:tc>
                  <a:txBody>
                    <a:bodyPr/>
                    <a:lstStyle/>
                    <a:p>
                      <a:pPr algn="ctr" fontAlgn="t"/>
                      <a:r>
                        <a:rPr lang="en-US" sz="1400" b="1" u="none" strike="noStrike">
                          <a:solidFill>
                            <a:srgbClr val="00A4F3"/>
                          </a:solidFill>
                          <a:effectLst/>
                          <a:latin typeface="segoe-ui_bold"/>
                          <a:hlinkClick r:id="rId10"/>
                        </a:rPr>
                        <a:t>Kerberos constrained delegation</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a:solidFill>
                            <a:schemeClr val="bg1"/>
                          </a:solidFill>
                          <a:effectLst/>
                        </a:rPr>
                        <a:t>resource-based</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a:solidFill>
                            <a:schemeClr val="bg1"/>
                          </a:solidFill>
                          <a:effectLst/>
                        </a:rPr>
                        <a:t>resource-based &amp; account-based</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3986163176"/>
                  </a:ext>
                </a:extLst>
              </a:tr>
              <a:tr h="245838">
                <a:tc>
                  <a:txBody>
                    <a:bodyPr/>
                    <a:lstStyle/>
                    <a:p>
                      <a:pPr algn="ctr" fontAlgn="t"/>
                      <a:r>
                        <a:rPr lang="en-US" sz="1400" b="1" u="none" strike="noStrike">
                          <a:solidFill>
                            <a:srgbClr val="00A4F3"/>
                          </a:solidFill>
                          <a:effectLst/>
                          <a:latin typeface="segoe-ui_bold"/>
                          <a:hlinkClick r:id="rId11"/>
                        </a:rPr>
                        <a:t>Custom OU structure</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760933345"/>
                  </a:ext>
                </a:extLst>
              </a:tr>
              <a:tr h="245838">
                <a:tc>
                  <a:txBody>
                    <a:bodyPr/>
                    <a:lstStyle/>
                    <a:p>
                      <a:pPr algn="ctr" fontAlgn="t"/>
                      <a:r>
                        <a:rPr lang="en-US" sz="1400" b="1" u="none" strike="noStrike">
                          <a:solidFill>
                            <a:srgbClr val="00A4F3"/>
                          </a:solidFill>
                          <a:effectLst/>
                          <a:latin typeface="segoe-ui_bold"/>
                          <a:hlinkClick r:id="rId12"/>
                        </a:rPr>
                        <a:t>Schema extension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3192006875"/>
                  </a:ext>
                </a:extLst>
              </a:tr>
              <a:tr h="245838">
                <a:tc>
                  <a:txBody>
                    <a:bodyPr/>
                    <a:lstStyle/>
                    <a:p>
                      <a:pPr algn="ctr" fontAlgn="t"/>
                      <a:r>
                        <a:rPr lang="en-US" sz="1400" b="1" u="none" strike="noStrike">
                          <a:solidFill>
                            <a:srgbClr val="00A4F3"/>
                          </a:solidFill>
                          <a:effectLst/>
                          <a:latin typeface="segoe-ui_bold"/>
                          <a:hlinkClick r:id="rId13"/>
                        </a:rPr>
                        <a:t>AD domain/forest trust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dirty="0">
                          <a:solidFill>
                            <a:schemeClr val="bg1"/>
                          </a:solidFill>
                          <a:effectLst/>
                          <a:latin typeface="segoe-ui_bold"/>
                        </a:rPr>
                        <a:t>✕</a:t>
                      </a:r>
                      <a:endParaRPr lang="en-US" sz="1400" dirty="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761870986"/>
                  </a:ext>
                </a:extLst>
              </a:tr>
              <a:tr h="245838">
                <a:tc>
                  <a:txBody>
                    <a:bodyPr/>
                    <a:lstStyle/>
                    <a:p>
                      <a:pPr algn="ctr" fontAlgn="t"/>
                      <a:r>
                        <a:rPr lang="en-US" sz="1400" b="1" u="none" strike="noStrike" dirty="0">
                          <a:solidFill>
                            <a:srgbClr val="00A4F3"/>
                          </a:solidFill>
                          <a:effectLst/>
                          <a:latin typeface="segoe-ui_bold"/>
                          <a:hlinkClick r:id="rId14"/>
                        </a:rPr>
                        <a:t>LDAP read</a:t>
                      </a:r>
                      <a:endParaRPr lang="en-US" sz="1400" dirty="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dirty="0">
                          <a:solidFill>
                            <a:schemeClr val="bg1"/>
                          </a:solidFill>
                          <a:effectLst/>
                          <a:latin typeface="segoe-ui_bold"/>
                        </a:rPr>
                        <a:t>✓</a:t>
                      </a:r>
                      <a:endParaRPr lang="en-US" sz="1400" dirty="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4006512901"/>
                  </a:ext>
                </a:extLst>
              </a:tr>
              <a:tr h="245838">
                <a:tc>
                  <a:txBody>
                    <a:bodyPr/>
                    <a:lstStyle/>
                    <a:p>
                      <a:pPr algn="ctr" fontAlgn="t"/>
                      <a:r>
                        <a:rPr lang="en-US" sz="1400" b="1" u="none" strike="noStrike">
                          <a:solidFill>
                            <a:srgbClr val="00A4F3"/>
                          </a:solidFill>
                          <a:effectLst/>
                          <a:latin typeface="segoe-ui_bold"/>
                          <a:hlinkClick r:id="rId15"/>
                        </a:rPr>
                        <a:t>Secure LDAP (LDAP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1490914744"/>
                  </a:ext>
                </a:extLst>
              </a:tr>
              <a:tr h="245838">
                <a:tc>
                  <a:txBody>
                    <a:bodyPr/>
                    <a:lstStyle/>
                    <a:p>
                      <a:pPr algn="ctr" fontAlgn="t"/>
                      <a:r>
                        <a:rPr lang="en-US" sz="1400" b="1" u="none" strike="noStrike">
                          <a:solidFill>
                            <a:srgbClr val="00A4F3"/>
                          </a:solidFill>
                          <a:effectLst/>
                          <a:latin typeface="segoe-ui_bold"/>
                          <a:hlinkClick r:id="rId16"/>
                        </a:rPr>
                        <a:t>LDAP write</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3531525565"/>
                  </a:ext>
                </a:extLst>
              </a:tr>
              <a:tr h="245838">
                <a:tc>
                  <a:txBody>
                    <a:bodyPr/>
                    <a:lstStyle/>
                    <a:p>
                      <a:pPr algn="ctr" fontAlgn="t"/>
                      <a:r>
                        <a:rPr lang="en-US" sz="1400" b="1" u="none" strike="noStrike">
                          <a:solidFill>
                            <a:srgbClr val="00A4F3"/>
                          </a:solidFill>
                          <a:effectLst/>
                          <a:latin typeface="segoe-ui_bold"/>
                          <a:hlinkClick r:id="rId17"/>
                        </a:rPr>
                        <a:t>Group Policy</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a:solidFill>
                            <a:schemeClr val="bg1"/>
                          </a:solidFill>
                          <a:effectLst/>
                        </a:rPr>
                        <a:t>Simple</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dirty="0">
                          <a:solidFill>
                            <a:schemeClr val="bg1"/>
                          </a:solidFill>
                          <a:effectLst/>
                        </a:rPr>
                        <a:t>Full</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1465850776"/>
                  </a:ext>
                </a:extLst>
              </a:tr>
              <a:tr h="247014">
                <a:tc>
                  <a:txBody>
                    <a:bodyPr/>
                    <a:lstStyle/>
                    <a:p>
                      <a:pPr algn="ctr" fontAlgn="t"/>
                      <a:r>
                        <a:rPr lang="en-US" sz="1400" b="1" u="none" strike="noStrike" dirty="0">
                          <a:solidFill>
                            <a:srgbClr val="00A4F3"/>
                          </a:solidFill>
                          <a:effectLst/>
                          <a:latin typeface="segoe-ui_bold"/>
                          <a:hlinkClick r:id="rId18"/>
                        </a:rPr>
                        <a:t>Geo-distributed deployments</a:t>
                      </a:r>
                      <a:endParaRPr lang="en-US" sz="1400" dirty="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dirty="0">
                          <a:solidFill>
                            <a:schemeClr val="bg1"/>
                          </a:solidFill>
                          <a:effectLst/>
                          <a:latin typeface="segoe-ui_bold"/>
                        </a:rPr>
                        <a:t>✓</a:t>
                      </a:r>
                      <a:endParaRPr lang="en-US" sz="1400" dirty="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4048559596"/>
                  </a:ext>
                </a:extLst>
              </a:tr>
            </a:tbl>
          </a:graphicData>
        </a:graphic>
      </p:graphicFrame>
    </p:spTree>
    <p:extLst>
      <p:ext uri="{BB962C8B-B14F-4D97-AF65-F5344CB8AC3E}">
        <p14:creationId xmlns:p14="http://schemas.microsoft.com/office/powerpoint/2010/main" val="7729610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CBAD43-493D-4967-A74B-22B48D23FD76}"/>
              </a:ext>
            </a:extLst>
          </p:cNvPr>
          <p:cNvSpPr>
            <a:spLocks noGrp="1"/>
          </p:cNvSpPr>
          <p:nvPr>
            <p:ph type="title"/>
          </p:nvPr>
        </p:nvSpPr>
        <p:spPr>
          <a:xfrm>
            <a:off x="269302" y="819459"/>
            <a:ext cx="4840694" cy="1799462"/>
          </a:xfrm>
        </p:spPr>
        <p:txBody>
          <a:bodyPr/>
          <a:lstStyle/>
          <a:p>
            <a:r>
              <a:rPr lang="en-US" sz="4400" dirty="0">
                <a:solidFill>
                  <a:schemeClr val="tx1"/>
                </a:solidFill>
              </a:rPr>
              <a:t>Agenda	</a:t>
            </a:r>
          </a:p>
        </p:txBody>
      </p:sp>
      <p:sp>
        <p:nvSpPr>
          <p:cNvPr id="5" name="Text Placeholder 4">
            <a:extLst>
              <a:ext uri="{FF2B5EF4-FFF2-40B4-BE49-F238E27FC236}">
                <a16:creationId xmlns:a16="http://schemas.microsoft.com/office/drawing/2014/main" id="{C0E4A610-B316-4072-86B4-091F3BFDA0F4}"/>
              </a:ext>
            </a:extLst>
          </p:cNvPr>
          <p:cNvSpPr>
            <a:spLocks noGrp="1"/>
          </p:cNvSpPr>
          <p:nvPr>
            <p:ph type="body" sz="quarter" idx="14"/>
          </p:nvPr>
        </p:nvSpPr>
        <p:spPr>
          <a:xfrm>
            <a:off x="0" y="1719190"/>
            <a:ext cx="5334000" cy="717249"/>
          </a:xfrm>
        </p:spPr>
        <p:txBody>
          <a:bodyPr/>
          <a:lstStyle/>
          <a:p>
            <a:pPr marL="457200" indent="-457200">
              <a:buFont typeface="Arial" panose="020B0604020202020204" pitchFamily="34" charset="0"/>
              <a:buChar char="•"/>
            </a:pPr>
            <a:r>
              <a:rPr lang="en-US" sz="2800" dirty="0">
                <a:solidFill>
                  <a:schemeClr val="tx1"/>
                </a:solidFill>
              </a:rPr>
              <a:t>Lab (let’s warm up)</a:t>
            </a:r>
          </a:p>
          <a:p>
            <a:pPr marL="457200" indent="-457200">
              <a:buFont typeface="Arial" panose="020B0604020202020204" pitchFamily="34" charset="0"/>
              <a:buChar char="•"/>
            </a:pPr>
            <a:r>
              <a:rPr lang="en-US" sz="2800" dirty="0">
                <a:solidFill>
                  <a:schemeClr val="tx1"/>
                </a:solidFill>
              </a:rPr>
              <a:t>Hybrid Identity Overview</a:t>
            </a:r>
          </a:p>
          <a:p>
            <a:pPr marL="457200" indent="-457200">
              <a:buFont typeface="Arial" panose="020B0604020202020204" pitchFamily="34" charset="0"/>
              <a:buChar char="•"/>
            </a:pPr>
            <a:r>
              <a:rPr lang="en-US" sz="2800" dirty="0">
                <a:solidFill>
                  <a:schemeClr val="tx1"/>
                </a:solidFill>
              </a:rPr>
              <a:t>Active Directory Domain Services (AD DS)</a:t>
            </a:r>
          </a:p>
          <a:p>
            <a:pPr marL="457200" indent="-457200">
              <a:buFont typeface="Arial" panose="020B0604020202020204" pitchFamily="34" charset="0"/>
              <a:buChar char="•"/>
            </a:pPr>
            <a:r>
              <a:rPr lang="en-US" sz="2800" dirty="0">
                <a:solidFill>
                  <a:schemeClr val="tx1"/>
                </a:solidFill>
              </a:rPr>
              <a:t>Azure Active Directory (AAD)</a:t>
            </a:r>
          </a:p>
          <a:p>
            <a:pPr marL="457200" indent="-457200">
              <a:buFont typeface="Arial" panose="020B0604020202020204" pitchFamily="34" charset="0"/>
              <a:buChar char="•"/>
            </a:pPr>
            <a:r>
              <a:rPr lang="en-US" sz="2800" dirty="0">
                <a:solidFill>
                  <a:schemeClr val="tx1"/>
                </a:solidFill>
              </a:rPr>
              <a:t>Azure AD Domain Services (AAD-DS)</a:t>
            </a:r>
          </a:p>
          <a:p>
            <a:pPr marL="457200" indent="-457200">
              <a:buFont typeface="Arial" panose="020B0604020202020204" pitchFamily="34" charset="0"/>
              <a:buChar char="•"/>
            </a:pPr>
            <a:r>
              <a:rPr lang="en-US" sz="2800" dirty="0">
                <a:solidFill>
                  <a:schemeClr val="tx1"/>
                </a:solidFill>
              </a:rPr>
              <a:t>Azure AD Connect </a:t>
            </a:r>
          </a:p>
          <a:p>
            <a:pPr marL="457200" indent="-457200">
              <a:buFont typeface="Arial" panose="020B0604020202020204" pitchFamily="34" charset="0"/>
              <a:buChar char="•"/>
            </a:pPr>
            <a:r>
              <a:rPr lang="en-US" sz="2800" dirty="0">
                <a:solidFill>
                  <a:schemeClr val="tx1"/>
                </a:solidFill>
              </a:rPr>
              <a:t>Azure Active Directory B2C/B2B</a:t>
            </a:r>
          </a:p>
          <a:p>
            <a:pPr marL="457200" indent="-457200">
              <a:buFont typeface="Arial" panose="020B0604020202020204" pitchFamily="34" charset="0"/>
              <a:buChar char="•"/>
            </a:pPr>
            <a:r>
              <a:rPr lang="en-US" sz="2800" dirty="0">
                <a:solidFill>
                  <a:schemeClr val="tx1"/>
                </a:solidFill>
              </a:rPr>
              <a:t>Lab</a:t>
            </a:r>
          </a:p>
        </p:txBody>
      </p:sp>
    </p:spTree>
    <p:extLst>
      <p:ext uri="{BB962C8B-B14F-4D97-AF65-F5344CB8AC3E}">
        <p14:creationId xmlns:p14="http://schemas.microsoft.com/office/powerpoint/2010/main" val="275157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p:txBody>
          <a:bodyPr/>
          <a:lstStyle/>
          <a:p>
            <a:r>
              <a:rPr lang="en-US" dirty="0"/>
              <a:t>AD Connect</a:t>
            </a:r>
          </a:p>
        </p:txBody>
      </p:sp>
    </p:spTree>
    <p:extLst>
      <p:ext uri="{BB962C8B-B14F-4D97-AF65-F5344CB8AC3E}">
        <p14:creationId xmlns:p14="http://schemas.microsoft.com/office/powerpoint/2010/main" val="73456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1AD1390-C161-4F4A-839C-F2FBF35A13AB}"/>
              </a:ext>
            </a:extLst>
          </p:cNvPr>
          <p:cNvSpPr>
            <a:spLocks noGrp="1"/>
          </p:cNvSpPr>
          <p:nvPr>
            <p:ph type="body" sz="quarter" idx="10"/>
          </p:nvPr>
        </p:nvSpPr>
        <p:spPr>
          <a:xfrm>
            <a:off x="269240" y="1189178"/>
            <a:ext cx="11653523" cy="5252656"/>
          </a:xfrm>
        </p:spPr>
        <p:txBody>
          <a:bodyPr/>
          <a:lstStyle/>
          <a:p>
            <a:r>
              <a:rPr lang="en-US" dirty="0"/>
              <a:t>Integrate your on-premises directories with Azure Active Directory allowing a common identity </a:t>
            </a:r>
            <a:r>
              <a:rPr lang="en-US"/>
              <a:t>for Office </a:t>
            </a:r>
            <a:r>
              <a:rPr lang="en-US" dirty="0"/>
              <a:t>365, Azure, and SaaS applications integrated with </a:t>
            </a:r>
            <a:r>
              <a:rPr lang="en-US"/>
              <a:t>Azure AD</a:t>
            </a:r>
            <a:endParaRPr lang="en-US" dirty="0"/>
          </a:p>
          <a:p>
            <a:r>
              <a:rPr lang="en-US" dirty="0"/>
              <a:t>Made up of three primary components:</a:t>
            </a:r>
          </a:p>
          <a:p>
            <a:pPr lvl="1"/>
            <a:r>
              <a:rPr lang="en-US" dirty="0"/>
              <a:t>synchronization services</a:t>
            </a:r>
          </a:p>
          <a:p>
            <a:pPr lvl="2"/>
            <a:r>
              <a:rPr lang="en-US" dirty="0"/>
              <a:t>responsible for creating users, groups, and other objects. It is also responsible for making sure identity information for your on-premises users and groups is matching the cloud</a:t>
            </a:r>
          </a:p>
          <a:p>
            <a:pPr lvl="1"/>
            <a:r>
              <a:rPr lang="en-US" dirty="0"/>
              <a:t>monitoring component named </a:t>
            </a:r>
            <a:r>
              <a:rPr lang="en-US" dirty="0">
                <a:hlinkClick r:id="rId3"/>
              </a:rPr>
              <a:t>Azure AD Connect Health</a:t>
            </a:r>
            <a:endParaRPr lang="en-US" dirty="0"/>
          </a:p>
          <a:p>
            <a:pPr lvl="2"/>
            <a:r>
              <a:rPr lang="en-US" dirty="0"/>
              <a:t>robust monitoring and provide a central location in the Azure portal to view this activity</a:t>
            </a:r>
          </a:p>
          <a:p>
            <a:pPr lvl="1"/>
            <a:r>
              <a:rPr lang="en-US" dirty="0"/>
              <a:t>optional Active Directory Federation Services component</a:t>
            </a:r>
          </a:p>
          <a:p>
            <a:pPr lvl="2"/>
            <a:r>
              <a:rPr lang="en-US" dirty="0"/>
              <a:t>used to configure a hybrid environment using an on-premises AD FS infrastructure. This can be used by organizations to address complex deployments, such as domain join SSO, enforcement of AD sign-in policy, and smart card or 3rd party MFA.</a:t>
            </a:r>
          </a:p>
        </p:txBody>
      </p:sp>
      <p:sp>
        <p:nvSpPr>
          <p:cNvPr id="2" name="Title 1">
            <a:extLst>
              <a:ext uri="{FF2B5EF4-FFF2-40B4-BE49-F238E27FC236}">
                <a16:creationId xmlns:a16="http://schemas.microsoft.com/office/drawing/2014/main" id="{0A72DB54-0DDC-40AB-A644-362F4400BF8D}"/>
              </a:ext>
            </a:extLst>
          </p:cNvPr>
          <p:cNvSpPr>
            <a:spLocks noGrp="1"/>
          </p:cNvSpPr>
          <p:nvPr>
            <p:ph type="title"/>
          </p:nvPr>
        </p:nvSpPr>
        <p:spPr/>
        <p:txBody>
          <a:bodyPr/>
          <a:lstStyle/>
          <a:p>
            <a:r>
              <a:rPr lang="en-US" b="1" dirty="0"/>
              <a:t>Azure AD Connect</a:t>
            </a:r>
          </a:p>
        </p:txBody>
      </p:sp>
    </p:spTree>
    <p:extLst>
      <p:ext uri="{BB962C8B-B14F-4D97-AF65-F5344CB8AC3E}">
        <p14:creationId xmlns:p14="http://schemas.microsoft.com/office/powerpoint/2010/main" val="188339141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04436D-C05A-4797-82C4-4A645EEB0686}"/>
              </a:ext>
            </a:extLst>
          </p:cNvPr>
          <p:cNvSpPr>
            <a:spLocks noGrp="1"/>
          </p:cNvSpPr>
          <p:nvPr>
            <p:ph type="body" sz="quarter" idx="10"/>
          </p:nvPr>
        </p:nvSpPr>
        <p:spPr>
          <a:xfrm>
            <a:off x="269240" y="1189178"/>
            <a:ext cx="11653523" cy="5343771"/>
          </a:xfrm>
        </p:spPr>
        <p:txBody>
          <a:bodyPr/>
          <a:lstStyle/>
          <a:p>
            <a:r>
              <a:rPr lang="en-US" dirty="0"/>
              <a:t>Optional Features:</a:t>
            </a:r>
          </a:p>
          <a:p>
            <a:pPr lvl="1"/>
            <a:r>
              <a:rPr lang="en-US" dirty="0">
                <a:hlinkClick r:id="rId3"/>
              </a:rPr>
              <a:t>Filtering</a:t>
            </a:r>
            <a:r>
              <a:rPr lang="en-US" dirty="0"/>
              <a:t> is used when you want to limit which objects are synchronized to Azure AD. </a:t>
            </a:r>
          </a:p>
          <a:p>
            <a:pPr lvl="1"/>
            <a:r>
              <a:rPr lang="en-US" dirty="0">
                <a:hlinkClick r:id="rId4"/>
              </a:rPr>
              <a:t>Password synchronization</a:t>
            </a:r>
            <a:r>
              <a:rPr lang="en-US" dirty="0"/>
              <a:t> synchronizes the password hash in Active Directory to Azure AD. </a:t>
            </a:r>
          </a:p>
          <a:p>
            <a:pPr lvl="1"/>
            <a:r>
              <a:rPr lang="en-US" dirty="0">
                <a:hlinkClick r:id="rId5"/>
              </a:rPr>
              <a:t>Password writeback</a:t>
            </a:r>
            <a:r>
              <a:rPr lang="en-US" dirty="0"/>
              <a:t> will allow your users to change and reset their passwords in the cloud and have your on-premises password policy applied.</a:t>
            </a:r>
          </a:p>
          <a:p>
            <a:pPr lvl="1"/>
            <a:r>
              <a:rPr lang="en-US" dirty="0">
                <a:hlinkClick r:id="rId6"/>
              </a:rPr>
              <a:t>Device writeback</a:t>
            </a:r>
            <a:r>
              <a:rPr lang="en-US" dirty="0"/>
              <a:t> will allow a device registered in Azure AD to be written back to on-premises Active Directory so it can be used for conditional access.</a:t>
            </a:r>
          </a:p>
          <a:p>
            <a:pPr lvl="1"/>
            <a:r>
              <a:rPr lang="en-US" dirty="0">
                <a:hlinkClick r:id="rId7"/>
              </a:rPr>
              <a:t>Prevent accidental deletes</a:t>
            </a:r>
            <a:r>
              <a:rPr lang="en-US" dirty="0"/>
              <a:t> feature is turned on by default and protects your cloud directory from numerous deletes at the same time. </a:t>
            </a:r>
            <a:r>
              <a:rPr lang="en-US" dirty="0">
                <a:hlinkClick r:id="rId8"/>
              </a:rPr>
              <a:t>Automatic upgrade</a:t>
            </a:r>
            <a:r>
              <a:rPr lang="en-US" dirty="0"/>
              <a:t> is enabled by default for express settings installations and ensures your Azure AD Connect is always up to date with the latest release.</a:t>
            </a:r>
          </a:p>
          <a:p>
            <a:pPr marL="336081" lvl="1" indent="0">
              <a:buNone/>
            </a:pPr>
            <a:endParaRPr lang="en-US" dirty="0"/>
          </a:p>
        </p:txBody>
      </p:sp>
      <p:sp>
        <p:nvSpPr>
          <p:cNvPr id="2" name="Title 1">
            <a:extLst>
              <a:ext uri="{FF2B5EF4-FFF2-40B4-BE49-F238E27FC236}">
                <a16:creationId xmlns:a16="http://schemas.microsoft.com/office/drawing/2014/main" id="{4FBD452D-34D5-4514-9D96-067CA8C377C9}"/>
              </a:ext>
            </a:extLst>
          </p:cNvPr>
          <p:cNvSpPr>
            <a:spLocks noGrp="1"/>
          </p:cNvSpPr>
          <p:nvPr>
            <p:ph type="title"/>
          </p:nvPr>
        </p:nvSpPr>
        <p:spPr/>
        <p:txBody>
          <a:bodyPr/>
          <a:lstStyle/>
          <a:p>
            <a:r>
              <a:rPr lang="en-US" b="1" dirty="0"/>
              <a:t>Azure AD Connect</a:t>
            </a:r>
          </a:p>
        </p:txBody>
      </p:sp>
    </p:spTree>
    <p:extLst>
      <p:ext uri="{BB962C8B-B14F-4D97-AF65-F5344CB8AC3E}">
        <p14:creationId xmlns:p14="http://schemas.microsoft.com/office/powerpoint/2010/main" val="14839723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834340" y="2453729"/>
            <a:ext cx="1882048" cy="669761"/>
          </a:xfrm>
          <a:prstGeom prst="rect">
            <a:avLst/>
          </a:prstGeom>
          <a:noFill/>
        </p:spPr>
        <p:txBody>
          <a:bodyPr wrap="square" lIns="179285" tIns="143428" rIns="179285" bIns="143428"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rgbClr val="FFFFFF"/>
                </a:solidFill>
                <a:effectLst/>
                <a:uLnTx/>
                <a:uFillTx/>
              </a:rPr>
              <a:t>Azure Active Directory Connect</a:t>
            </a:r>
          </a:p>
        </p:txBody>
      </p:sp>
      <p:pic>
        <p:nvPicPr>
          <p:cNvPr id="42" name="Picture 41"/>
          <p:cNvPicPr>
            <a:picLocks noChangeAspect="1"/>
          </p:cNvPicPr>
          <p:nvPr/>
        </p:nvPicPr>
        <p:blipFill>
          <a:blip r:embed="rId3" cstate="email">
            <a:alphaModFix amt="29000"/>
            <a:extLst>
              <a:ext uri="{28A0092B-C50C-407E-A947-70E740481C1C}">
                <a14:useLocalDpi xmlns:a14="http://schemas.microsoft.com/office/drawing/2010/main"/>
              </a:ext>
            </a:extLst>
          </a:blip>
          <a:stretch>
            <a:fillRect/>
          </a:stretch>
        </p:blipFill>
        <p:spPr>
          <a:xfrm>
            <a:off x="1701774" y="2511351"/>
            <a:ext cx="4946783" cy="2539870"/>
          </a:xfrm>
          <a:prstGeom prst="rect">
            <a:avLst/>
          </a:prstGeom>
        </p:spPr>
      </p:pic>
      <p:grpSp>
        <p:nvGrpSpPr>
          <p:cNvPr id="2" name="Group 1"/>
          <p:cNvGrpSpPr/>
          <p:nvPr/>
        </p:nvGrpSpPr>
        <p:grpSpPr>
          <a:xfrm>
            <a:off x="4833728" y="4565655"/>
            <a:ext cx="2016956" cy="747021"/>
            <a:chOff x="4859128" y="4565655"/>
            <a:chExt cx="2016956" cy="747021"/>
          </a:xfrm>
        </p:grpSpPr>
        <p:sp>
          <p:nvSpPr>
            <p:cNvPr id="37" name="Rectangle 36"/>
            <p:cNvSpPr/>
            <p:nvPr/>
          </p:nvSpPr>
          <p:spPr bwMode="auto">
            <a:xfrm>
              <a:off x="5130109" y="4622800"/>
              <a:ext cx="1518447" cy="587096"/>
            </a:xfrm>
            <a:prstGeom prst="rect">
              <a:avLst/>
            </a:prstGeom>
            <a:solidFill>
              <a:schemeClr val="bg1"/>
            </a:solidFill>
            <a:ln w="28575" cap="rnd">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3" name="Rounded Rectangle 52"/>
            <p:cNvSpPr/>
            <p:nvPr/>
          </p:nvSpPr>
          <p:spPr bwMode="auto">
            <a:xfrm>
              <a:off x="4859128" y="4565655"/>
              <a:ext cx="2016956" cy="74702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61356"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rgbClr val="002050"/>
                  </a:solidFill>
                  <a:effectLst/>
                  <a:uLnTx/>
                  <a:uFillTx/>
                  <a:ea typeface="Segoe UI" pitchFamily="34" charset="0"/>
                  <a:cs typeface="Segoe UI" pitchFamily="34" charset="0"/>
                </a:rPr>
                <a:t>ADFS</a:t>
              </a:r>
            </a:p>
          </p:txBody>
        </p:sp>
      </p:grpSp>
      <p:sp>
        <p:nvSpPr>
          <p:cNvPr id="12" name="Rounded Rectangle 11"/>
          <p:cNvSpPr/>
          <p:nvPr/>
        </p:nvSpPr>
        <p:spPr bwMode="auto">
          <a:xfrm>
            <a:off x="4714296" y="3381434"/>
            <a:ext cx="2016956" cy="74702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224106"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ea typeface="Segoe UI" pitchFamily="34" charset="0"/>
                <a:cs typeface="Segoe UI" pitchFamily="34" charset="0"/>
              </a:rPr>
              <a:t>Sync engine</a:t>
            </a:r>
          </a:p>
        </p:txBody>
      </p:sp>
      <p:sp>
        <p:nvSpPr>
          <p:cNvPr id="25" name="Title 24"/>
          <p:cNvSpPr>
            <a:spLocks noGrp="1"/>
          </p:cNvSpPr>
          <p:nvPr>
            <p:ph type="title"/>
          </p:nvPr>
        </p:nvSpPr>
        <p:spPr/>
        <p:txBody>
          <a:bodyPr/>
          <a:lstStyle/>
          <a:p>
            <a:r>
              <a:rPr lang="en-US" dirty="0"/>
              <a:t>Making a hybrid identity simple</a:t>
            </a:r>
          </a:p>
        </p:txBody>
      </p:sp>
      <p:sp>
        <p:nvSpPr>
          <p:cNvPr id="26" name="Text Placeholder 25"/>
          <p:cNvSpPr>
            <a:spLocks noGrp="1"/>
          </p:cNvSpPr>
          <p:nvPr>
            <p:ph type="body" sz="quarter" idx="10"/>
          </p:nvPr>
        </p:nvSpPr>
        <p:spPr/>
        <p:txBody>
          <a:bodyPr/>
          <a:lstStyle/>
          <a:p>
            <a:r>
              <a:rPr lang="en-US" dirty="0"/>
              <a:t>1000s OF APPS, 1 IDENTITY</a:t>
            </a:r>
          </a:p>
        </p:txBody>
      </p:sp>
      <p:sp>
        <p:nvSpPr>
          <p:cNvPr id="27" name="Text Placeholder 26"/>
          <p:cNvSpPr>
            <a:spLocks noGrp="1"/>
          </p:cNvSpPr>
          <p:nvPr>
            <p:ph type="body" sz="quarter" idx="11"/>
          </p:nvPr>
        </p:nvSpPr>
        <p:spPr/>
        <p:txBody>
          <a:bodyPr/>
          <a:lstStyle/>
          <a:p>
            <a:r>
              <a:rPr lang="en-US" dirty="0"/>
              <a:t>Azure Active Directory Connect</a:t>
            </a:r>
          </a:p>
        </p:txBody>
      </p:sp>
      <p:sp>
        <p:nvSpPr>
          <p:cNvPr id="63" name="Text Placeholder 9"/>
          <p:cNvSpPr txBox="1">
            <a:spLocks/>
          </p:cNvSpPr>
          <p:nvPr/>
        </p:nvSpPr>
        <p:spPr>
          <a:xfrm>
            <a:off x="8490300" y="2867293"/>
            <a:ext cx="3244500" cy="3305520"/>
          </a:xfrm>
          <a:prstGeom prst="rect">
            <a:avLst/>
          </a:prstGeom>
        </p:spPr>
        <p:txBody>
          <a:bodyPr vert="horz" wrap="square" lIns="146304" tIns="91440" rIns="146304" bIns="91440" rtlCol="0">
            <a:spAutoFit/>
          </a:bodyPr>
          <a:lstStyle>
            <a:lvl1pPr marL="0" indent="0" algn="l" defTabSz="913505" rtl="0" fontAlgn="base">
              <a:lnSpc>
                <a:spcPct val="90000"/>
              </a:lnSpc>
              <a:spcBef>
                <a:spcPct val="20000"/>
              </a:spcBef>
              <a:spcAft>
                <a:spcPct val="0"/>
              </a:spcAft>
              <a:buSzPct val="90000"/>
              <a:buFont typeface="Arial" charset="0"/>
              <a:buNone/>
              <a:defRPr sz="2200" b="0" kern="1200">
                <a:solidFill>
                  <a:schemeClr val="accent2"/>
                </a:solidFill>
                <a:latin typeface="+mn-lt"/>
                <a:ea typeface="ＭＳ Ｐゴシック" charset="0"/>
                <a:cs typeface="ＭＳ Ｐゴシック" charset="0"/>
              </a:defRPr>
            </a:lvl1pPr>
            <a:lvl2pPr marL="336145"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rPr>
              <a:t>Consolidated deployment assistant for your identity bridge components.</a:t>
            </a: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endParaRP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rPr>
              <a:t>All currently available sync engines will be replaced by the sync engine included in the Connect tool. </a:t>
            </a: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rPr>
              <a:t>Assisted deployment of ADFS will be available through Azure Active Directory Connect.</a:t>
            </a: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endParaRP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rPr>
              <a:t>ADFS is an optional component for authentication in hybrid implementation. Password sync can replace ADFS for more scenarios.</a:t>
            </a: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endParaRPr>
          </a:p>
        </p:txBody>
      </p:sp>
      <p:sp>
        <p:nvSpPr>
          <p:cNvPr id="41" name="Rectangle 40"/>
          <p:cNvSpPr/>
          <p:nvPr/>
        </p:nvSpPr>
        <p:spPr bwMode="auto">
          <a:xfrm>
            <a:off x="1403401" y="2352676"/>
            <a:ext cx="2570084" cy="3866303"/>
          </a:xfrm>
          <a:prstGeom prst="rect">
            <a:avLst/>
          </a:prstGeom>
          <a:noFill/>
          <a:ln w="34925" cap="rnd">
            <a:solidFill>
              <a:schemeClr val="accent3"/>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8" name="Rectangle 47"/>
          <p:cNvSpPr/>
          <p:nvPr/>
        </p:nvSpPr>
        <p:spPr bwMode="auto">
          <a:xfrm>
            <a:off x="4547540" y="2352676"/>
            <a:ext cx="2570084" cy="3866303"/>
          </a:xfrm>
          <a:prstGeom prst="rect">
            <a:avLst/>
          </a:prstGeom>
          <a:noFill/>
          <a:ln w="34925" cap="rnd">
            <a:solidFill>
              <a:schemeClr val="accent3"/>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9" name="Rounded Rectangle 48"/>
          <p:cNvSpPr/>
          <p:nvPr/>
        </p:nvSpPr>
        <p:spPr bwMode="auto">
          <a:xfrm>
            <a:off x="1740478" y="2611136"/>
            <a:ext cx="2016956" cy="673875"/>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solidFill>
                  <a:srgbClr val="FFFFFF"/>
                </a:solidFill>
                <a:effectLst/>
                <a:uLnTx/>
                <a:uFillTx/>
                <a:ea typeface="Segoe UI" pitchFamily="34" charset="0"/>
                <a:cs typeface="Segoe UI" pitchFamily="34" charset="0"/>
              </a:rPr>
              <a:t>DirSync</a:t>
            </a:r>
            <a:endParaRPr kumimoji="0" lang="en-US" sz="1372"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50" name="Rounded Rectangle 49"/>
          <p:cNvSpPr/>
          <p:nvPr/>
        </p:nvSpPr>
        <p:spPr bwMode="auto">
          <a:xfrm>
            <a:off x="1740478" y="3312781"/>
            <a:ext cx="2016956" cy="672319"/>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ea typeface="Segoe UI" pitchFamily="34" charset="0"/>
                <a:cs typeface="Segoe UI" pitchFamily="34" charset="0"/>
              </a:rPr>
              <a:t>Azure Active Directory Sync</a:t>
            </a:r>
          </a:p>
        </p:txBody>
      </p:sp>
      <p:sp>
        <p:nvSpPr>
          <p:cNvPr id="56" name="Rounded Rectangle 55"/>
          <p:cNvSpPr/>
          <p:nvPr/>
        </p:nvSpPr>
        <p:spPr bwMode="auto">
          <a:xfrm>
            <a:off x="1867566" y="4043713"/>
            <a:ext cx="1762781" cy="672319"/>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err="1">
                <a:ln>
                  <a:noFill/>
                </a:ln>
                <a:solidFill>
                  <a:srgbClr val="FFFFFF"/>
                </a:solidFill>
                <a:effectLst/>
                <a:uLnTx/>
                <a:uFillTx/>
                <a:ea typeface="Segoe UI" pitchFamily="34" charset="0"/>
                <a:cs typeface="Segoe UI" pitchFamily="34" charset="0"/>
              </a:rPr>
              <a:t>FIM+Azure</a:t>
            </a:r>
            <a:r>
              <a:rPr kumimoji="0" lang="en-US" sz="1176" b="0" i="0" u="none" strike="noStrike" kern="0" cap="none" spc="0" normalizeH="0" baseline="0" noProof="0" dirty="0">
                <a:ln>
                  <a:noFill/>
                </a:ln>
                <a:solidFill>
                  <a:srgbClr val="FFFFFF"/>
                </a:solidFill>
                <a:effectLst/>
                <a:uLnTx/>
                <a:uFillTx/>
                <a:ea typeface="Segoe UI" pitchFamily="34" charset="0"/>
                <a:cs typeface="Segoe UI" pitchFamily="34" charset="0"/>
              </a:rPr>
              <a:t> Active Directory Connector</a:t>
            </a:r>
          </a:p>
        </p:txBody>
      </p:sp>
      <p:grpSp>
        <p:nvGrpSpPr>
          <p:cNvPr id="57" name="Group 56"/>
          <p:cNvGrpSpPr/>
          <p:nvPr/>
        </p:nvGrpSpPr>
        <p:grpSpPr>
          <a:xfrm>
            <a:off x="8490300" y="3676523"/>
            <a:ext cx="283256" cy="283258"/>
            <a:chOff x="5372581" y="1617831"/>
            <a:chExt cx="498112" cy="498112"/>
          </a:xfrm>
          <a:solidFill>
            <a:schemeClr val="bg1"/>
          </a:solidFill>
        </p:grpSpPr>
        <p:sp>
          <p:nvSpPr>
            <p:cNvPr id="58" name="Oval 57"/>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9" name="Isosceles Triangle 42"/>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60" name="Group 59"/>
          <p:cNvGrpSpPr/>
          <p:nvPr/>
        </p:nvGrpSpPr>
        <p:grpSpPr>
          <a:xfrm>
            <a:off x="8490300" y="2920609"/>
            <a:ext cx="283256" cy="283258"/>
            <a:chOff x="5372581" y="1617831"/>
            <a:chExt cx="498112" cy="498112"/>
          </a:xfrm>
          <a:solidFill>
            <a:schemeClr val="bg1"/>
          </a:solidFill>
        </p:grpSpPr>
        <p:sp>
          <p:nvSpPr>
            <p:cNvPr id="61" name="Oval 60"/>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2" name="Isosceles Triangle 45"/>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64" name="Group 63"/>
          <p:cNvGrpSpPr/>
          <p:nvPr/>
        </p:nvGrpSpPr>
        <p:grpSpPr>
          <a:xfrm>
            <a:off x="8490300" y="5048123"/>
            <a:ext cx="283256" cy="283258"/>
            <a:chOff x="5372581" y="1617831"/>
            <a:chExt cx="498112" cy="498112"/>
          </a:xfrm>
          <a:solidFill>
            <a:schemeClr val="bg1"/>
          </a:solidFill>
        </p:grpSpPr>
        <p:sp>
          <p:nvSpPr>
            <p:cNvPr id="65" name="Oval 64"/>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6" name="Isosceles Triangle 42"/>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32" name="Rectangle 31"/>
          <p:cNvSpPr/>
          <p:nvPr/>
        </p:nvSpPr>
        <p:spPr bwMode="auto">
          <a:xfrm>
            <a:off x="4834341" y="3312781"/>
            <a:ext cx="2041132" cy="2554619"/>
          </a:xfrm>
          <a:prstGeom prst="rect">
            <a:avLst/>
          </a:prstGeom>
          <a:noFill/>
          <a:ln w="28575" cap="rnd">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8" name="Group 37"/>
          <p:cNvGrpSpPr/>
          <p:nvPr/>
        </p:nvGrpSpPr>
        <p:grpSpPr>
          <a:xfrm>
            <a:off x="1688050" y="5203419"/>
            <a:ext cx="2016956" cy="747021"/>
            <a:chOff x="4859128" y="4565655"/>
            <a:chExt cx="2016956" cy="747021"/>
          </a:xfrm>
        </p:grpSpPr>
        <p:sp>
          <p:nvSpPr>
            <p:cNvPr id="39" name="Rectangle 38"/>
            <p:cNvSpPr/>
            <p:nvPr/>
          </p:nvSpPr>
          <p:spPr bwMode="auto">
            <a:xfrm>
              <a:off x="5130109" y="4622800"/>
              <a:ext cx="1518447" cy="587096"/>
            </a:xfrm>
            <a:prstGeom prst="rect">
              <a:avLst/>
            </a:prstGeom>
            <a:solidFill>
              <a:schemeClr val="bg1"/>
            </a:solidFill>
            <a:ln w="28575" cap="rnd">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0" name="Rounded Rectangle 39"/>
            <p:cNvSpPr/>
            <p:nvPr/>
          </p:nvSpPr>
          <p:spPr bwMode="auto">
            <a:xfrm>
              <a:off x="4859128" y="4565655"/>
              <a:ext cx="2016956" cy="74702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61356"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rgbClr val="002050"/>
                  </a:solidFill>
                  <a:effectLst/>
                  <a:uLnTx/>
                  <a:uFillTx/>
                  <a:ea typeface="Segoe UI" pitchFamily="34" charset="0"/>
                  <a:cs typeface="Segoe UI" pitchFamily="34" charset="0"/>
                </a:rPr>
                <a:t>ADFS</a:t>
              </a:r>
            </a:p>
          </p:txBody>
        </p:sp>
      </p:grpSp>
      <p:sp>
        <p:nvSpPr>
          <p:cNvPr id="43" name="Rectangle 42"/>
          <p:cNvSpPr/>
          <p:nvPr/>
        </p:nvSpPr>
        <p:spPr bwMode="auto">
          <a:xfrm>
            <a:off x="5104709" y="4622800"/>
            <a:ext cx="1518447" cy="596900"/>
          </a:xfrm>
          <a:prstGeom prst="rect">
            <a:avLst/>
          </a:prstGeom>
          <a:noFill/>
          <a:ln w="28575" cap="rnd">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198461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 name="Title 196">
            <a:extLst>
              <a:ext uri="{FF2B5EF4-FFF2-40B4-BE49-F238E27FC236}">
                <a16:creationId xmlns:a16="http://schemas.microsoft.com/office/drawing/2014/main" id="{70C32512-3ECD-4893-A6AE-53E3DC36590C}"/>
              </a:ext>
            </a:extLst>
          </p:cNvPr>
          <p:cNvSpPr>
            <a:spLocks noGrp="1"/>
          </p:cNvSpPr>
          <p:nvPr>
            <p:ph type="title"/>
          </p:nvPr>
        </p:nvSpPr>
        <p:spPr/>
        <p:txBody>
          <a:bodyPr/>
          <a:lstStyle/>
          <a:p>
            <a:pPr algn="ctr"/>
            <a:r>
              <a:rPr lang="en-US" sz="4400" dirty="0"/>
              <a:t>Hybrid made easy</a:t>
            </a:r>
          </a:p>
        </p:txBody>
      </p:sp>
      <p:sp useBgFill="1">
        <p:nvSpPr>
          <p:cNvPr id="577" name="Oval 576">
            <a:extLst>
              <a:ext uri="{FF2B5EF4-FFF2-40B4-BE49-F238E27FC236}">
                <a16:creationId xmlns:a16="http://schemas.microsoft.com/office/drawing/2014/main" id="{00985437-AD93-49E0-AC68-9278AA26BB95}"/>
              </a:ext>
            </a:extLst>
          </p:cNvPr>
          <p:cNvSpPr/>
          <p:nvPr/>
        </p:nvSpPr>
        <p:spPr bwMode="auto">
          <a:xfrm>
            <a:off x="7836736" y="1979056"/>
            <a:ext cx="2672662" cy="2672660"/>
          </a:xfrm>
          <a:prstGeom prst="ellipse">
            <a:avLst/>
          </a:prstGeom>
          <a:ln w="28575" cap="rnd" cmpd="sng" algn="ctr">
            <a:solidFill>
              <a:srgbClr val="0078D7"/>
            </a:solidFill>
            <a:prstDash val="sysDot"/>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78" name="Group 577">
            <a:extLst>
              <a:ext uri="{FF2B5EF4-FFF2-40B4-BE49-F238E27FC236}">
                <a16:creationId xmlns:a16="http://schemas.microsoft.com/office/drawing/2014/main" id="{7626884B-6264-49B1-8AF6-B08E01768C93}"/>
              </a:ext>
            </a:extLst>
          </p:cNvPr>
          <p:cNvGrpSpPr/>
          <p:nvPr/>
        </p:nvGrpSpPr>
        <p:grpSpPr>
          <a:xfrm>
            <a:off x="667476" y="3817201"/>
            <a:ext cx="4070272" cy="1769847"/>
            <a:chOff x="-457509" y="3846555"/>
            <a:chExt cx="4151889" cy="1805336"/>
          </a:xfrm>
        </p:grpSpPr>
        <p:grpSp>
          <p:nvGrpSpPr>
            <p:cNvPr id="579" name="Group 578">
              <a:extLst>
                <a:ext uri="{FF2B5EF4-FFF2-40B4-BE49-F238E27FC236}">
                  <a16:creationId xmlns:a16="http://schemas.microsoft.com/office/drawing/2014/main" id="{8CE23D2A-E390-45FE-B4B9-7C63FACBAA01}"/>
                </a:ext>
              </a:extLst>
            </p:cNvPr>
            <p:cNvGrpSpPr/>
            <p:nvPr/>
          </p:nvGrpSpPr>
          <p:grpSpPr>
            <a:xfrm>
              <a:off x="1134489" y="3846555"/>
              <a:ext cx="2559891" cy="1805336"/>
              <a:chOff x="1792808" y="4869962"/>
              <a:chExt cx="2140585" cy="1509625"/>
            </a:xfrm>
          </p:grpSpPr>
          <p:grpSp>
            <p:nvGrpSpPr>
              <p:cNvPr id="581" name="Group 580">
                <a:extLst>
                  <a:ext uri="{FF2B5EF4-FFF2-40B4-BE49-F238E27FC236}">
                    <a16:creationId xmlns:a16="http://schemas.microsoft.com/office/drawing/2014/main" id="{08FE06FA-1E66-4AAB-B37C-6A78A0ED96B5}"/>
                  </a:ext>
                </a:extLst>
              </p:cNvPr>
              <p:cNvGrpSpPr/>
              <p:nvPr/>
            </p:nvGrpSpPr>
            <p:grpSpPr>
              <a:xfrm>
                <a:off x="2679738" y="4869962"/>
                <a:ext cx="1253655" cy="1253655"/>
                <a:chOff x="2948537" y="5104016"/>
                <a:chExt cx="1600200" cy="1600200"/>
              </a:xfrm>
            </p:grpSpPr>
            <p:sp>
              <p:nvSpPr>
                <p:cNvPr id="618" name="Dotted Circle">
                  <a:extLst>
                    <a:ext uri="{FF2B5EF4-FFF2-40B4-BE49-F238E27FC236}">
                      <a16:creationId xmlns:a16="http://schemas.microsoft.com/office/drawing/2014/main" id="{44B0ABFD-885E-4F41-8925-0572671D2029}"/>
                    </a:ext>
                  </a:extLst>
                </p:cNvPr>
                <p:cNvSpPr/>
                <p:nvPr/>
              </p:nvSpPr>
              <p:spPr>
                <a:xfrm>
                  <a:off x="2948537" y="5104016"/>
                  <a:ext cx="1600200" cy="16002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2F2F2"/>
                </a:solidFill>
                <a:ln w="28575" cap="rnd">
                  <a:solidFill>
                    <a:srgbClr val="353535"/>
                  </a:solidFill>
                  <a:custDash>
                    <a:ds d="100000" sp="100000"/>
                  </a:custDash>
                </a:ln>
              </p:spPr>
              <p:txBody>
                <a:bodyPr vert="horz" wrap="square" lIns="87868" tIns="43933" rIns="87868" bIns="43933" anchor="ctr"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9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619" name="Group 2">
                  <a:extLst>
                    <a:ext uri="{FF2B5EF4-FFF2-40B4-BE49-F238E27FC236}">
                      <a16:creationId xmlns:a16="http://schemas.microsoft.com/office/drawing/2014/main" id="{BA890588-171D-4796-A3E7-4E75F3D2C6B9}"/>
                    </a:ext>
                  </a:extLst>
                </p:cNvPr>
                <p:cNvGrpSpPr/>
                <p:nvPr/>
              </p:nvGrpSpPr>
              <p:grpSpPr>
                <a:xfrm>
                  <a:off x="3197318" y="5374450"/>
                  <a:ext cx="1102629" cy="1059331"/>
                  <a:chOff x="3197318" y="5374450"/>
                  <a:chExt cx="1102629" cy="1059331"/>
                </a:xfrm>
              </p:grpSpPr>
              <p:grpSp>
                <p:nvGrpSpPr>
                  <p:cNvPr id="620" name="Group 162">
                    <a:extLst>
                      <a:ext uri="{FF2B5EF4-FFF2-40B4-BE49-F238E27FC236}">
                        <a16:creationId xmlns:a16="http://schemas.microsoft.com/office/drawing/2014/main" id="{0FCDE553-D797-4B43-AE43-73DF7510CC65}"/>
                      </a:ext>
                    </a:extLst>
                  </p:cNvPr>
                  <p:cNvGrpSpPr/>
                  <p:nvPr/>
                </p:nvGrpSpPr>
                <p:grpSpPr>
                  <a:xfrm>
                    <a:off x="3197318" y="5719773"/>
                    <a:ext cx="367515" cy="311389"/>
                    <a:chOff x="3197318" y="5719773"/>
                    <a:chExt cx="367515" cy="311389"/>
                  </a:xfrm>
                </p:grpSpPr>
                <p:sp>
                  <p:nvSpPr>
                    <p:cNvPr id="646" name="Freeform 5">
                      <a:extLst>
                        <a:ext uri="{FF2B5EF4-FFF2-40B4-BE49-F238E27FC236}">
                          <a16:creationId xmlns:a16="http://schemas.microsoft.com/office/drawing/2014/main" id="{1F9D15EB-40C2-4F49-8CA6-FEE9CCD4FEC6}"/>
                        </a:ext>
                      </a:extLst>
                    </p:cNvPr>
                    <p:cNvSpPr/>
                    <p:nvPr/>
                  </p:nvSpPr>
                  <p:spPr>
                    <a:xfrm>
                      <a:off x="3317470" y="5953493"/>
                      <a:ext cx="94000" cy="46881"/>
                    </a:xfrm>
                    <a:custGeom>
                      <a:avLst/>
                      <a:gdLst>
                        <a:gd name="f0" fmla="val 10800000"/>
                        <a:gd name="f1" fmla="val 5400000"/>
                        <a:gd name="f2" fmla="val 180"/>
                        <a:gd name="f3" fmla="val w"/>
                        <a:gd name="f4" fmla="val h"/>
                        <a:gd name="f5" fmla="val 0"/>
                        <a:gd name="f6" fmla="val 48"/>
                        <a:gd name="f7" fmla="val 24"/>
                        <a:gd name="f8" fmla="val 42"/>
                        <a:gd name="f9" fmla="val 11"/>
                        <a:gd name="f10" fmla="val 22"/>
                        <a:gd name="f11" fmla="val 47"/>
                        <a:gd name="f12" fmla="val 23"/>
                        <a:gd name="f13" fmla="val 45"/>
                        <a:gd name="f14" fmla="val 3"/>
                        <a:gd name="f15" fmla="val 1"/>
                        <a:gd name="f16" fmla="val 6"/>
                        <a:gd name="f17" fmla="+- 0 0 -90"/>
                        <a:gd name="f18" fmla="*/ f3 1 48"/>
                        <a:gd name="f19" fmla="*/ f4 1 24"/>
                        <a:gd name="f20" fmla="val f5"/>
                        <a:gd name="f21" fmla="val f6"/>
                        <a:gd name="f22" fmla="val f7"/>
                        <a:gd name="f23" fmla="*/ f17 f0 1"/>
                        <a:gd name="f24" fmla="+- f22 0 f20"/>
                        <a:gd name="f25" fmla="+- f21 0 f20"/>
                        <a:gd name="f26" fmla="*/ f23 1 f2"/>
                        <a:gd name="f27" fmla="*/ f25 1 48"/>
                        <a:gd name="f28" fmla="*/ f24 1 24"/>
                        <a:gd name="f29" fmla="*/ 42 f25 1"/>
                        <a:gd name="f30" fmla="*/ 0 f24 1"/>
                        <a:gd name="f31" fmla="*/ 11 f24 1"/>
                        <a:gd name="f32" fmla="*/ 48 f25 1"/>
                        <a:gd name="f33" fmla="*/ 22 f24 1"/>
                        <a:gd name="f34" fmla="*/ 45 f25 1"/>
                        <a:gd name="f35" fmla="*/ 23 f24 1"/>
                        <a:gd name="f36" fmla="*/ 3 f25 1"/>
                        <a:gd name="f37" fmla="*/ 0 f25 1"/>
                        <a:gd name="f38" fmla="*/ 6 f25 1"/>
                        <a:gd name="f39" fmla="+- f26 0 f1"/>
                        <a:gd name="f40" fmla="*/ f29 1 48"/>
                        <a:gd name="f41" fmla="*/ f30 1 24"/>
                        <a:gd name="f42" fmla="*/ f31 1 24"/>
                        <a:gd name="f43" fmla="*/ f32 1 48"/>
                        <a:gd name="f44" fmla="*/ f33 1 24"/>
                        <a:gd name="f45" fmla="*/ f34 1 48"/>
                        <a:gd name="f46" fmla="*/ f35 1 24"/>
                        <a:gd name="f47" fmla="*/ f36 1 48"/>
                        <a:gd name="f48" fmla="*/ f37 1 48"/>
                        <a:gd name="f49" fmla="*/ f38 1 48"/>
                        <a:gd name="f50" fmla="*/ 0 1 f27"/>
                        <a:gd name="f51" fmla="*/ f21 1 f27"/>
                        <a:gd name="f52" fmla="*/ 0 1 f28"/>
                        <a:gd name="f53" fmla="*/ f22 1 f28"/>
                        <a:gd name="f54" fmla="*/ f40 1 f27"/>
                        <a:gd name="f55" fmla="*/ f41 1 f28"/>
                        <a:gd name="f56" fmla="*/ f42 1 f28"/>
                        <a:gd name="f57" fmla="*/ f43 1 f27"/>
                        <a:gd name="f58" fmla="*/ f44 1 f28"/>
                        <a:gd name="f59" fmla="*/ f45 1 f27"/>
                        <a:gd name="f60" fmla="*/ f46 1 f28"/>
                        <a:gd name="f61" fmla="*/ f47 1 f27"/>
                        <a:gd name="f62" fmla="*/ f48 1 f27"/>
                        <a:gd name="f63" fmla="*/ f49 1 f27"/>
                        <a:gd name="f64" fmla="*/ f50 f18 1"/>
                        <a:gd name="f65" fmla="*/ f51 f18 1"/>
                        <a:gd name="f66" fmla="*/ f53 f19 1"/>
                        <a:gd name="f67" fmla="*/ f52 f19 1"/>
                        <a:gd name="f68" fmla="*/ f54 f18 1"/>
                        <a:gd name="f69" fmla="*/ f55 f19 1"/>
                        <a:gd name="f70" fmla="*/ f56 f19 1"/>
                        <a:gd name="f71" fmla="*/ f57 f18 1"/>
                        <a:gd name="f72" fmla="*/ f58 f19 1"/>
                        <a:gd name="f73" fmla="*/ f59 f18 1"/>
                        <a:gd name="f74" fmla="*/ f60 f19 1"/>
                        <a:gd name="f75" fmla="*/ f61 f18 1"/>
                        <a:gd name="f76" fmla="*/ f62 f18 1"/>
                        <a:gd name="f77" fmla="*/ f63 f18 1"/>
                      </a:gdLst>
                      <a:ahLst/>
                      <a:cxnLst>
                        <a:cxn ang="3cd4">
                          <a:pos x="hc" y="t"/>
                        </a:cxn>
                        <a:cxn ang="0">
                          <a:pos x="r" y="vc"/>
                        </a:cxn>
                        <a:cxn ang="cd4">
                          <a:pos x="hc" y="b"/>
                        </a:cxn>
                        <a:cxn ang="cd2">
                          <a:pos x="l" y="vc"/>
                        </a:cxn>
                        <a:cxn ang="f39">
                          <a:pos x="f68" y="f69"/>
                        </a:cxn>
                        <a:cxn ang="f39">
                          <a:pos x="f68" y="f70"/>
                        </a:cxn>
                        <a:cxn ang="f39">
                          <a:pos x="f71" y="f72"/>
                        </a:cxn>
                        <a:cxn ang="f39">
                          <a:pos x="f73" y="f74"/>
                        </a:cxn>
                        <a:cxn ang="f39">
                          <a:pos x="f75" y="f74"/>
                        </a:cxn>
                        <a:cxn ang="f39">
                          <a:pos x="f76" y="f72"/>
                        </a:cxn>
                        <a:cxn ang="f39">
                          <a:pos x="f77" y="f70"/>
                        </a:cxn>
                        <a:cxn ang="f39">
                          <a:pos x="f77" y="f69"/>
                        </a:cxn>
                      </a:cxnLst>
                      <a:rect l="f64" t="f67" r="f65" b="f66"/>
                      <a:pathLst>
                        <a:path w="48" h="24">
                          <a:moveTo>
                            <a:pt x="f8" y="f5"/>
                          </a:moveTo>
                          <a:cubicBezTo>
                            <a:pt x="f8" y="f9"/>
                            <a:pt x="f8" y="f9"/>
                            <a:pt x="f8" y="f9"/>
                          </a:cubicBezTo>
                          <a:cubicBezTo>
                            <a:pt x="f6" y="f10"/>
                            <a:pt x="f6" y="f10"/>
                            <a:pt x="f6" y="f10"/>
                          </a:cubicBezTo>
                          <a:cubicBezTo>
                            <a:pt x="f6" y="f7"/>
                            <a:pt x="f11" y="f12"/>
                            <a:pt x="f13" y="f12"/>
                          </a:cubicBezTo>
                          <a:cubicBezTo>
                            <a:pt x="f14" y="f12"/>
                            <a:pt x="f14" y="f12"/>
                            <a:pt x="f14" y="f12"/>
                          </a:cubicBezTo>
                          <a:cubicBezTo>
                            <a:pt x="f15" y="f12"/>
                            <a:pt x="f5" y="f7"/>
                            <a:pt x="f5" y="f10"/>
                          </a:cubicBezTo>
                          <a:cubicBezTo>
                            <a:pt x="f16" y="f9"/>
                            <a:pt x="f16" y="f9"/>
                            <a:pt x="f16" y="f9"/>
                          </a:cubicBezTo>
                          <a:cubicBezTo>
                            <a:pt x="f16" y="f5"/>
                            <a:pt x="f16" y="f5"/>
                            <a:pt x="f16" y="f5"/>
                          </a:cubicBez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7" name="Freeform 6">
                      <a:extLst>
                        <a:ext uri="{FF2B5EF4-FFF2-40B4-BE49-F238E27FC236}">
                          <a16:creationId xmlns:a16="http://schemas.microsoft.com/office/drawing/2014/main" id="{340588D1-3E62-47EE-8EC5-F31B415863C1}"/>
                        </a:ext>
                      </a:extLst>
                    </p:cNvPr>
                    <p:cNvSpPr/>
                    <p:nvPr/>
                  </p:nvSpPr>
                  <p:spPr>
                    <a:xfrm>
                      <a:off x="3197318" y="5719773"/>
                      <a:ext cx="330756" cy="234415"/>
                    </a:xfrm>
                    <a:custGeom>
                      <a:avLst/>
                      <a:gdLst>
                        <a:gd name="f0" fmla="val 10800000"/>
                        <a:gd name="f1" fmla="val 5400000"/>
                        <a:gd name="f2" fmla="val 180"/>
                        <a:gd name="f3" fmla="val w"/>
                        <a:gd name="f4" fmla="val h"/>
                        <a:gd name="f5" fmla="val 0"/>
                        <a:gd name="f6" fmla="val 168"/>
                        <a:gd name="f7" fmla="val 120"/>
                        <a:gd name="f8" fmla="val 118"/>
                        <a:gd name="f9" fmla="val 10"/>
                        <a:gd name="f10" fmla="val 4"/>
                        <a:gd name="f11" fmla="val 115"/>
                        <a:gd name="f12" fmla="val 110"/>
                        <a:gd name="f13" fmla="val 158"/>
                        <a:gd name="f14" fmla="val 164"/>
                        <a:gd name="f15" fmla="val 29"/>
                        <a:gd name="f16" fmla="+- 0 0 -90"/>
                        <a:gd name="f17" fmla="*/ f3 1 168"/>
                        <a:gd name="f18" fmla="*/ f4 1 120"/>
                        <a:gd name="f19" fmla="val f5"/>
                        <a:gd name="f20" fmla="val f6"/>
                        <a:gd name="f21" fmla="val f7"/>
                        <a:gd name="f22" fmla="*/ f16 f0 1"/>
                        <a:gd name="f23" fmla="+- f21 0 f19"/>
                        <a:gd name="f24" fmla="+- f20 0 f19"/>
                        <a:gd name="f25" fmla="*/ f22 1 f2"/>
                        <a:gd name="f26" fmla="*/ f24 1 168"/>
                        <a:gd name="f27" fmla="*/ f23 1 120"/>
                        <a:gd name="f28" fmla="*/ 118 f24 1"/>
                        <a:gd name="f29" fmla="*/ 120 f23 1"/>
                        <a:gd name="f30" fmla="*/ 10 f24 1"/>
                        <a:gd name="f31" fmla="*/ 0 f24 1"/>
                        <a:gd name="f32" fmla="*/ 110 f23 1"/>
                        <a:gd name="f33" fmla="*/ 10 f23 1"/>
                        <a:gd name="f34" fmla="*/ 0 f23 1"/>
                        <a:gd name="f35" fmla="*/ 158 f24 1"/>
                        <a:gd name="f36" fmla="*/ 168 f24 1"/>
                        <a:gd name="f37" fmla="*/ 29 f23 1"/>
                        <a:gd name="f38" fmla="+- f25 0 f1"/>
                        <a:gd name="f39" fmla="*/ f28 1 168"/>
                        <a:gd name="f40" fmla="*/ f29 1 120"/>
                        <a:gd name="f41" fmla="*/ f30 1 168"/>
                        <a:gd name="f42" fmla="*/ f31 1 168"/>
                        <a:gd name="f43" fmla="*/ f32 1 120"/>
                        <a:gd name="f44" fmla="*/ f33 1 120"/>
                        <a:gd name="f45" fmla="*/ f34 1 120"/>
                        <a:gd name="f46" fmla="*/ f35 1 168"/>
                        <a:gd name="f47" fmla="*/ f36 1 168"/>
                        <a:gd name="f48" fmla="*/ f37 1 120"/>
                        <a:gd name="f49" fmla="*/ 0 1 f26"/>
                        <a:gd name="f50" fmla="*/ f20 1 f26"/>
                        <a:gd name="f51" fmla="*/ 0 1 f27"/>
                        <a:gd name="f52" fmla="*/ f21 1 f27"/>
                        <a:gd name="f53" fmla="*/ f39 1 f26"/>
                        <a:gd name="f54" fmla="*/ f40 1 f27"/>
                        <a:gd name="f55" fmla="*/ f41 1 f26"/>
                        <a:gd name="f56" fmla="*/ f42 1 f26"/>
                        <a:gd name="f57" fmla="*/ f43 1 f27"/>
                        <a:gd name="f58" fmla="*/ f44 1 f27"/>
                        <a:gd name="f59" fmla="*/ f45 1 f27"/>
                        <a:gd name="f60" fmla="*/ f46 1 f26"/>
                        <a:gd name="f61" fmla="*/ f47 1 f26"/>
                        <a:gd name="f62" fmla="*/ f48 1 f27"/>
                        <a:gd name="f63" fmla="*/ f49 f17 1"/>
                        <a:gd name="f64" fmla="*/ f50 f17 1"/>
                        <a:gd name="f65" fmla="*/ f52 f18 1"/>
                        <a:gd name="f66" fmla="*/ f51 f18 1"/>
                        <a:gd name="f67" fmla="*/ f53 f17 1"/>
                        <a:gd name="f68" fmla="*/ f54 f18 1"/>
                        <a:gd name="f69" fmla="*/ f55 f17 1"/>
                        <a:gd name="f70" fmla="*/ f56 f17 1"/>
                        <a:gd name="f71" fmla="*/ f57 f18 1"/>
                        <a:gd name="f72" fmla="*/ f58 f18 1"/>
                        <a:gd name="f73" fmla="*/ f59 f18 1"/>
                        <a:gd name="f74" fmla="*/ f60 f17 1"/>
                        <a:gd name="f75" fmla="*/ f61 f17 1"/>
                        <a:gd name="f76" fmla="*/ f62 f18 1"/>
                      </a:gdLst>
                      <a:ahLst/>
                      <a:cxnLst>
                        <a:cxn ang="3cd4">
                          <a:pos x="hc" y="t"/>
                        </a:cxn>
                        <a:cxn ang="0">
                          <a:pos x="r" y="vc"/>
                        </a:cxn>
                        <a:cxn ang="cd4">
                          <a:pos x="hc" y="b"/>
                        </a:cxn>
                        <a:cxn ang="cd2">
                          <a:pos x="l" y="vc"/>
                        </a:cxn>
                        <a:cxn ang="f38">
                          <a:pos x="f67" y="f68"/>
                        </a:cxn>
                        <a:cxn ang="f38">
                          <a:pos x="f69" y="f68"/>
                        </a:cxn>
                        <a:cxn ang="f38">
                          <a:pos x="f70" y="f71"/>
                        </a:cxn>
                        <a:cxn ang="f38">
                          <a:pos x="f70" y="f72"/>
                        </a:cxn>
                        <a:cxn ang="f38">
                          <a:pos x="f69" y="f73"/>
                        </a:cxn>
                        <a:cxn ang="f38">
                          <a:pos x="f74" y="f73"/>
                        </a:cxn>
                        <a:cxn ang="f38">
                          <a:pos x="f75" y="f72"/>
                        </a:cxn>
                        <a:cxn ang="f38">
                          <a:pos x="f75" y="f76"/>
                        </a:cxn>
                      </a:cxnLst>
                      <a:rect l="f63" t="f66" r="f64" b="f65"/>
                      <a:pathLst>
                        <a:path w="168" h="120">
                          <a:moveTo>
                            <a:pt x="f8" y="f7"/>
                          </a:moveTo>
                          <a:cubicBezTo>
                            <a:pt x="f9" y="f7"/>
                            <a:pt x="f9" y="f7"/>
                            <a:pt x="f9" y="f7"/>
                          </a:cubicBezTo>
                          <a:cubicBezTo>
                            <a:pt x="f10" y="f7"/>
                            <a:pt x="f5" y="f11"/>
                            <a:pt x="f5" y="f12"/>
                          </a:cubicBezTo>
                          <a:cubicBezTo>
                            <a:pt x="f5" y="f9"/>
                            <a:pt x="f5" y="f9"/>
                            <a:pt x="f5" y="f9"/>
                          </a:cubicBezTo>
                          <a:cubicBezTo>
                            <a:pt x="f5" y="f10"/>
                            <a:pt x="f10" y="f5"/>
                            <a:pt x="f9" y="f5"/>
                          </a:cubicBezTo>
                          <a:cubicBezTo>
                            <a:pt x="f13" y="f5"/>
                            <a:pt x="f13" y="f5"/>
                            <a:pt x="f13" y="f5"/>
                          </a:cubicBezTo>
                          <a:cubicBezTo>
                            <a:pt x="f14" y="f5"/>
                            <a:pt x="f6" y="f10"/>
                            <a:pt x="f6" y="f9"/>
                          </a:cubicBezTo>
                          <a:cubicBezTo>
                            <a:pt x="f6" y="f15"/>
                            <a:pt x="f6" y="f15"/>
                            <a:pt x="f6" y="f15"/>
                          </a:cubicBez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8" name="Freeform 7">
                      <a:extLst>
                        <a:ext uri="{FF2B5EF4-FFF2-40B4-BE49-F238E27FC236}">
                          <a16:creationId xmlns:a16="http://schemas.microsoft.com/office/drawing/2014/main" id="{7253F579-C638-40EA-811F-F7E0F5308D5E}"/>
                        </a:ext>
                      </a:extLst>
                    </p:cNvPr>
                    <p:cNvSpPr/>
                    <p:nvPr/>
                  </p:nvSpPr>
                  <p:spPr>
                    <a:xfrm>
                      <a:off x="3201561" y="5912208"/>
                      <a:ext cx="227575" cy="0"/>
                    </a:xfrm>
                    <a:custGeom>
                      <a:avLst/>
                      <a:gdLst>
                        <a:gd name="f0" fmla="val 10800000"/>
                        <a:gd name="f1" fmla="val 5400000"/>
                        <a:gd name="f2" fmla="val 180"/>
                        <a:gd name="f3" fmla="val w"/>
                        <a:gd name="f4" fmla="val h"/>
                        <a:gd name="f5" fmla="val 0"/>
                        <a:gd name="f6" fmla="val 227573"/>
                        <a:gd name="f7" fmla="val 126902"/>
                        <a:gd name="f8" fmla="+- 0 0 -90"/>
                        <a:gd name="f9" fmla="*/ f3 1 227573"/>
                        <a:gd name="f10" fmla="*/ f4 1 0"/>
                        <a:gd name="f11" fmla="val f5"/>
                        <a:gd name="f12" fmla="val f6"/>
                        <a:gd name="f13" fmla="*/ f8 f0 1"/>
                        <a:gd name="f14" fmla="+- f11 0 f11"/>
                        <a:gd name="f15" fmla="+- f12 0 f11"/>
                        <a:gd name="f16" fmla="*/ f13 1 f2"/>
                        <a:gd name="f17" fmla="*/ f15 1 227573"/>
                        <a:gd name="f18" fmla="*/ f14 1 0"/>
                        <a:gd name="f19" fmla="+- f16 0 f1"/>
                        <a:gd name="f20" fmla="*/ 0 1 f17"/>
                        <a:gd name="f21" fmla="*/ 0 1 f18"/>
                        <a:gd name="f22" fmla="*/ 126902 1 f17"/>
                        <a:gd name="f23" fmla="*/ 227573 1 f17"/>
                        <a:gd name="f24" fmla="*/ 1 1 f18"/>
                        <a:gd name="f25" fmla="*/ f20 f9 1"/>
                        <a:gd name="f26" fmla="*/ f23 f9 1"/>
                        <a:gd name="f27" fmla="*/ f24 f10 1"/>
                        <a:gd name="f28" fmla="*/ f21 f10 1"/>
                        <a:gd name="f29" fmla="*/ f22 f9 1"/>
                      </a:gdLst>
                      <a:ahLst/>
                      <a:cxnLst>
                        <a:cxn ang="3cd4">
                          <a:pos x="hc" y="t"/>
                        </a:cxn>
                        <a:cxn ang="0">
                          <a:pos x="r" y="vc"/>
                        </a:cxn>
                        <a:cxn ang="cd4">
                          <a:pos x="hc" y="b"/>
                        </a:cxn>
                        <a:cxn ang="cd2">
                          <a:pos x="l" y="vc"/>
                        </a:cxn>
                        <a:cxn ang="f19">
                          <a:pos x="f25" y="f28"/>
                        </a:cxn>
                        <a:cxn ang="f19">
                          <a:pos x="f29" y="f28"/>
                        </a:cxn>
                        <a:cxn ang="f19">
                          <a:pos x="f26" y="f28"/>
                        </a:cxn>
                      </a:cxnLst>
                      <a:rect l="f25" t="f28" r="f26" b="f27"/>
                      <a:pathLst>
                        <a:path w="227573">
                          <a:moveTo>
                            <a:pt x="f5" y="f5"/>
                          </a:moveTo>
                          <a:lnTo>
                            <a:pt x="f7" y="f5"/>
                          </a:lnTo>
                          <a:lnTo>
                            <a:pt x="f6" y="f5"/>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9" name="Freeform 8">
                      <a:extLst>
                        <a:ext uri="{FF2B5EF4-FFF2-40B4-BE49-F238E27FC236}">
                          <a16:creationId xmlns:a16="http://schemas.microsoft.com/office/drawing/2014/main" id="{23837261-DD55-4366-8D30-7322C865C689}"/>
                        </a:ext>
                      </a:extLst>
                    </p:cNvPr>
                    <p:cNvSpPr/>
                    <p:nvPr/>
                  </p:nvSpPr>
                  <p:spPr>
                    <a:xfrm>
                      <a:off x="3429137" y="5775752"/>
                      <a:ext cx="135696" cy="255410"/>
                    </a:xfrm>
                    <a:custGeom>
                      <a:avLst/>
                      <a:gdLst>
                        <a:gd name="f0" fmla="val 10800000"/>
                        <a:gd name="f1" fmla="val 5400000"/>
                        <a:gd name="f2" fmla="val 180"/>
                        <a:gd name="f3" fmla="val w"/>
                        <a:gd name="f4" fmla="val h"/>
                        <a:gd name="f5" fmla="val 0"/>
                        <a:gd name="f6" fmla="val 69"/>
                        <a:gd name="f7" fmla="val 131"/>
                        <a:gd name="f8" fmla="val 118"/>
                        <a:gd name="f9" fmla="val 126"/>
                        <a:gd name="f10" fmla="val 64"/>
                        <a:gd name="f11" fmla="val 56"/>
                        <a:gd name="f12" fmla="val 12"/>
                        <a:gd name="f13" fmla="val 4"/>
                        <a:gd name="f14" fmla="val 13"/>
                        <a:gd name="f15" fmla="+- 0 0 -90"/>
                        <a:gd name="f16" fmla="*/ f3 1 69"/>
                        <a:gd name="f17" fmla="*/ f4 1 131"/>
                        <a:gd name="f18" fmla="val f5"/>
                        <a:gd name="f19" fmla="val f6"/>
                        <a:gd name="f20" fmla="val f7"/>
                        <a:gd name="f21" fmla="*/ f15 f0 1"/>
                        <a:gd name="f22" fmla="+- f20 0 f18"/>
                        <a:gd name="f23" fmla="+- f19 0 f18"/>
                        <a:gd name="f24" fmla="*/ f21 1 f2"/>
                        <a:gd name="f25" fmla="*/ f23 1 69"/>
                        <a:gd name="f26" fmla="*/ f22 1 131"/>
                        <a:gd name="f27" fmla="*/ 69 f23 1"/>
                        <a:gd name="f28" fmla="*/ 118 f22 1"/>
                        <a:gd name="f29" fmla="*/ 56 f23 1"/>
                        <a:gd name="f30" fmla="*/ 131 f22 1"/>
                        <a:gd name="f31" fmla="*/ 12 f23 1"/>
                        <a:gd name="f32" fmla="*/ 0 f23 1"/>
                        <a:gd name="f33" fmla="*/ 13 f22 1"/>
                        <a:gd name="f34" fmla="*/ 0 f22 1"/>
                        <a:gd name="f35" fmla="+- f24 0 f1"/>
                        <a:gd name="f36" fmla="*/ f27 1 69"/>
                        <a:gd name="f37" fmla="*/ f28 1 131"/>
                        <a:gd name="f38" fmla="*/ f29 1 69"/>
                        <a:gd name="f39" fmla="*/ f30 1 131"/>
                        <a:gd name="f40" fmla="*/ f31 1 69"/>
                        <a:gd name="f41" fmla="*/ f32 1 69"/>
                        <a:gd name="f42" fmla="*/ f33 1 131"/>
                        <a:gd name="f43" fmla="*/ f34 1 131"/>
                        <a:gd name="f44" fmla="*/ 0 1 f25"/>
                        <a:gd name="f45" fmla="*/ f19 1 f25"/>
                        <a:gd name="f46" fmla="*/ 0 1 f26"/>
                        <a:gd name="f47" fmla="*/ f20 1 f26"/>
                        <a:gd name="f48" fmla="*/ f36 1 f25"/>
                        <a:gd name="f49" fmla="*/ f37 1 f26"/>
                        <a:gd name="f50" fmla="*/ f38 1 f25"/>
                        <a:gd name="f51" fmla="*/ f39 1 f26"/>
                        <a:gd name="f52" fmla="*/ f40 1 f25"/>
                        <a:gd name="f53" fmla="*/ f41 1 f25"/>
                        <a:gd name="f54" fmla="*/ f42 1 f26"/>
                        <a:gd name="f55" fmla="*/ f43 1 f26"/>
                        <a:gd name="f56" fmla="*/ f44 f16 1"/>
                        <a:gd name="f57" fmla="*/ f45 f16 1"/>
                        <a:gd name="f58" fmla="*/ f47 f17 1"/>
                        <a:gd name="f59" fmla="*/ f46 f17 1"/>
                        <a:gd name="f60" fmla="*/ f48 f16 1"/>
                        <a:gd name="f61" fmla="*/ f49 f17 1"/>
                        <a:gd name="f62" fmla="*/ f50 f16 1"/>
                        <a:gd name="f63" fmla="*/ f51 f17 1"/>
                        <a:gd name="f64" fmla="*/ f52 f16 1"/>
                        <a:gd name="f65" fmla="*/ f53 f16 1"/>
                        <a:gd name="f66" fmla="*/ f54 f17 1"/>
                        <a:gd name="f67" fmla="*/ f55 f17 1"/>
                      </a:gdLst>
                      <a:ahLst/>
                      <a:cxnLst>
                        <a:cxn ang="3cd4">
                          <a:pos x="hc" y="t"/>
                        </a:cxn>
                        <a:cxn ang="0">
                          <a:pos x="r" y="vc"/>
                        </a:cxn>
                        <a:cxn ang="cd4">
                          <a:pos x="hc" y="b"/>
                        </a:cxn>
                        <a:cxn ang="cd2">
                          <a:pos x="l" y="vc"/>
                        </a:cxn>
                        <a:cxn ang="f35">
                          <a:pos x="f60" y="f61"/>
                        </a:cxn>
                        <a:cxn ang="f35">
                          <a:pos x="f62" y="f63"/>
                        </a:cxn>
                        <a:cxn ang="f35">
                          <a:pos x="f64" y="f63"/>
                        </a:cxn>
                        <a:cxn ang="f35">
                          <a:pos x="f65" y="f61"/>
                        </a:cxn>
                        <a:cxn ang="f35">
                          <a:pos x="f65" y="f66"/>
                        </a:cxn>
                        <a:cxn ang="f35">
                          <a:pos x="f64" y="f67"/>
                        </a:cxn>
                        <a:cxn ang="f35">
                          <a:pos x="f62" y="f67"/>
                        </a:cxn>
                        <a:cxn ang="f35">
                          <a:pos x="f60" y="f66"/>
                        </a:cxn>
                        <a:cxn ang="f35">
                          <a:pos x="f60" y="f61"/>
                        </a:cxn>
                      </a:cxnLst>
                      <a:rect l="f56" t="f59" r="f57" b="f58"/>
                      <a:pathLst>
                        <a:path w="69" h="13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3"/>
                            <a:pt x="f13" y="f5"/>
                            <a:pt x="f12" y="f5"/>
                          </a:cubicBezTo>
                          <a:cubicBezTo>
                            <a:pt x="f11" y="f5"/>
                            <a:pt x="f11" y="f5"/>
                            <a:pt x="f11" y="f5"/>
                          </a:cubicBezTo>
                          <a:cubicBezTo>
                            <a:pt x="f10" y="f5"/>
                            <a:pt x="f6" y="f13"/>
                            <a:pt x="f6" y="f14"/>
                          </a:cubicBezTo>
                          <a:lnTo>
                            <a:pt x="f6" y="f8"/>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0" name="Line 9">
                      <a:extLst>
                        <a:ext uri="{FF2B5EF4-FFF2-40B4-BE49-F238E27FC236}">
                          <a16:creationId xmlns:a16="http://schemas.microsoft.com/office/drawing/2014/main" id="{851F5A84-0ED9-453E-A366-F31B3FED9511}"/>
                        </a:ext>
                      </a:extLst>
                    </p:cNvPr>
                    <p:cNvSpPr/>
                    <p:nvPr/>
                  </p:nvSpPr>
                  <p:spPr>
                    <a:xfrm flipH="1" flipV="1">
                      <a:off x="3429137" y="5994778"/>
                      <a:ext cx="135696"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1" name="Line 10">
                      <a:extLst>
                        <a:ext uri="{FF2B5EF4-FFF2-40B4-BE49-F238E27FC236}">
                          <a16:creationId xmlns:a16="http://schemas.microsoft.com/office/drawing/2014/main" id="{69ACAC45-1CED-49A7-8176-4D7E527EA8AF}"/>
                        </a:ext>
                      </a:extLst>
                    </p:cNvPr>
                    <p:cNvSpPr/>
                    <p:nvPr/>
                  </p:nvSpPr>
                  <p:spPr>
                    <a:xfrm>
                      <a:off x="3429137" y="5809347"/>
                      <a:ext cx="135696"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621" name="Group 169">
                    <a:extLst>
                      <a:ext uri="{FF2B5EF4-FFF2-40B4-BE49-F238E27FC236}">
                        <a16:creationId xmlns:a16="http://schemas.microsoft.com/office/drawing/2014/main" id="{8FA3BD92-A902-438A-849B-1F73DD89F3E6}"/>
                      </a:ext>
                    </a:extLst>
                  </p:cNvPr>
                  <p:cNvGrpSpPr/>
                  <p:nvPr/>
                </p:nvGrpSpPr>
                <p:grpSpPr>
                  <a:xfrm>
                    <a:off x="3622203" y="6072283"/>
                    <a:ext cx="272893" cy="361498"/>
                    <a:chOff x="3622203" y="6072283"/>
                    <a:chExt cx="272893" cy="361498"/>
                  </a:xfrm>
                </p:grpSpPr>
                <p:sp>
                  <p:nvSpPr>
                    <p:cNvPr id="634" name="Freeform 29">
                      <a:extLst>
                        <a:ext uri="{FF2B5EF4-FFF2-40B4-BE49-F238E27FC236}">
                          <a16:creationId xmlns:a16="http://schemas.microsoft.com/office/drawing/2014/main" id="{19144453-9005-4ED3-B3C3-02D71EBD883E}"/>
                        </a:ext>
                      </a:extLst>
                    </p:cNvPr>
                    <p:cNvSpPr/>
                    <p:nvPr/>
                  </p:nvSpPr>
                  <p:spPr>
                    <a:xfrm>
                      <a:off x="3622203" y="6072283"/>
                      <a:ext cx="272893" cy="361498"/>
                    </a:xfrm>
                    <a:custGeom>
                      <a:avLst/>
                      <a:gdLst>
                        <a:gd name="f0" fmla="val 10800000"/>
                        <a:gd name="f1" fmla="val 5400000"/>
                        <a:gd name="f2" fmla="val 180"/>
                        <a:gd name="f3" fmla="val w"/>
                        <a:gd name="f4" fmla="val h"/>
                        <a:gd name="f5" fmla="val 0"/>
                        <a:gd name="f6" fmla="val 172"/>
                        <a:gd name="f7" fmla="val 228"/>
                        <a:gd name="f8" fmla="val 13"/>
                        <a:gd name="f9" fmla="val 6"/>
                        <a:gd name="f10" fmla="val 5"/>
                        <a:gd name="f11" fmla="val 12"/>
                        <a:gd name="f12" fmla="val 216"/>
                        <a:gd name="f13" fmla="val 223"/>
                        <a:gd name="f14" fmla="val 159"/>
                        <a:gd name="f15" fmla="val 166"/>
                        <a:gd name="f16" fmla="val 59"/>
                        <a:gd name="f17" fmla="val 110"/>
                        <a:gd name="f18" fmla="+- 0 0 -90"/>
                        <a:gd name="f19" fmla="*/ f3 1 172"/>
                        <a:gd name="f20" fmla="*/ f4 1 228"/>
                        <a:gd name="f21" fmla="val f5"/>
                        <a:gd name="f22" fmla="val f6"/>
                        <a:gd name="f23" fmla="val f7"/>
                        <a:gd name="f24" fmla="*/ f18 f0 1"/>
                        <a:gd name="f25" fmla="+- f23 0 f21"/>
                        <a:gd name="f26" fmla="+- f22 0 f21"/>
                        <a:gd name="f27" fmla="*/ f24 1 f2"/>
                        <a:gd name="f28" fmla="*/ f26 1 172"/>
                        <a:gd name="f29" fmla="*/ f25 1 228"/>
                        <a:gd name="f30" fmla="*/ 13 f26 1"/>
                        <a:gd name="f31" fmla="*/ 0 f25 1"/>
                        <a:gd name="f32" fmla="*/ 0 f26 1"/>
                        <a:gd name="f33" fmla="*/ 12 f25 1"/>
                        <a:gd name="f34" fmla="*/ 216 f25 1"/>
                        <a:gd name="f35" fmla="*/ 228 f25 1"/>
                        <a:gd name="f36" fmla="*/ 159 f26 1"/>
                        <a:gd name="f37" fmla="*/ 172 f26 1"/>
                        <a:gd name="f38" fmla="*/ 59 f25 1"/>
                        <a:gd name="f39" fmla="*/ 110 f26 1"/>
                        <a:gd name="f40" fmla="+- f27 0 f1"/>
                        <a:gd name="f41" fmla="*/ f30 1 172"/>
                        <a:gd name="f42" fmla="*/ f31 1 228"/>
                        <a:gd name="f43" fmla="*/ f32 1 172"/>
                        <a:gd name="f44" fmla="*/ f33 1 228"/>
                        <a:gd name="f45" fmla="*/ f34 1 228"/>
                        <a:gd name="f46" fmla="*/ f35 1 228"/>
                        <a:gd name="f47" fmla="*/ f36 1 172"/>
                        <a:gd name="f48" fmla="*/ f37 1 172"/>
                        <a:gd name="f49" fmla="*/ f38 1 228"/>
                        <a:gd name="f50" fmla="*/ f39 1 172"/>
                        <a:gd name="f51" fmla="*/ 0 1 f28"/>
                        <a:gd name="f52" fmla="*/ f22 1 f28"/>
                        <a:gd name="f53" fmla="*/ 0 1 f29"/>
                        <a:gd name="f54" fmla="*/ f23 1 f29"/>
                        <a:gd name="f55" fmla="*/ f41 1 f28"/>
                        <a:gd name="f56" fmla="*/ f42 1 f29"/>
                        <a:gd name="f57" fmla="*/ f43 1 f28"/>
                        <a:gd name="f58" fmla="*/ f44 1 f29"/>
                        <a:gd name="f59" fmla="*/ f45 1 f29"/>
                        <a:gd name="f60" fmla="*/ f46 1 f29"/>
                        <a:gd name="f61" fmla="*/ f47 1 f28"/>
                        <a:gd name="f62" fmla="*/ f48 1 f28"/>
                        <a:gd name="f63" fmla="*/ f49 1 f29"/>
                        <a:gd name="f64" fmla="*/ f50 1 f28"/>
                        <a:gd name="f65" fmla="*/ f51 f19 1"/>
                        <a:gd name="f66" fmla="*/ f52 f19 1"/>
                        <a:gd name="f67" fmla="*/ f54 f20 1"/>
                        <a:gd name="f68" fmla="*/ f53 f20 1"/>
                        <a:gd name="f69" fmla="*/ f55 f19 1"/>
                        <a:gd name="f70" fmla="*/ f56 f20 1"/>
                        <a:gd name="f71" fmla="*/ f57 f19 1"/>
                        <a:gd name="f72" fmla="*/ f58 f20 1"/>
                        <a:gd name="f73" fmla="*/ f59 f20 1"/>
                        <a:gd name="f74" fmla="*/ f60 f20 1"/>
                        <a:gd name="f75" fmla="*/ f61 f19 1"/>
                        <a:gd name="f76" fmla="*/ f62 f19 1"/>
                        <a:gd name="f77" fmla="*/ f63 f20 1"/>
                        <a:gd name="f78" fmla="*/ f64 f19 1"/>
                      </a:gdLst>
                      <a:ahLst/>
                      <a:cxnLst>
                        <a:cxn ang="3cd4">
                          <a:pos x="hc" y="t"/>
                        </a:cxn>
                        <a:cxn ang="0">
                          <a:pos x="r" y="vc"/>
                        </a:cxn>
                        <a:cxn ang="cd4">
                          <a:pos x="hc" y="b"/>
                        </a:cxn>
                        <a:cxn ang="cd2">
                          <a:pos x="l" y="vc"/>
                        </a:cxn>
                        <a:cxn ang="f40">
                          <a:pos x="f69" y="f70"/>
                        </a:cxn>
                        <a:cxn ang="f40">
                          <a:pos x="f71" y="f72"/>
                        </a:cxn>
                        <a:cxn ang="f40">
                          <a:pos x="f71" y="f73"/>
                        </a:cxn>
                        <a:cxn ang="f40">
                          <a:pos x="f69" y="f74"/>
                        </a:cxn>
                        <a:cxn ang="f40">
                          <a:pos x="f75" y="f74"/>
                        </a:cxn>
                        <a:cxn ang="f40">
                          <a:pos x="f76" y="f73"/>
                        </a:cxn>
                        <a:cxn ang="f40">
                          <a:pos x="f76" y="f77"/>
                        </a:cxn>
                        <a:cxn ang="f40">
                          <a:pos x="f78" y="f70"/>
                        </a:cxn>
                        <a:cxn ang="f40">
                          <a:pos x="f69" y="f70"/>
                        </a:cxn>
                      </a:cxnLst>
                      <a:rect l="f65" t="f68" r="f66" b="f67"/>
                      <a:pathLst>
                        <a:path w="172" h="228">
                          <a:moveTo>
                            <a:pt x="f8" y="f5"/>
                          </a:moveTo>
                          <a:cubicBezTo>
                            <a:pt x="f9" y="f5"/>
                            <a:pt x="f5" y="f10"/>
                            <a:pt x="f5" y="f11"/>
                          </a:cubicBezTo>
                          <a:cubicBezTo>
                            <a:pt x="f5" y="f12"/>
                            <a:pt x="f5" y="f12"/>
                            <a:pt x="f5" y="f12"/>
                          </a:cubicBezTo>
                          <a:cubicBezTo>
                            <a:pt x="f5" y="f13"/>
                            <a:pt x="f9" y="f7"/>
                            <a:pt x="f8" y="f7"/>
                          </a:cubicBezTo>
                          <a:cubicBezTo>
                            <a:pt x="f14" y="f7"/>
                            <a:pt x="f14" y="f7"/>
                            <a:pt x="f14" y="f7"/>
                          </a:cubicBezTo>
                          <a:cubicBezTo>
                            <a:pt x="f15" y="f7"/>
                            <a:pt x="f6" y="f13"/>
                            <a:pt x="f6" y="f12"/>
                          </a:cubicBezTo>
                          <a:cubicBezTo>
                            <a:pt x="f6" y="f16"/>
                            <a:pt x="f6" y="f16"/>
                            <a:pt x="f6" y="f16"/>
                          </a:cubicBezTo>
                          <a:cubicBezTo>
                            <a:pt x="f17" y="f5"/>
                            <a:pt x="f17" y="f5"/>
                            <a:pt x="f17" y="f5"/>
                          </a:cubicBezTo>
                          <a:lnTo>
                            <a:pt x="f8" y="f5"/>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5" name="Freeform 30">
                      <a:extLst>
                        <a:ext uri="{FF2B5EF4-FFF2-40B4-BE49-F238E27FC236}">
                          <a16:creationId xmlns:a16="http://schemas.microsoft.com/office/drawing/2014/main" id="{F7FD13A2-E24C-40BB-820B-1369CCA705DE}"/>
                        </a:ext>
                      </a:extLst>
                    </p:cNvPr>
                    <p:cNvSpPr/>
                    <p:nvPr/>
                  </p:nvSpPr>
                  <p:spPr>
                    <a:xfrm>
                      <a:off x="3797064" y="6072292"/>
                      <a:ext cx="93387" cy="92372"/>
                    </a:xfrm>
                    <a:custGeom>
                      <a:avLst/>
                      <a:gdLst>
                        <a:gd name="f0" fmla="val 10800000"/>
                        <a:gd name="f1" fmla="val 5400000"/>
                        <a:gd name="f2" fmla="val 180"/>
                        <a:gd name="f3" fmla="val w"/>
                        <a:gd name="f4" fmla="val h"/>
                        <a:gd name="f5" fmla="val 0"/>
                        <a:gd name="f6" fmla="val 59"/>
                        <a:gd name="f7" fmla="val 58"/>
                        <a:gd name="f8" fmla="val 13"/>
                        <a:gd name="f9" fmla="val 6"/>
                        <a:gd name="f10" fmla="val 52"/>
                        <a:gd name="f11" fmla="val 45"/>
                        <a:gd name="f12" fmla="+- 0 0 -90"/>
                        <a:gd name="f13" fmla="*/ f3 1 59"/>
                        <a:gd name="f14" fmla="*/ f4 1 58"/>
                        <a:gd name="f15" fmla="val f5"/>
                        <a:gd name="f16" fmla="val f6"/>
                        <a:gd name="f17" fmla="val f7"/>
                        <a:gd name="f18" fmla="*/ f12 f0 1"/>
                        <a:gd name="f19" fmla="+- f17 0 f15"/>
                        <a:gd name="f20" fmla="+- f16 0 f15"/>
                        <a:gd name="f21" fmla="*/ f18 1 f2"/>
                        <a:gd name="f22" fmla="*/ f20 1 59"/>
                        <a:gd name="f23" fmla="*/ f19 1 58"/>
                        <a:gd name="f24" fmla="*/ 59 f20 1"/>
                        <a:gd name="f25" fmla="*/ 58 f19 1"/>
                        <a:gd name="f26" fmla="*/ 13 f20 1"/>
                        <a:gd name="f27" fmla="*/ 0 f20 1"/>
                        <a:gd name="f28" fmla="*/ 45 f19 1"/>
                        <a:gd name="f29" fmla="*/ 0 f19 1"/>
                        <a:gd name="f30" fmla="+- f21 0 f1"/>
                        <a:gd name="f31" fmla="*/ f24 1 59"/>
                        <a:gd name="f32" fmla="*/ f25 1 58"/>
                        <a:gd name="f33" fmla="*/ f26 1 59"/>
                        <a:gd name="f34" fmla="*/ f27 1 59"/>
                        <a:gd name="f35" fmla="*/ f28 1 58"/>
                        <a:gd name="f36" fmla="*/ f29 1 58"/>
                        <a:gd name="f37" fmla="*/ 0 1 f22"/>
                        <a:gd name="f38" fmla="*/ f16 1 f22"/>
                        <a:gd name="f39" fmla="*/ 0 1 f23"/>
                        <a:gd name="f40" fmla="*/ f17 1 f23"/>
                        <a:gd name="f41" fmla="*/ f31 1 f22"/>
                        <a:gd name="f42" fmla="*/ f32 1 f23"/>
                        <a:gd name="f43" fmla="*/ f33 1 f22"/>
                        <a:gd name="f44" fmla="*/ f34 1 f22"/>
                        <a:gd name="f45" fmla="*/ f35 1 f23"/>
                        <a:gd name="f46" fmla="*/ f36 1 f23"/>
                        <a:gd name="f47" fmla="*/ f37 f13 1"/>
                        <a:gd name="f48" fmla="*/ f38 f13 1"/>
                        <a:gd name="f49" fmla="*/ f40 f14 1"/>
                        <a:gd name="f50" fmla="*/ f39 f14 1"/>
                        <a:gd name="f51" fmla="*/ f41 f13 1"/>
                        <a:gd name="f52" fmla="*/ f42 f14 1"/>
                        <a:gd name="f53" fmla="*/ f43 f13 1"/>
                        <a:gd name="f54" fmla="*/ f44 f13 1"/>
                        <a:gd name="f55" fmla="*/ f45 f14 1"/>
                        <a:gd name="f56" fmla="*/ f46 f14 1"/>
                      </a:gdLst>
                      <a:ahLst/>
                      <a:cxnLst>
                        <a:cxn ang="3cd4">
                          <a:pos x="hc" y="t"/>
                        </a:cxn>
                        <a:cxn ang="0">
                          <a:pos x="r" y="vc"/>
                        </a:cxn>
                        <a:cxn ang="cd4">
                          <a:pos x="hc" y="b"/>
                        </a:cxn>
                        <a:cxn ang="cd2">
                          <a:pos x="l" y="vc"/>
                        </a:cxn>
                        <a:cxn ang="f30">
                          <a:pos x="f51" y="f52"/>
                        </a:cxn>
                        <a:cxn ang="f30">
                          <a:pos x="f53" y="f52"/>
                        </a:cxn>
                        <a:cxn ang="f30">
                          <a:pos x="f54" y="f55"/>
                        </a:cxn>
                        <a:cxn ang="f30">
                          <a:pos x="f54" y="f56"/>
                        </a:cxn>
                      </a:cxnLst>
                      <a:rect l="f47" t="f50" r="f48" b="f49"/>
                      <a:pathLst>
                        <a:path w="59" h="58">
                          <a:moveTo>
                            <a:pt x="f6" y="f7"/>
                          </a:moveTo>
                          <a:cubicBezTo>
                            <a:pt x="f8" y="f7"/>
                            <a:pt x="f8" y="f7"/>
                            <a:pt x="f8" y="f7"/>
                          </a:cubicBezTo>
                          <a:cubicBezTo>
                            <a:pt x="f9" y="f7"/>
                            <a:pt x="f5" y="f10"/>
                            <a:pt x="f5" y="f11"/>
                          </a:cubicBezTo>
                          <a:cubicBezTo>
                            <a:pt x="f5" y="f5"/>
                            <a:pt x="f5" y="f5"/>
                            <a:pt x="f5" y="f5"/>
                          </a:cubicBez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6" name="Rectangle 31">
                      <a:extLst>
                        <a:ext uri="{FF2B5EF4-FFF2-40B4-BE49-F238E27FC236}">
                          <a16:creationId xmlns:a16="http://schemas.microsoft.com/office/drawing/2014/main" id="{5A3C7DD8-F8FB-49A1-8243-7E0FFBCD3CAC}"/>
                        </a:ext>
                      </a:extLst>
                    </p:cNvPr>
                    <p:cNvSpPr/>
                    <p:nvPr/>
                  </p:nvSpPr>
                  <p:spPr>
                    <a:xfrm>
                      <a:off x="3660617" y="6164656"/>
                      <a:ext cx="42391" cy="105658"/>
                    </a:xfrm>
                    <a:prstGeom prst="rect">
                      <a:avLst/>
                    </a:pr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7" name="Rectangle 32">
                      <a:extLst>
                        <a:ext uri="{FF2B5EF4-FFF2-40B4-BE49-F238E27FC236}">
                          <a16:creationId xmlns:a16="http://schemas.microsoft.com/office/drawing/2014/main" id="{69361AC1-EE7C-4C2A-9FD1-040A57F98E23}"/>
                        </a:ext>
                      </a:extLst>
                    </p:cNvPr>
                    <p:cNvSpPr/>
                    <p:nvPr/>
                  </p:nvSpPr>
                  <p:spPr>
                    <a:xfrm>
                      <a:off x="3725530" y="6195892"/>
                      <a:ext cx="31793" cy="74432"/>
                    </a:xfrm>
                    <a:prstGeom prst="rect">
                      <a:avLst/>
                    </a:pr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8" name="Rectangle 33">
                      <a:extLst>
                        <a:ext uri="{FF2B5EF4-FFF2-40B4-BE49-F238E27FC236}">
                          <a16:creationId xmlns:a16="http://schemas.microsoft.com/office/drawing/2014/main" id="{8287D028-92F9-4A74-9211-EC91F6835005}"/>
                        </a:ext>
                      </a:extLst>
                    </p:cNvPr>
                    <p:cNvSpPr/>
                    <p:nvPr/>
                  </p:nvSpPr>
                  <p:spPr>
                    <a:xfrm>
                      <a:off x="3779178" y="6218486"/>
                      <a:ext cx="27157" cy="51837"/>
                    </a:xfrm>
                    <a:prstGeom prst="rect">
                      <a:avLst/>
                    </a:pr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9" name="Freeform 34">
                      <a:extLst>
                        <a:ext uri="{FF2B5EF4-FFF2-40B4-BE49-F238E27FC236}">
                          <a16:creationId xmlns:a16="http://schemas.microsoft.com/office/drawing/2014/main" id="{D7652155-92DA-4ABE-99A3-C40E509DF392}"/>
                        </a:ext>
                      </a:extLst>
                    </p:cNvPr>
                    <p:cNvSpPr/>
                    <p:nvPr/>
                  </p:nvSpPr>
                  <p:spPr>
                    <a:xfrm>
                      <a:off x="3828190" y="6249713"/>
                      <a:ext cx="25831" cy="20601"/>
                    </a:xfrm>
                    <a:custGeom>
                      <a:avLst/>
                      <a:gdLst>
                        <a:gd name="f0" fmla="val 10800000"/>
                        <a:gd name="f1" fmla="val 5400000"/>
                        <a:gd name="f2" fmla="val 180"/>
                        <a:gd name="f3" fmla="val w"/>
                        <a:gd name="f4" fmla="val h"/>
                        <a:gd name="f5" fmla="val 0"/>
                        <a:gd name="f6" fmla="val 39"/>
                        <a:gd name="f7" fmla="val 31"/>
                        <a:gd name="f8" fmla="val 36"/>
                        <a:gd name="f9" fmla="+- 0 0 -90"/>
                        <a:gd name="f10" fmla="*/ f3 1 39"/>
                        <a:gd name="f11" fmla="*/ f4 1 31"/>
                        <a:gd name="f12" fmla="val f5"/>
                        <a:gd name="f13" fmla="val f6"/>
                        <a:gd name="f14" fmla="val f7"/>
                        <a:gd name="f15" fmla="*/ f9 f0 1"/>
                        <a:gd name="f16" fmla="+- f14 0 f12"/>
                        <a:gd name="f17" fmla="+- f13 0 f12"/>
                        <a:gd name="f18" fmla="*/ f15 1 f2"/>
                        <a:gd name="f19" fmla="*/ f17 1 39"/>
                        <a:gd name="f20" fmla="*/ f16 1 31"/>
                        <a:gd name="f21" fmla="*/ 36 f17 1"/>
                        <a:gd name="f22" fmla="*/ 0 f16 1"/>
                        <a:gd name="f23" fmla="*/ 39 f17 1"/>
                        <a:gd name="f24" fmla="*/ 31 f16 1"/>
                        <a:gd name="f25" fmla="*/ 0 f17 1"/>
                        <a:gd name="f26" fmla="+- f18 0 f1"/>
                        <a:gd name="f27" fmla="*/ f21 1 39"/>
                        <a:gd name="f28" fmla="*/ f22 1 31"/>
                        <a:gd name="f29" fmla="*/ f23 1 39"/>
                        <a:gd name="f30" fmla="*/ f24 1 31"/>
                        <a:gd name="f31" fmla="*/ f25 1 39"/>
                        <a:gd name="f32" fmla="*/ 0 1 f19"/>
                        <a:gd name="f33" fmla="*/ f13 1 f19"/>
                        <a:gd name="f34" fmla="*/ 0 1 f20"/>
                        <a:gd name="f35" fmla="*/ f14 1 f20"/>
                        <a:gd name="f36" fmla="*/ f27 1 f19"/>
                        <a:gd name="f37" fmla="*/ f28 1 f20"/>
                        <a:gd name="f38" fmla="*/ f29 1 f19"/>
                        <a:gd name="f39" fmla="*/ f30 1 f20"/>
                        <a:gd name="f40" fmla="*/ f31 1 f19"/>
                        <a:gd name="f41" fmla="*/ f32 f10 1"/>
                        <a:gd name="f42" fmla="*/ f33 f10 1"/>
                        <a:gd name="f43" fmla="*/ f35 f11 1"/>
                        <a:gd name="f44" fmla="*/ f34 f11 1"/>
                        <a:gd name="f45" fmla="*/ f36 f10 1"/>
                        <a:gd name="f46" fmla="*/ f37 f11 1"/>
                        <a:gd name="f47" fmla="*/ f38 f10 1"/>
                        <a:gd name="f48" fmla="*/ f39 f11 1"/>
                        <a:gd name="f49" fmla="*/ f40 f10 1"/>
                      </a:gdLst>
                      <a:ahLst/>
                      <a:cxnLst>
                        <a:cxn ang="3cd4">
                          <a:pos x="hc" y="t"/>
                        </a:cxn>
                        <a:cxn ang="0">
                          <a:pos x="r" y="vc"/>
                        </a:cxn>
                        <a:cxn ang="cd4">
                          <a:pos x="hc" y="b"/>
                        </a:cxn>
                        <a:cxn ang="cd2">
                          <a:pos x="l" y="vc"/>
                        </a:cxn>
                        <a:cxn ang="f26">
                          <a:pos x="f45" y="f46"/>
                        </a:cxn>
                        <a:cxn ang="f26">
                          <a:pos x="f47" y="f46"/>
                        </a:cxn>
                        <a:cxn ang="f26">
                          <a:pos x="f47" y="f48"/>
                        </a:cxn>
                        <a:cxn ang="f26">
                          <a:pos x="f49" y="f48"/>
                        </a:cxn>
                        <a:cxn ang="f26">
                          <a:pos x="f49" y="f46"/>
                        </a:cxn>
                        <a:cxn ang="f26">
                          <a:pos x="f45" y="f46"/>
                        </a:cxn>
                      </a:cxnLst>
                      <a:rect l="f41" t="f44" r="f42" b="f43"/>
                      <a:pathLst>
                        <a:path w="39" h="31">
                          <a:moveTo>
                            <a:pt x="f8" y="f5"/>
                          </a:moveTo>
                          <a:lnTo>
                            <a:pt x="f6" y="f5"/>
                          </a:lnTo>
                          <a:lnTo>
                            <a:pt x="f6" y="f7"/>
                          </a:lnTo>
                          <a:lnTo>
                            <a:pt x="f5" y="f7"/>
                          </a:lnTo>
                          <a:lnTo>
                            <a:pt x="f5" y="f5"/>
                          </a:lnTo>
                          <a:lnTo>
                            <a:pt x="f8" y="f5"/>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0" name="Line 35">
                      <a:extLst>
                        <a:ext uri="{FF2B5EF4-FFF2-40B4-BE49-F238E27FC236}">
                          <a16:creationId xmlns:a16="http://schemas.microsoft.com/office/drawing/2014/main" id="{6638C979-BC42-4B67-8A43-ADB6D8F813A3}"/>
                        </a:ext>
                      </a:extLst>
                    </p:cNvPr>
                    <p:cNvSpPr/>
                    <p:nvPr/>
                  </p:nvSpPr>
                  <p:spPr>
                    <a:xfrm flipH="1">
                      <a:off x="3660617" y="6308857"/>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1" name="Line 36">
                      <a:extLst>
                        <a:ext uri="{FF2B5EF4-FFF2-40B4-BE49-F238E27FC236}">
                          <a16:creationId xmlns:a16="http://schemas.microsoft.com/office/drawing/2014/main" id="{02453E72-E8ED-4AB2-963E-ECA1A3E3C119}"/>
                        </a:ext>
                      </a:extLst>
                    </p:cNvPr>
                    <p:cNvSpPr/>
                    <p:nvPr/>
                  </p:nvSpPr>
                  <p:spPr>
                    <a:xfrm flipH="1">
                      <a:off x="3660617" y="6348066"/>
                      <a:ext cx="54973"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2" name="Line 37">
                      <a:extLst>
                        <a:ext uri="{FF2B5EF4-FFF2-40B4-BE49-F238E27FC236}">
                          <a16:creationId xmlns:a16="http://schemas.microsoft.com/office/drawing/2014/main" id="{51840FF3-7A12-4058-8A40-080E4CE33564}"/>
                        </a:ext>
                      </a:extLst>
                    </p:cNvPr>
                    <p:cNvSpPr/>
                    <p:nvPr/>
                  </p:nvSpPr>
                  <p:spPr>
                    <a:xfrm flipH="1">
                      <a:off x="3660617" y="6384615"/>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3" name="Line 38">
                      <a:extLst>
                        <a:ext uri="{FF2B5EF4-FFF2-40B4-BE49-F238E27FC236}">
                          <a16:creationId xmlns:a16="http://schemas.microsoft.com/office/drawing/2014/main" id="{2110C9C7-8496-4CED-9FF8-F3D35D5A8341}"/>
                        </a:ext>
                      </a:extLst>
                    </p:cNvPr>
                    <p:cNvSpPr/>
                    <p:nvPr/>
                  </p:nvSpPr>
                  <p:spPr>
                    <a:xfrm flipH="1">
                      <a:off x="3782488" y="6308857"/>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4" name="Line 39">
                      <a:extLst>
                        <a:ext uri="{FF2B5EF4-FFF2-40B4-BE49-F238E27FC236}">
                          <a16:creationId xmlns:a16="http://schemas.microsoft.com/office/drawing/2014/main" id="{1D908E70-8F9F-44CD-8E66-BB3532445A38}"/>
                        </a:ext>
                      </a:extLst>
                    </p:cNvPr>
                    <p:cNvSpPr/>
                    <p:nvPr/>
                  </p:nvSpPr>
                  <p:spPr>
                    <a:xfrm flipH="1">
                      <a:off x="3782488" y="6348066"/>
                      <a:ext cx="55641"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5" name="Line 40">
                      <a:extLst>
                        <a:ext uri="{FF2B5EF4-FFF2-40B4-BE49-F238E27FC236}">
                          <a16:creationId xmlns:a16="http://schemas.microsoft.com/office/drawing/2014/main" id="{DB6B0FF5-A1E1-4ED3-8610-C07757F8DC36}"/>
                        </a:ext>
                      </a:extLst>
                    </p:cNvPr>
                    <p:cNvSpPr/>
                    <p:nvPr/>
                  </p:nvSpPr>
                  <p:spPr>
                    <a:xfrm flipH="1">
                      <a:off x="3782488" y="6384615"/>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622" name="Group 182">
                    <a:extLst>
                      <a:ext uri="{FF2B5EF4-FFF2-40B4-BE49-F238E27FC236}">
                        <a16:creationId xmlns:a16="http://schemas.microsoft.com/office/drawing/2014/main" id="{9A22E67E-3BF4-4129-96C6-D018350F14F3}"/>
                      </a:ext>
                    </a:extLst>
                  </p:cNvPr>
                  <p:cNvGrpSpPr/>
                  <p:nvPr/>
                </p:nvGrpSpPr>
                <p:grpSpPr>
                  <a:xfrm>
                    <a:off x="3602013" y="5374450"/>
                    <a:ext cx="303955" cy="249438"/>
                    <a:chOff x="3602013" y="5374450"/>
                    <a:chExt cx="303955" cy="249438"/>
                  </a:xfrm>
                </p:grpSpPr>
                <p:sp>
                  <p:nvSpPr>
                    <p:cNvPr id="628" name="Oval 5">
                      <a:extLst>
                        <a:ext uri="{FF2B5EF4-FFF2-40B4-BE49-F238E27FC236}">
                          <a16:creationId xmlns:a16="http://schemas.microsoft.com/office/drawing/2014/main" id="{AC9644DA-B87D-4162-BF19-D99CB5D54947}"/>
                        </a:ext>
                      </a:extLst>
                    </p:cNvPr>
                    <p:cNvSpPr/>
                    <p:nvPr/>
                  </p:nvSpPr>
                  <p:spPr>
                    <a:xfrm>
                      <a:off x="3612410" y="5374450"/>
                      <a:ext cx="80531" cy="79772"/>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9" name="Oval 6">
                      <a:extLst>
                        <a:ext uri="{FF2B5EF4-FFF2-40B4-BE49-F238E27FC236}">
                          <a16:creationId xmlns:a16="http://schemas.microsoft.com/office/drawing/2014/main" id="{469EA6DC-802B-405E-A72A-B45DBC6AEFA1}"/>
                        </a:ext>
                      </a:extLst>
                    </p:cNvPr>
                    <p:cNvSpPr/>
                    <p:nvPr/>
                  </p:nvSpPr>
                  <p:spPr>
                    <a:xfrm>
                      <a:off x="3815041" y="5374450"/>
                      <a:ext cx="80531" cy="79772"/>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0" name="Freeform 7">
                      <a:extLst>
                        <a:ext uri="{FF2B5EF4-FFF2-40B4-BE49-F238E27FC236}">
                          <a16:creationId xmlns:a16="http://schemas.microsoft.com/office/drawing/2014/main" id="{65A31C8A-7C82-4197-B52E-4DCF437A18B9}"/>
                        </a:ext>
                      </a:extLst>
                    </p:cNvPr>
                    <p:cNvSpPr/>
                    <p:nvPr/>
                  </p:nvSpPr>
                  <p:spPr>
                    <a:xfrm>
                      <a:off x="3602013" y="5454213"/>
                      <a:ext cx="101315" cy="49377"/>
                    </a:xfrm>
                    <a:custGeom>
                      <a:avLst/>
                      <a:gdLst>
                        <a:gd name="f0" fmla="val 10800000"/>
                        <a:gd name="f1" fmla="val 5400000"/>
                        <a:gd name="f2" fmla="val 180"/>
                        <a:gd name="f3" fmla="val w"/>
                        <a:gd name="f4" fmla="val h"/>
                        <a:gd name="f5" fmla="val 0"/>
                        <a:gd name="f6" fmla="val 40"/>
                        <a:gd name="f7" fmla="val 20"/>
                        <a:gd name="f8" fmla="val 9"/>
                        <a:gd name="f9" fmla="val 31"/>
                        <a:gd name="f10" fmla="+- 0 0 -90"/>
                        <a:gd name="f11" fmla="*/ f3 1 40"/>
                        <a:gd name="f12" fmla="*/ f4 1 20"/>
                        <a:gd name="f13" fmla="val f5"/>
                        <a:gd name="f14" fmla="val f6"/>
                        <a:gd name="f15" fmla="val f7"/>
                        <a:gd name="f16" fmla="*/ f10 f0 1"/>
                        <a:gd name="f17" fmla="+- f15 0 f13"/>
                        <a:gd name="f18" fmla="+- f14 0 f13"/>
                        <a:gd name="f19" fmla="*/ f16 1 f2"/>
                        <a:gd name="f20" fmla="*/ f18 1 40"/>
                        <a:gd name="f21" fmla="*/ f17 1 20"/>
                        <a:gd name="f22" fmla="*/ 40 f18 1"/>
                        <a:gd name="f23" fmla="*/ 20 f17 1"/>
                        <a:gd name="f24" fmla="*/ 20 f18 1"/>
                        <a:gd name="f25" fmla="*/ 0 f17 1"/>
                        <a:gd name="f26" fmla="*/ 0 f18 1"/>
                        <a:gd name="f27" fmla="+- f19 0 f1"/>
                        <a:gd name="f28" fmla="*/ f22 1 40"/>
                        <a:gd name="f29" fmla="*/ f23 1 20"/>
                        <a:gd name="f30" fmla="*/ f24 1 40"/>
                        <a:gd name="f31" fmla="*/ f25 1 20"/>
                        <a:gd name="f32" fmla="*/ f26 1 40"/>
                        <a:gd name="f33" fmla="*/ 0 1 f20"/>
                        <a:gd name="f34" fmla="*/ f14 1 f20"/>
                        <a:gd name="f35" fmla="*/ 0 1 f21"/>
                        <a:gd name="f36" fmla="*/ f15 1 f21"/>
                        <a:gd name="f37" fmla="*/ f28 1 f20"/>
                        <a:gd name="f38" fmla="*/ f29 1 f21"/>
                        <a:gd name="f39" fmla="*/ f30 1 f20"/>
                        <a:gd name="f40" fmla="*/ f31 1 f21"/>
                        <a:gd name="f41" fmla="*/ f32 1 f20"/>
                        <a:gd name="f42" fmla="*/ f33 f11 1"/>
                        <a:gd name="f43" fmla="*/ f34 f11 1"/>
                        <a:gd name="f44" fmla="*/ f36 f12 1"/>
                        <a:gd name="f45" fmla="*/ f35 f12 1"/>
                        <a:gd name="f46" fmla="*/ f37 f11 1"/>
                        <a:gd name="f47" fmla="*/ f38 f12 1"/>
                        <a:gd name="f48" fmla="*/ f39 f11 1"/>
                        <a:gd name="f49" fmla="*/ f40 f12 1"/>
                        <a:gd name="f50" fmla="*/ f41 f11 1"/>
                      </a:gdLst>
                      <a:ahLst/>
                      <a:cxnLst>
                        <a:cxn ang="3cd4">
                          <a:pos x="hc" y="t"/>
                        </a:cxn>
                        <a:cxn ang="0">
                          <a:pos x="r" y="vc"/>
                        </a:cxn>
                        <a:cxn ang="cd4">
                          <a:pos x="hc" y="b"/>
                        </a:cxn>
                        <a:cxn ang="cd2">
                          <a:pos x="l" y="vc"/>
                        </a:cxn>
                        <a:cxn ang="f27">
                          <a:pos x="f46" y="f47"/>
                        </a:cxn>
                        <a:cxn ang="f27">
                          <a:pos x="f48" y="f49"/>
                        </a:cxn>
                        <a:cxn ang="f27">
                          <a:pos x="f50" y="f47"/>
                        </a:cxn>
                      </a:cxnLst>
                      <a:rect l="f42" t="f45" r="f43" b="f44"/>
                      <a:pathLst>
                        <a:path w="40" h="20">
                          <a:moveTo>
                            <a:pt x="f6" y="f7"/>
                          </a:moveTo>
                          <a:cubicBezTo>
                            <a:pt x="f6" y="f8"/>
                            <a:pt x="f9" y="f5"/>
                            <a:pt x="f7" y="f5"/>
                          </a:cubicBezTo>
                          <a:cubicBezTo>
                            <a:pt x="f8" y="f5"/>
                            <a:pt x="f5" y="f8"/>
                            <a:pt x="f5" y="f7"/>
                          </a:cubicBezTo>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1" name="Oval 8">
                      <a:extLst>
                        <a:ext uri="{FF2B5EF4-FFF2-40B4-BE49-F238E27FC236}">
                          <a16:creationId xmlns:a16="http://schemas.microsoft.com/office/drawing/2014/main" id="{E63BB3F9-1BC9-449D-8934-F7CDBF067ACE}"/>
                        </a:ext>
                      </a:extLst>
                    </p:cNvPr>
                    <p:cNvSpPr/>
                    <p:nvPr/>
                  </p:nvSpPr>
                  <p:spPr>
                    <a:xfrm>
                      <a:off x="3703329" y="5454213"/>
                      <a:ext cx="101315" cy="10002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2" name="Freeform 9">
                      <a:extLst>
                        <a:ext uri="{FF2B5EF4-FFF2-40B4-BE49-F238E27FC236}">
                          <a16:creationId xmlns:a16="http://schemas.microsoft.com/office/drawing/2014/main" id="{9D0D81F1-3DF9-43C3-BD1A-E5DEA72618BB}"/>
                        </a:ext>
                      </a:extLst>
                    </p:cNvPr>
                    <p:cNvSpPr/>
                    <p:nvPr/>
                  </p:nvSpPr>
                  <p:spPr>
                    <a:xfrm>
                      <a:off x="3682544" y="5554248"/>
                      <a:ext cx="142884" cy="69640"/>
                    </a:xfrm>
                    <a:custGeom>
                      <a:avLst/>
                      <a:gdLst>
                        <a:gd name="f0" fmla="val 10800000"/>
                        <a:gd name="f1" fmla="val 5400000"/>
                        <a:gd name="f2" fmla="val 180"/>
                        <a:gd name="f3" fmla="val w"/>
                        <a:gd name="f4" fmla="val h"/>
                        <a:gd name="f5" fmla="val 0"/>
                        <a:gd name="f6" fmla="val 56"/>
                        <a:gd name="f7" fmla="val 28"/>
                        <a:gd name="f8" fmla="val 13"/>
                        <a:gd name="f9" fmla="val 44"/>
                        <a:gd name="f10" fmla="val 12"/>
                        <a:gd name="f11" fmla="+- 0 0 -90"/>
                        <a:gd name="f12" fmla="*/ f3 1 56"/>
                        <a:gd name="f13" fmla="*/ f4 1 28"/>
                        <a:gd name="f14" fmla="val f5"/>
                        <a:gd name="f15" fmla="val f6"/>
                        <a:gd name="f16" fmla="val f7"/>
                        <a:gd name="f17" fmla="*/ f11 f0 1"/>
                        <a:gd name="f18" fmla="+- f16 0 f14"/>
                        <a:gd name="f19" fmla="+- f15 0 f14"/>
                        <a:gd name="f20" fmla="*/ f17 1 f2"/>
                        <a:gd name="f21" fmla="*/ f19 1 56"/>
                        <a:gd name="f22" fmla="*/ f18 1 28"/>
                        <a:gd name="f23" fmla="*/ 56 f19 1"/>
                        <a:gd name="f24" fmla="*/ 28 f18 1"/>
                        <a:gd name="f25" fmla="*/ 28 f19 1"/>
                        <a:gd name="f26" fmla="*/ 0 f18 1"/>
                        <a:gd name="f27" fmla="*/ 0 f19 1"/>
                        <a:gd name="f28" fmla="+- f20 0 f1"/>
                        <a:gd name="f29" fmla="*/ f23 1 56"/>
                        <a:gd name="f30" fmla="*/ f24 1 28"/>
                        <a:gd name="f31" fmla="*/ f25 1 56"/>
                        <a:gd name="f32" fmla="*/ f26 1 28"/>
                        <a:gd name="f33" fmla="*/ f27 1 56"/>
                        <a:gd name="f34" fmla="*/ 0 1 f21"/>
                        <a:gd name="f35" fmla="*/ f15 1 f21"/>
                        <a:gd name="f36" fmla="*/ 0 1 f22"/>
                        <a:gd name="f37" fmla="*/ f16 1 f22"/>
                        <a:gd name="f38" fmla="*/ f29 1 f21"/>
                        <a:gd name="f39" fmla="*/ f30 1 f22"/>
                        <a:gd name="f40" fmla="*/ f31 1 f21"/>
                        <a:gd name="f41" fmla="*/ f32 1 f22"/>
                        <a:gd name="f42" fmla="*/ f33 1 f21"/>
                        <a:gd name="f43" fmla="*/ f34 f12 1"/>
                        <a:gd name="f44" fmla="*/ f35 f12 1"/>
                        <a:gd name="f45" fmla="*/ f37 f13 1"/>
                        <a:gd name="f46" fmla="*/ f36 f13 1"/>
                        <a:gd name="f47" fmla="*/ f38 f12 1"/>
                        <a:gd name="f48" fmla="*/ f39 f13 1"/>
                        <a:gd name="f49" fmla="*/ f40 f12 1"/>
                        <a:gd name="f50" fmla="*/ f41 f13 1"/>
                        <a:gd name="f51" fmla="*/ f42 f12 1"/>
                      </a:gdLst>
                      <a:ahLst/>
                      <a:cxnLst>
                        <a:cxn ang="3cd4">
                          <a:pos x="hc" y="t"/>
                        </a:cxn>
                        <a:cxn ang="0">
                          <a:pos x="r" y="vc"/>
                        </a:cxn>
                        <a:cxn ang="cd4">
                          <a:pos x="hc" y="b"/>
                        </a:cxn>
                        <a:cxn ang="cd2">
                          <a:pos x="l" y="vc"/>
                        </a:cxn>
                        <a:cxn ang="f28">
                          <a:pos x="f47" y="f48"/>
                        </a:cxn>
                        <a:cxn ang="f28">
                          <a:pos x="f49" y="f50"/>
                        </a:cxn>
                        <a:cxn ang="f28">
                          <a:pos x="f51" y="f48"/>
                        </a:cxn>
                      </a:cxnLst>
                      <a:rect l="f43" t="f46" r="f44" b="f45"/>
                      <a:pathLst>
                        <a:path w="56" h="28">
                          <a:moveTo>
                            <a:pt x="f6" y="f7"/>
                          </a:moveTo>
                          <a:cubicBezTo>
                            <a:pt x="f6" y="f8"/>
                            <a:pt x="f9" y="f5"/>
                            <a:pt x="f7" y="f5"/>
                          </a:cubicBezTo>
                          <a:cubicBezTo>
                            <a:pt x="f10" y="f5"/>
                            <a:pt x="f5" y="f8"/>
                            <a:pt x="f5" y="f7"/>
                          </a:cubicBezTo>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3" name="Freeform 10">
                      <a:extLst>
                        <a:ext uri="{FF2B5EF4-FFF2-40B4-BE49-F238E27FC236}">
                          <a16:creationId xmlns:a16="http://schemas.microsoft.com/office/drawing/2014/main" id="{26111751-AB3A-4B3E-937A-7043E5C585BA}"/>
                        </a:ext>
                      </a:extLst>
                    </p:cNvPr>
                    <p:cNvSpPr/>
                    <p:nvPr/>
                  </p:nvSpPr>
                  <p:spPr>
                    <a:xfrm>
                      <a:off x="3804653" y="5454213"/>
                      <a:ext cx="101315" cy="49377"/>
                    </a:xfrm>
                    <a:custGeom>
                      <a:avLst/>
                      <a:gdLst>
                        <a:gd name="f0" fmla="val 10800000"/>
                        <a:gd name="f1" fmla="val 5400000"/>
                        <a:gd name="f2" fmla="val 180"/>
                        <a:gd name="f3" fmla="val w"/>
                        <a:gd name="f4" fmla="val h"/>
                        <a:gd name="f5" fmla="val 0"/>
                        <a:gd name="f6" fmla="val 40"/>
                        <a:gd name="f7" fmla="val 20"/>
                        <a:gd name="f8" fmla="val 9"/>
                        <a:gd name="f9" fmla="val 31"/>
                        <a:gd name="f10" fmla="+- 0 0 -90"/>
                        <a:gd name="f11" fmla="*/ f3 1 40"/>
                        <a:gd name="f12" fmla="*/ f4 1 20"/>
                        <a:gd name="f13" fmla="val f5"/>
                        <a:gd name="f14" fmla="val f6"/>
                        <a:gd name="f15" fmla="val f7"/>
                        <a:gd name="f16" fmla="*/ f10 f0 1"/>
                        <a:gd name="f17" fmla="+- f15 0 f13"/>
                        <a:gd name="f18" fmla="+- f14 0 f13"/>
                        <a:gd name="f19" fmla="*/ f16 1 f2"/>
                        <a:gd name="f20" fmla="*/ f18 1 40"/>
                        <a:gd name="f21" fmla="*/ f17 1 20"/>
                        <a:gd name="f22" fmla="*/ 40 f18 1"/>
                        <a:gd name="f23" fmla="*/ 20 f17 1"/>
                        <a:gd name="f24" fmla="*/ 20 f18 1"/>
                        <a:gd name="f25" fmla="*/ 0 f17 1"/>
                        <a:gd name="f26" fmla="*/ 0 f18 1"/>
                        <a:gd name="f27" fmla="+- f19 0 f1"/>
                        <a:gd name="f28" fmla="*/ f22 1 40"/>
                        <a:gd name="f29" fmla="*/ f23 1 20"/>
                        <a:gd name="f30" fmla="*/ f24 1 40"/>
                        <a:gd name="f31" fmla="*/ f25 1 20"/>
                        <a:gd name="f32" fmla="*/ f26 1 40"/>
                        <a:gd name="f33" fmla="*/ 0 1 f20"/>
                        <a:gd name="f34" fmla="*/ f14 1 f20"/>
                        <a:gd name="f35" fmla="*/ 0 1 f21"/>
                        <a:gd name="f36" fmla="*/ f15 1 f21"/>
                        <a:gd name="f37" fmla="*/ f28 1 f20"/>
                        <a:gd name="f38" fmla="*/ f29 1 f21"/>
                        <a:gd name="f39" fmla="*/ f30 1 f20"/>
                        <a:gd name="f40" fmla="*/ f31 1 f21"/>
                        <a:gd name="f41" fmla="*/ f32 1 f20"/>
                        <a:gd name="f42" fmla="*/ f33 f11 1"/>
                        <a:gd name="f43" fmla="*/ f34 f11 1"/>
                        <a:gd name="f44" fmla="*/ f36 f12 1"/>
                        <a:gd name="f45" fmla="*/ f35 f12 1"/>
                        <a:gd name="f46" fmla="*/ f37 f11 1"/>
                        <a:gd name="f47" fmla="*/ f38 f12 1"/>
                        <a:gd name="f48" fmla="*/ f39 f11 1"/>
                        <a:gd name="f49" fmla="*/ f40 f12 1"/>
                        <a:gd name="f50" fmla="*/ f41 f11 1"/>
                      </a:gdLst>
                      <a:ahLst/>
                      <a:cxnLst>
                        <a:cxn ang="3cd4">
                          <a:pos x="hc" y="t"/>
                        </a:cxn>
                        <a:cxn ang="0">
                          <a:pos x="r" y="vc"/>
                        </a:cxn>
                        <a:cxn ang="cd4">
                          <a:pos x="hc" y="b"/>
                        </a:cxn>
                        <a:cxn ang="cd2">
                          <a:pos x="l" y="vc"/>
                        </a:cxn>
                        <a:cxn ang="f27">
                          <a:pos x="f46" y="f47"/>
                        </a:cxn>
                        <a:cxn ang="f27">
                          <a:pos x="f48" y="f49"/>
                        </a:cxn>
                        <a:cxn ang="f27">
                          <a:pos x="f50" y="f47"/>
                        </a:cxn>
                      </a:cxnLst>
                      <a:rect l="f42" t="f45" r="f43" b="f44"/>
                      <a:pathLst>
                        <a:path w="40" h="20">
                          <a:moveTo>
                            <a:pt x="f6" y="f7"/>
                          </a:moveTo>
                          <a:cubicBezTo>
                            <a:pt x="f6" y="f8"/>
                            <a:pt x="f9" y="f5"/>
                            <a:pt x="f7" y="f5"/>
                          </a:cubicBezTo>
                          <a:cubicBezTo>
                            <a:pt x="f8" y="f5"/>
                            <a:pt x="f5" y="f8"/>
                            <a:pt x="f5" y="f7"/>
                          </a:cubicBezTo>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623" name="Group 189">
                    <a:extLst>
                      <a:ext uri="{FF2B5EF4-FFF2-40B4-BE49-F238E27FC236}">
                        <a16:creationId xmlns:a16="http://schemas.microsoft.com/office/drawing/2014/main" id="{D5675122-1224-41D5-8832-69ABBE36462A}"/>
                      </a:ext>
                    </a:extLst>
                  </p:cNvPr>
                  <p:cNvGrpSpPr/>
                  <p:nvPr/>
                </p:nvGrpSpPr>
                <p:grpSpPr>
                  <a:xfrm>
                    <a:off x="3972482" y="5714085"/>
                    <a:ext cx="327465" cy="322764"/>
                    <a:chOff x="3972482" y="5714085"/>
                    <a:chExt cx="327465" cy="322764"/>
                  </a:xfrm>
                </p:grpSpPr>
                <p:sp>
                  <p:nvSpPr>
                    <p:cNvPr id="624" name="Freeform 44">
                      <a:extLst>
                        <a:ext uri="{FF2B5EF4-FFF2-40B4-BE49-F238E27FC236}">
                          <a16:creationId xmlns:a16="http://schemas.microsoft.com/office/drawing/2014/main" id="{26B835F4-F66B-4731-AE20-D013B3D1A680}"/>
                        </a:ext>
                      </a:extLst>
                    </p:cNvPr>
                    <p:cNvSpPr/>
                    <p:nvPr/>
                  </p:nvSpPr>
                  <p:spPr>
                    <a:xfrm>
                      <a:off x="3972482" y="5714085"/>
                      <a:ext cx="120353" cy="131298"/>
                    </a:xfrm>
                    <a:custGeom>
                      <a:avLst/>
                      <a:gdLst>
                        <a:gd name="f0" fmla="val 10800000"/>
                        <a:gd name="f1" fmla="val 5400000"/>
                        <a:gd name="f2" fmla="val 180"/>
                        <a:gd name="f3" fmla="val w"/>
                        <a:gd name="f4" fmla="val h"/>
                        <a:gd name="f5" fmla="val 0"/>
                        <a:gd name="f6" fmla="val 82"/>
                        <a:gd name="f7" fmla="val 76"/>
                        <a:gd name="f8" fmla="val 79"/>
                        <a:gd name="f9" fmla="val 6"/>
                        <a:gd name="f10" fmla="val 2"/>
                        <a:gd name="f11" fmla="val 5"/>
                        <a:gd name="f12" fmla="+- 0 0 -90"/>
                        <a:gd name="f13" fmla="*/ f3 1 82"/>
                        <a:gd name="f14" fmla="*/ f4 1 82"/>
                        <a:gd name="f15" fmla="val f5"/>
                        <a:gd name="f16" fmla="val f6"/>
                        <a:gd name="f17" fmla="*/ f12 f0 1"/>
                        <a:gd name="f18" fmla="+- f16 0 f15"/>
                        <a:gd name="f19" fmla="*/ f17 1 f2"/>
                        <a:gd name="f20" fmla="*/ f18 1 82"/>
                        <a:gd name="f21" fmla="*/ 82 f18 1"/>
                        <a:gd name="f22" fmla="*/ 76 f18 1"/>
                        <a:gd name="f23" fmla="*/ 6 f18 1"/>
                        <a:gd name="f24" fmla="*/ 0 f18 1"/>
                        <a:gd name="f25" fmla="*/ 5 f18 1"/>
                        <a:gd name="f26" fmla="+- f19 0 f1"/>
                        <a:gd name="f27" fmla="*/ f21 1 82"/>
                        <a:gd name="f28" fmla="*/ f22 1 82"/>
                        <a:gd name="f29" fmla="*/ f23 1 82"/>
                        <a:gd name="f30" fmla="*/ f24 1 82"/>
                        <a:gd name="f31" fmla="*/ f25 1 82"/>
                        <a:gd name="f32" fmla="*/ 0 1 f20"/>
                        <a:gd name="f33" fmla="*/ f16 1 f20"/>
                        <a:gd name="f34" fmla="*/ f27 1 f20"/>
                        <a:gd name="f35" fmla="*/ f28 1 f20"/>
                        <a:gd name="f36" fmla="*/ f29 1 f20"/>
                        <a:gd name="f37" fmla="*/ f30 1 f20"/>
                        <a:gd name="f38" fmla="*/ f31 1 f20"/>
                        <a:gd name="f39" fmla="*/ f32 f13 1"/>
                        <a:gd name="f40" fmla="*/ f33 f13 1"/>
                        <a:gd name="f41" fmla="*/ f33 f14 1"/>
                        <a:gd name="f42" fmla="*/ f32 f14 1"/>
                        <a:gd name="f43" fmla="*/ f34 f13 1"/>
                        <a:gd name="f44" fmla="*/ f35 f14 1"/>
                        <a:gd name="f45" fmla="*/ f35 f13 1"/>
                        <a:gd name="f46" fmla="*/ f34 f14 1"/>
                        <a:gd name="f47" fmla="*/ f36 f13 1"/>
                        <a:gd name="f48" fmla="*/ f37 f13 1"/>
                        <a:gd name="f49" fmla="*/ f38 f14 1"/>
                        <a:gd name="f50" fmla="*/ f37 f14 1"/>
                      </a:gdLst>
                      <a:ahLst/>
                      <a:cxnLst>
                        <a:cxn ang="3cd4">
                          <a:pos x="hc" y="t"/>
                        </a:cxn>
                        <a:cxn ang="0">
                          <a:pos x="r" y="vc"/>
                        </a:cxn>
                        <a:cxn ang="cd4">
                          <a:pos x="hc" y="b"/>
                        </a:cxn>
                        <a:cxn ang="cd2">
                          <a:pos x="l" y="vc"/>
                        </a:cxn>
                        <a:cxn ang="f26">
                          <a:pos x="f43" y="f44"/>
                        </a:cxn>
                        <a:cxn ang="f26">
                          <a:pos x="f45" y="f46"/>
                        </a:cxn>
                        <a:cxn ang="f26">
                          <a:pos x="f47" y="f46"/>
                        </a:cxn>
                        <a:cxn ang="f26">
                          <a:pos x="f48" y="f44"/>
                        </a:cxn>
                        <a:cxn ang="f26">
                          <a:pos x="f48" y="f49"/>
                        </a:cxn>
                        <a:cxn ang="f26">
                          <a:pos x="f47" y="f50"/>
                        </a:cxn>
                        <a:cxn ang="f26">
                          <a:pos x="f45" y="f50"/>
                        </a:cxn>
                        <a:cxn ang="f26">
                          <a:pos x="f43" y="f49"/>
                        </a:cxn>
                        <a:cxn ang="f26">
                          <a:pos x="f43" y="f44"/>
                        </a:cxn>
                      </a:cxnLst>
                      <a:rect l="f39" t="f42" r="f40" b="f41"/>
                      <a:pathLst>
                        <a:path w="82" h="82">
                          <a:moveTo>
                            <a:pt x="f6" y="f7"/>
                          </a:moveTo>
                          <a:cubicBezTo>
                            <a:pt x="f6" y="f8"/>
                            <a:pt x="f8" y="f6"/>
                            <a:pt x="f7" y="f6"/>
                          </a:cubicBezTo>
                          <a:cubicBezTo>
                            <a:pt x="f9" y="f6"/>
                            <a:pt x="f9" y="f6"/>
                            <a:pt x="f9" y="f6"/>
                          </a:cubicBezTo>
                          <a:cubicBezTo>
                            <a:pt x="f10" y="f6"/>
                            <a:pt x="f5" y="f8"/>
                            <a:pt x="f5" y="f7"/>
                          </a:cubicBezTo>
                          <a:cubicBezTo>
                            <a:pt x="f5" y="f11"/>
                            <a:pt x="f5" y="f11"/>
                            <a:pt x="f5" y="f11"/>
                          </a:cubicBezTo>
                          <a:cubicBezTo>
                            <a:pt x="f5" y="f10"/>
                            <a:pt x="f10" y="f5"/>
                            <a:pt x="f9" y="f5"/>
                          </a:cubicBezTo>
                          <a:cubicBezTo>
                            <a:pt x="f7" y="f5"/>
                            <a:pt x="f7" y="f5"/>
                            <a:pt x="f7" y="f5"/>
                          </a:cubicBezTo>
                          <a:cubicBezTo>
                            <a:pt x="f8" y="f5"/>
                            <a:pt x="f6" y="f10"/>
                            <a:pt x="f6" y="f11"/>
                          </a:cubicBezTo>
                          <a:lnTo>
                            <a:pt x="f6" y="f7"/>
                          </a:lnTo>
                          <a:close/>
                        </a:path>
                      </a:pathLst>
                    </a:custGeom>
                    <a:solidFill>
                      <a:srgbClr val="757575"/>
                    </a:solid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002050"/>
                        </a:solidFill>
                        <a:effectLst/>
                        <a:uLnTx/>
                        <a:uFillTx/>
                        <a:latin typeface="Segoe UI Semilight"/>
                        <a:ea typeface="+mn-ea"/>
                        <a:cs typeface="+mn-cs"/>
                      </a:endParaRPr>
                    </a:p>
                  </p:txBody>
                </p:sp>
                <p:sp>
                  <p:nvSpPr>
                    <p:cNvPr id="625" name="Freeform 45">
                      <a:extLst>
                        <a:ext uri="{FF2B5EF4-FFF2-40B4-BE49-F238E27FC236}">
                          <a16:creationId xmlns:a16="http://schemas.microsoft.com/office/drawing/2014/main" id="{6632C5C3-35D2-41A4-B593-558B5E915DC0}"/>
                        </a:ext>
                      </a:extLst>
                    </p:cNvPr>
                    <p:cNvSpPr/>
                    <p:nvPr/>
                  </p:nvSpPr>
                  <p:spPr>
                    <a:xfrm>
                      <a:off x="3972482" y="5867265"/>
                      <a:ext cx="120353" cy="65644"/>
                    </a:xfrm>
                    <a:custGeom>
                      <a:avLst/>
                      <a:gdLst>
                        <a:gd name="f0" fmla="val 10800000"/>
                        <a:gd name="f1" fmla="val 5400000"/>
                        <a:gd name="f2" fmla="val 180"/>
                        <a:gd name="f3" fmla="val w"/>
                        <a:gd name="f4" fmla="val h"/>
                        <a:gd name="f5" fmla="val 0"/>
                        <a:gd name="f6" fmla="val 82"/>
                        <a:gd name="f7" fmla="val 41"/>
                        <a:gd name="f8" fmla="val 38"/>
                        <a:gd name="f9" fmla="val 39"/>
                        <a:gd name="f10" fmla="val 79"/>
                        <a:gd name="f11" fmla="val 76"/>
                        <a:gd name="f12" fmla="val 6"/>
                        <a:gd name="f13" fmla="val 2"/>
                        <a:gd name="f14" fmla="val 3"/>
                        <a:gd name="f15" fmla="val 1"/>
                        <a:gd name="f16" fmla="+- 0 0 -90"/>
                        <a:gd name="f17" fmla="*/ f3 1 82"/>
                        <a:gd name="f18" fmla="*/ f4 1 41"/>
                        <a:gd name="f19" fmla="val f5"/>
                        <a:gd name="f20" fmla="val f6"/>
                        <a:gd name="f21" fmla="val f7"/>
                        <a:gd name="f22" fmla="*/ f16 f0 1"/>
                        <a:gd name="f23" fmla="+- f21 0 f19"/>
                        <a:gd name="f24" fmla="+- f20 0 f19"/>
                        <a:gd name="f25" fmla="*/ f22 1 f2"/>
                        <a:gd name="f26" fmla="*/ f24 1 82"/>
                        <a:gd name="f27" fmla="*/ f23 1 41"/>
                        <a:gd name="f28" fmla="*/ 82 f24 1"/>
                        <a:gd name="f29" fmla="*/ 38 f23 1"/>
                        <a:gd name="f30" fmla="*/ 76 f24 1"/>
                        <a:gd name="f31" fmla="*/ 41 f23 1"/>
                        <a:gd name="f32" fmla="*/ 6 f24 1"/>
                        <a:gd name="f33" fmla="*/ 0 f24 1"/>
                        <a:gd name="f34" fmla="*/ 3 f23 1"/>
                        <a:gd name="f35" fmla="*/ 0 f23 1"/>
                        <a:gd name="f36" fmla="+- f25 0 f1"/>
                        <a:gd name="f37" fmla="*/ f28 1 82"/>
                        <a:gd name="f38" fmla="*/ f29 1 41"/>
                        <a:gd name="f39" fmla="*/ f30 1 82"/>
                        <a:gd name="f40" fmla="*/ f31 1 41"/>
                        <a:gd name="f41" fmla="*/ f32 1 82"/>
                        <a:gd name="f42" fmla="*/ f33 1 82"/>
                        <a:gd name="f43" fmla="*/ f34 1 41"/>
                        <a:gd name="f44" fmla="*/ f35 1 41"/>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82" h="4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002050"/>
                        </a:solidFill>
                        <a:effectLst/>
                        <a:uLnTx/>
                        <a:uFillTx/>
                        <a:latin typeface="Segoe UI Semilight"/>
                        <a:ea typeface="+mn-ea"/>
                        <a:cs typeface="+mn-cs"/>
                      </a:endParaRPr>
                    </a:p>
                  </p:txBody>
                </p:sp>
                <p:sp>
                  <p:nvSpPr>
                    <p:cNvPr id="626" name="Freeform 46">
                      <a:extLst>
                        <a:ext uri="{FF2B5EF4-FFF2-40B4-BE49-F238E27FC236}">
                          <a16:creationId xmlns:a16="http://schemas.microsoft.com/office/drawing/2014/main" id="{F25CBFA6-6B08-481F-B59F-C45ABFFEA488}"/>
                        </a:ext>
                      </a:extLst>
                    </p:cNvPr>
                    <p:cNvSpPr/>
                    <p:nvPr/>
                  </p:nvSpPr>
                  <p:spPr>
                    <a:xfrm>
                      <a:off x="4114717" y="5714085"/>
                      <a:ext cx="185230" cy="218834"/>
                    </a:xfrm>
                    <a:custGeom>
                      <a:avLst/>
                      <a:gdLst>
                        <a:gd name="f0" fmla="val 10800000"/>
                        <a:gd name="f1" fmla="val 5400000"/>
                        <a:gd name="f2" fmla="val 180"/>
                        <a:gd name="f3" fmla="val w"/>
                        <a:gd name="f4" fmla="val h"/>
                        <a:gd name="f5" fmla="val 0"/>
                        <a:gd name="f6" fmla="val 126"/>
                        <a:gd name="f7" fmla="val 137"/>
                        <a:gd name="f8" fmla="val 127"/>
                        <a:gd name="f9" fmla="val 133"/>
                        <a:gd name="f10" fmla="val 122"/>
                        <a:gd name="f11" fmla="val 117"/>
                        <a:gd name="f12" fmla="val 9"/>
                        <a:gd name="f13" fmla="val 4"/>
                        <a:gd name="f14" fmla="+- 0 0 -90"/>
                        <a:gd name="f15" fmla="*/ f3 1 126"/>
                        <a:gd name="f16" fmla="*/ f4 1 137"/>
                        <a:gd name="f17" fmla="val f5"/>
                        <a:gd name="f18" fmla="val f6"/>
                        <a:gd name="f19" fmla="val f7"/>
                        <a:gd name="f20" fmla="*/ f14 f0 1"/>
                        <a:gd name="f21" fmla="+- f19 0 f17"/>
                        <a:gd name="f22" fmla="+- f18 0 f17"/>
                        <a:gd name="f23" fmla="*/ f20 1 f2"/>
                        <a:gd name="f24" fmla="*/ f22 1 126"/>
                        <a:gd name="f25" fmla="*/ f21 1 137"/>
                        <a:gd name="f26" fmla="*/ 126 f22 1"/>
                        <a:gd name="f27" fmla="*/ 127 f21 1"/>
                        <a:gd name="f28" fmla="*/ 117 f22 1"/>
                        <a:gd name="f29" fmla="*/ 137 f21 1"/>
                        <a:gd name="f30" fmla="*/ 9 f22 1"/>
                        <a:gd name="f31" fmla="*/ 0 f22 1"/>
                        <a:gd name="f32" fmla="*/ 9 f21 1"/>
                        <a:gd name="f33" fmla="*/ 0 f21 1"/>
                        <a:gd name="f34" fmla="+- f23 0 f1"/>
                        <a:gd name="f35" fmla="*/ f26 1 126"/>
                        <a:gd name="f36" fmla="*/ f27 1 137"/>
                        <a:gd name="f37" fmla="*/ f28 1 126"/>
                        <a:gd name="f38" fmla="*/ f29 1 137"/>
                        <a:gd name="f39" fmla="*/ f30 1 126"/>
                        <a:gd name="f40" fmla="*/ f31 1 126"/>
                        <a:gd name="f41" fmla="*/ f32 1 137"/>
                        <a:gd name="f42" fmla="*/ f33 1 137"/>
                        <a:gd name="f43" fmla="*/ 0 1 f24"/>
                        <a:gd name="f44" fmla="*/ f18 1 f24"/>
                        <a:gd name="f45" fmla="*/ 0 1 f25"/>
                        <a:gd name="f46" fmla="*/ f19 1 f25"/>
                        <a:gd name="f47" fmla="*/ f35 1 f24"/>
                        <a:gd name="f48" fmla="*/ f36 1 f25"/>
                        <a:gd name="f49" fmla="*/ f37 1 f24"/>
                        <a:gd name="f50" fmla="*/ f38 1 f25"/>
                        <a:gd name="f51" fmla="*/ f39 1 f24"/>
                        <a:gd name="f52" fmla="*/ f40 1 f24"/>
                        <a:gd name="f53" fmla="*/ f41 1 f25"/>
                        <a:gd name="f54" fmla="*/ f42 1 f25"/>
                        <a:gd name="f55" fmla="*/ f43 f15 1"/>
                        <a:gd name="f56" fmla="*/ f44 f15 1"/>
                        <a:gd name="f57" fmla="*/ f46 f16 1"/>
                        <a:gd name="f58" fmla="*/ f45 f16 1"/>
                        <a:gd name="f59" fmla="*/ f47 f15 1"/>
                        <a:gd name="f60" fmla="*/ f48 f16 1"/>
                        <a:gd name="f61" fmla="*/ f49 f15 1"/>
                        <a:gd name="f62" fmla="*/ f50 f16 1"/>
                        <a:gd name="f63" fmla="*/ f51 f15 1"/>
                        <a:gd name="f64" fmla="*/ f52 f15 1"/>
                        <a:gd name="f65" fmla="*/ f53 f16 1"/>
                        <a:gd name="f66" fmla="*/ f54 f16 1"/>
                      </a:gdLst>
                      <a:ahLst/>
                      <a:cxnLst>
                        <a:cxn ang="3cd4">
                          <a:pos x="hc" y="t"/>
                        </a:cxn>
                        <a:cxn ang="0">
                          <a:pos x="r" y="vc"/>
                        </a:cxn>
                        <a:cxn ang="cd4">
                          <a:pos x="hc" y="b"/>
                        </a:cxn>
                        <a:cxn ang="cd2">
                          <a:pos x="l" y="vc"/>
                        </a:cxn>
                        <a:cxn ang="f34">
                          <a:pos x="f59" y="f60"/>
                        </a:cxn>
                        <a:cxn ang="f34">
                          <a:pos x="f61" y="f62"/>
                        </a:cxn>
                        <a:cxn ang="f34">
                          <a:pos x="f63" y="f62"/>
                        </a:cxn>
                        <a:cxn ang="f34">
                          <a:pos x="f64" y="f60"/>
                        </a:cxn>
                        <a:cxn ang="f34">
                          <a:pos x="f64" y="f65"/>
                        </a:cxn>
                        <a:cxn ang="f34">
                          <a:pos x="f63" y="f66"/>
                        </a:cxn>
                        <a:cxn ang="f34">
                          <a:pos x="f61" y="f66"/>
                        </a:cxn>
                        <a:cxn ang="f34">
                          <a:pos x="f59" y="f65"/>
                        </a:cxn>
                        <a:cxn ang="f34">
                          <a:pos x="f59" y="f60"/>
                        </a:cxn>
                      </a:cxnLst>
                      <a:rect l="f55" t="f58" r="f56" b="f57"/>
                      <a:pathLst>
                        <a:path w="126" h="137">
                          <a:moveTo>
                            <a:pt x="f6" y="f8"/>
                          </a:moveTo>
                          <a:cubicBezTo>
                            <a:pt x="f6" y="f9"/>
                            <a:pt x="f10" y="f7"/>
                            <a:pt x="f11" y="f7"/>
                          </a:cubicBezTo>
                          <a:cubicBezTo>
                            <a:pt x="f12" y="f7"/>
                            <a:pt x="f12" y="f7"/>
                            <a:pt x="f12" y="f7"/>
                          </a:cubicBezTo>
                          <a:cubicBezTo>
                            <a:pt x="f13" y="f7"/>
                            <a:pt x="f5" y="f9"/>
                            <a:pt x="f5" y="f8"/>
                          </a:cubicBezTo>
                          <a:cubicBezTo>
                            <a:pt x="f5" y="f12"/>
                            <a:pt x="f5" y="f12"/>
                            <a:pt x="f5" y="f12"/>
                          </a:cubicBezTo>
                          <a:cubicBezTo>
                            <a:pt x="f5" y="f13"/>
                            <a:pt x="f13" y="f5"/>
                            <a:pt x="f12" y="f5"/>
                          </a:cubicBezTo>
                          <a:cubicBezTo>
                            <a:pt x="f11" y="f5"/>
                            <a:pt x="f11" y="f5"/>
                            <a:pt x="f11" y="f5"/>
                          </a:cubicBezTo>
                          <a:cubicBezTo>
                            <a:pt x="f10" y="f5"/>
                            <a:pt x="f6" y="f13"/>
                            <a:pt x="f6" y="f12"/>
                          </a:cubicBezTo>
                          <a:lnTo>
                            <a:pt x="f6" y="f8"/>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002050"/>
                        </a:solidFill>
                        <a:effectLst/>
                        <a:uLnTx/>
                        <a:uFillTx/>
                        <a:latin typeface="Segoe UI Semilight"/>
                        <a:ea typeface="+mn-ea"/>
                        <a:cs typeface="+mn-cs"/>
                      </a:endParaRPr>
                    </a:p>
                  </p:txBody>
                </p:sp>
                <p:sp>
                  <p:nvSpPr>
                    <p:cNvPr id="627" name="Freeform 47">
                      <a:extLst>
                        <a:ext uri="{FF2B5EF4-FFF2-40B4-BE49-F238E27FC236}">
                          <a16:creationId xmlns:a16="http://schemas.microsoft.com/office/drawing/2014/main" id="{26E0AC3D-3110-4947-A462-4D913B0586DD}"/>
                        </a:ext>
                      </a:extLst>
                    </p:cNvPr>
                    <p:cNvSpPr/>
                    <p:nvPr/>
                  </p:nvSpPr>
                  <p:spPr>
                    <a:xfrm>
                      <a:off x="3972482" y="5958696"/>
                      <a:ext cx="327464" cy="78153"/>
                    </a:xfrm>
                    <a:custGeom>
                      <a:avLst/>
                      <a:gdLst>
                        <a:gd name="f0" fmla="val 10800000"/>
                        <a:gd name="f1" fmla="val 5400000"/>
                        <a:gd name="f2" fmla="val 180"/>
                        <a:gd name="f3" fmla="val w"/>
                        <a:gd name="f4" fmla="val h"/>
                        <a:gd name="f5" fmla="val 0"/>
                        <a:gd name="f6" fmla="val 223"/>
                        <a:gd name="f7" fmla="val 49"/>
                        <a:gd name="f8" fmla="val 46"/>
                        <a:gd name="f9" fmla="val 48"/>
                        <a:gd name="f10" fmla="val 216"/>
                        <a:gd name="f11" fmla="val 208"/>
                        <a:gd name="f12" fmla="val 15"/>
                        <a:gd name="f13" fmla="val 7"/>
                        <a:gd name="f14" fmla="val 3"/>
                        <a:gd name="f15" fmla="val 1"/>
                        <a:gd name="f16" fmla="+- 0 0 -90"/>
                        <a:gd name="f17" fmla="*/ f3 1 223"/>
                        <a:gd name="f18" fmla="*/ f4 1 49"/>
                        <a:gd name="f19" fmla="val f5"/>
                        <a:gd name="f20" fmla="val f6"/>
                        <a:gd name="f21" fmla="val f7"/>
                        <a:gd name="f22" fmla="*/ f16 f0 1"/>
                        <a:gd name="f23" fmla="+- f21 0 f19"/>
                        <a:gd name="f24" fmla="+- f20 0 f19"/>
                        <a:gd name="f25" fmla="*/ f22 1 f2"/>
                        <a:gd name="f26" fmla="*/ f24 1 223"/>
                        <a:gd name="f27" fmla="*/ f23 1 49"/>
                        <a:gd name="f28" fmla="*/ 223 f24 1"/>
                        <a:gd name="f29" fmla="*/ 46 f23 1"/>
                        <a:gd name="f30" fmla="*/ 208 f24 1"/>
                        <a:gd name="f31" fmla="*/ 49 f23 1"/>
                        <a:gd name="f32" fmla="*/ 15 f24 1"/>
                        <a:gd name="f33" fmla="*/ 0 f24 1"/>
                        <a:gd name="f34" fmla="*/ 3 f23 1"/>
                        <a:gd name="f35" fmla="*/ 0 f23 1"/>
                        <a:gd name="f36" fmla="+- f25 0 f1"/>
                        <a:gd name="f37" fmla="*/ f28 1 223"/>
                        <a:gd name="f38" fmla="*/ f29 1 49"/>
                        <a:gd name="f39" fmla="*/ f30 1 223"/>
                        <a:gd name="f40" fmla="*/ f31 1 49"/>
                        <a:gd name="f41" fmla="*/ f32 1 223"/>
                        <a:gd name="f42" fmla="*/ f33 1 223"/>
                        <a:gd name="f43" fmla="*/ f34 1 49"/>
                        <a:gd name="f44" fmla="*/ f35 1 49"/>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223" h="49">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002050"/>
                        </a:solidFill>
                        <a:effectLst/>
                        <a:uLnTx/>
                        <a:uFillTx/>
                        <a:latin typeface="Segoe UI Semilight"/>
                        <a:ea typeface="+mn-ea"/>
                        <a:cs typeface="+mn-cs"/>
                      </a:endParaRPr>
                    </a:p>
                  </p:txBody>
                </p:sp>
              </p:grpSp>
            </p:grpSp>
          </p:grpSp>
          <p:grpSp>
            <p:nvGrpSpPr>
              <p:cNvPr id="582" name="On-Premises Building">
                <a:extLst>
                  <a:ext uri="{FF2B5EF4-FFF2-40B4-BE49-F238E27FC236}">
                    <a16:creationId xmlns:a16="http://schemas.microsoft.com/office/drawing/2014/main" id="{560FDED9-8436-4D2D-A922-979015A2CCE5}"/>
                  </a:ext>
                </a:extLst>
              </p:cNvPr>
              <p:cNvGrpSpPr/>
              <p:nvPr/>
            </p:nvGrpSpPr>
            <p:grpSpPr>
              <a:xfrm>
                <a:off x="1792808" y="4946549"/>
                <a:ext cx="1008623" cy="1433038"/>
                <a:chOff x="2317171" y="4229228"/>
                <a:chExt cx="1593672" cy="2264264"/>
              </a:xfrm>
            </p:grpSpPr>
            <p:sp>
              <p:nvSpPr>
                <p:cNvPr id="583" name="Freeform 12">
                  <a:extLst>
                    <a:ext uri="{FF2B5EF4-FFF2-40B4-BE49-F238E27FC236}">
                      <a16:creationId xmlns:a16="http://schemas.microsoft.com/office/drawing/2014/main" id="{B3595C8E-73B5-46CC-B0A6-3EB09212C2A8}"/>
                    </a:ext>
                  </a:extLst>
                </p:cNvPr>
                <p:cNvSpPr/>
                <p:nvPr/>
              </p:nvSpPr>
              <p:spPr>
                <a:xfrm>
                  <a:off x="3290093" y="4229228"/>
                  <a:ext cx="49112" cy="125382"/>
                </a:xfrm>
                <a:custGeom>
                  <a:avLst/>
                  <a:gdLst>
                    <a:gd name="f0" fmla="val 10800000"/>
                    <a:gd name="f1" fmla="val 5400000"/>
                    <a:gd name="f2" fmla="val 180"/>
                    <a:gd name="f3" fmla="val w"/>
                    <a:gd name="f4" fmla="val h"/>
                    <a:gd name="f5" fmla="val 0"/>
                    <a:gd name="f6" fmla="val 20"/>
                    <a:gd name="f7" fmla="val 51"/>
                    <a:gd name="f8" fmla="val 10"/>
                    <a:gd name="f9" fmla="val 16"/>
                    <a:gd name="f10" fmla="val 4"/>
                    <a:gd name="f11" fmla="val 33"/>
                    <a:gd name="f12" fmla="val 1"/>
                    <a:gd name="f13" fmla="val 49"/>
                    <a:gd name="f14" fmla="val 48"/>
                    <a:gd name="f15" fmla="val 46"/>
                    <a:gd name="f16" fmla="val 2"/>
                    <a:gd name="f17" fmla="val 45"/>
                    <a:gd name="f18" fmla="val 44"/>
                    <a:gd name="f19" fmla="val 43"/>
                    <a:gd name="f20" fmla="val 3"/>
                    <a:gd name="f21" fmla="val 41"/>
                    <a:gd name="f22" fmla="val 39"/>
                    <a:gd name="f23" fmla="val 36"/>
                    <a:gd name="f24" fmla="val 35"/>
                    <a:gd name="f25" fmla="val 34"/>
                    <a:gd name="f26" fmla="val 5"/>
                    <a:gd name="f27" fmla="val 32"/>
                    <a:gd name="f28" fmla="val 6"/>
                    <a:gd name="f29" fmla="val 29"/>
                    <a:gd name="f30" fmla="val 7"/>
                    <a:gd name="f31" fmla="val 27"/>
                    <a:gd name="f32" fmla="val 26"/>
                    <a:gd name="f33" fmla="val 25"/>
                    <a:gd name="f34" fmla="val 8"/>
                    <a:gd name="f35" fmla="val 23"/>
                    <a:gd name="f36" fmla="val 9"/>
                    <a:gd name="f37" fmla="val 11"/>
                    <a:gd name="f38" fmla="val 18"/>
                    <a:gd name="f39" fmla="val 17"/>
                    <a:gd name="f40" fmla="val 12"/>
                    <a:gd name="f41" fmla="val 14"/>
                    <a:gd name="f42" fmla="val 15"/>
                    <a:gd name="f43" fmla="+- 0 0 -90"/>
                    <a:gd name="f44" fmla="*/ f3 1 20"/>
                    <a:gd name="f45" fmla="*/ f4 1 51"/>
                    <a:gd name="f46" fmla="val f5"/>
                    <a:gd name="f47" fmla="val f6"/>
                    <a:gd name="f48" fmla="val f7"/>
                    <a:gd name="f49" fmla="*/ f43 f0 1"/>
                    <a:gd name="f50" fmla="+- f48 0 f46"/>
                    <a:gd name="f51" fmla="+- f47 0 f46"/>
                    <a:gd name="f52" fmla="*/ f49 1 f2"/>
                    <a:gd name="f53" fmla="*/ f51 1 20"/>
                    <a:gd name="f54" fmla="*/ f50 1 51"/>
                    <a:gd name="f55" fmla="*/ 20 f51 1"/>
                    <a:gd name="f56" fmla="*/ 0 f50 1"/>
                    <a:gd name="f57" fmla="*/ 0 f51 1"/>
                    <a:gd name="f58" fmla="*/ 51 f50 1"/>
                    <a:gd name="f59" fmla="*/ 1 f51 1"/>
                    <a:gd name="f60" fmla="*/ 46 f50 1"/>
                    <a:gd name="f61" fmla="*/ 2 f51 1"/>
                    <a:gd name="f62" fmla="*/ 43 f50 1"/>
                    <a:gd name="f63" fmla="*/ 4 f51 1"/>
                    <a:gd name="f64" fmla="*/ 36 f50 1"/>
                    <a:gd name="f65" fmla="*/ 34 f50 1"/>
                    <a:gd name="f66" fmla="*/ 7 f51 1"/>
                    <a:gd name="f67" fmla="*/ 27 f50 1"/>
                    <a:gd name="f68" fmla="*/ 25 f50 1"/>
                    <a:gd name="f69" fmla="*/ 11 f51 1"/>
                    <a:gd name="f70" fmla="*/ 18 f50 1"/>
                    <a:gd name="f71" fmla="*/ 17 f50 1"/>
                    <a:gd name="f72" fmla="*/ 15 f51 1"/>
                    <a:gd name="f73" fmla="*/ 8 f50 1"/>
                    <a:gd name="f74" fmla="+- f52 0 f1"/>
                    <a:gd name="f75" fmla="*/ f55 1 20"/>
                    <a:gd name="f76" fmla="*/ f56 1 51"/>
                    <a:gd name="f77" fmla="*/ f57 1 20"/>
                    <a:gd name="f78" fmla="*/ f58 1 51"/>
                    <a:gd name="f79" fmla="*/ f59 1 20"/>
                    <a:gd name="f80" fmla="*/ f60 1 51"/>
                    <a:gd name="f81" fmla="*/ f61 1 20"/>
                    <a:gd name="f82" fmla="*/ f62 1 51"/>
                    <a:gd name="f83" fmla="*/ f63 1 20"/>
                    <a:gd name="f84" fmla="*/ f64 1 51"/>
                    <a:gd name="f85" fmla="*/ f65 1 51"/>
                    <a:gd name="f86" fmla="*/ f66 1 20"/>
                    <a:gd name="f87" fmla="*/ f67 1 51"/>
                    <a:gd name="f88" fmla="*/ f68 1 51"/>
                    <a:gd name="f89" fmla="*/ f69 1 20"/>
                    <a:gd name="f90" fmla="*/ f70 1 51"/>
                    <a:gd name="f91" fmla="*/ f71 1 51"/>
                    <a:gd name="f92" fmla="*/ f72 1 20"/>
                    <a:gd name="f93" fmla="*/ f73 1 51"/>
                    <a:gd name="f94" fmla="*/ 0 1 f53"/>
                    <a:gd name="f95" fmla="*/ f47 1 f53"/>
                    <a:gd name="f96" fmla="*/ 0 1 f54"/>
                    <a:gd name="f97" fmla="*/ f48 1 f54"/>
                    <a:gd name="f98" fmla="*/ f75 1 f53"/>
                    <a:gd name="f99" fmla="*/ f76 1 f54"/>
                    <a:gd name="f100" fmla="*/ f77 1 f53"/>
                    <a:gd name="f101" fmla="*/ f78 1 f54"/>
                    <a:gd name="f102" fmla="*/ f79 1 f53"/>
                    <a:gd name="f103" fmla="*/ f80 1 f54"/>
                    <a:gd name="f104" fmla="*/ f81 1 f53"/>
                    <a:gd name="f105" fmla="*/ f82 1 f54"/>
                    <a:gd name="f106" fmla="*/ f83 1 f53"/>
                    <a:gd name="f107" fmla="*/ f84 1 f54"/>
                    <a:gd name="f108" fmla="*/ f85 1 f54"/>
                    <a:gd name="f109" fmla="*/ f86 1 f53"/>
                    <a:gd name="f110" fmla="*/ f87 1 f54"/>
                    <a:gd name="f111" fmla="*/ f88 1 f54"/>
                    <a:gd name="f112" fmla="*/ f89 1 f53"/>
                    <a:gd name="f113" fmla="*/ f90 1 f54"/>
                    <a:gd name="f114" fmla="*/ f91 1 f54"/>
                    <a:gd name="f115" fmla="*/ f92 1 f53"/>
                    <a:gd name="f116" fmla="*/ f93 1 f54"/>
                    <a:gd name="f117" fmla="*/ f94 f44 1"/>
                    <a:gd name="f118" fmla="*/ f95 f44 1"/>
                    <a:gd name="f119" fmla="*/ f97 f45 1"/>
                    <a:gd name="f120" fmla="*/ f96 f45 1"/>
                    <a:gd name="f121" fmla="*/ f98 f44 1"/>
                    <a:gd name="f122" fmla="*/ f99 f45 1"/>
                    <a:gd name="f123" fmla="*/ f100 f44 1"/>
                    <a:gd name="f124" fmla="*/ f101 f45 1"/>
                    <a:gd name="f125" fmla="*/ f102 f44 1"/>
                    <a:gd name="f126" fmla="*/ f103 f45 1"/>
                    <a:gd name="f127" fmla="*/ f104 f44 1"/>
                    <a:gd name="f128" fmla="*/ f105 f45 1"/>
                    <a:gd name="f129" fmla="*/ f106 f44 1"/>
                    <a:gd name="f130" fmla="*/ f107 f45 1"/>
                    <a:gd name="f131" fmla="*/ f108 f45 1"/>
                    <a:gd name="f132" fmla="*/ f109 f44 1"/>
                    <a:gd name="f133" fmla="*/ f110 f45 1"/>
                    <a:gd name="f134" fmla="*/ f111 f45 1"/>
                    <a:gd name="f135" fmla="*/ f112 f44 1"/>
                    <a:gd name="f136" fmla="*/ f113 f45 1"/>
                    <a:gd name="f137" fmla="*/ f114 f45 1"/>
                    <a:gd name="f138" fmla="*/ f115 f44 1"/>
                    <a:gd name="f139" fmla="*/ f116 f45 1"/>
                  </a:gdLst>
                  <a:ahLst/>
                  <a:cxnLst>
                    <a:cxn ang="3cd4">
                      <a:pos x="hc" y="t"/>
                    </a:cxn>
                    <a:cxn ang="0">
                      <a:pos x="r" y="vc"/>
                    </a:cxn>
                    <a:cxn ang="cd4">
                      <a:pos x="hc" y="b"/>
                    </a:cxn>
                    <a:cxn ang="cd2">
                      <a:pos x="l" y="vc"/>
                    </a:cxn>
                    <a:cxn ang="f74">
                      <a:pos x="f121" y="f122"/>
                    </a:cxn>
                    <a:cxn ang="f74">
                      <a:pos x="f123" y="f124"/>
                    </a:cxn>
                    <a:cxn ang="f74">
                      <a:pos x="f123" y="f124"/>
                    </a:cxn>
                    <a:cxn ang="f74">
                      <a:pos x="f125" y="f126"/>
                    </a:cxn>
                    <a:cxn ang="f74">
                      <a:pos x="f127" y="f128"/>
                    </a:cxn>
                    <a:cxn ang="f74">
                      <a:pos x="f129" y="f130"/>
                    </a:cxn>
                    <a:cxn ang="f74">
                      <a:pos x="f129" y="f131"/>
                    </a:cxn>
                    <a:cxn ang="f74">
                      <a:pos x="f132" y="f133"/>
                    </a:cxn>
                    <a:cxn ang="f74">
                      <a:pos x="f132" y="f134"/>
                    </a:cxn>
                    <a:cxn ang="f74">
                      <a:pos x="f135" y="f136"/>
                    </a:cxn>
                    <a:cxn ang="f74">
                      <a:pos x="f135" y="f137"/>
                    </a:cxn>
                    <a:cxn ang="f74">
                      <a:pos x="f138" y="f139"/>
                    </a:cxn>
                    <a:cxn ang="f74">
                      <a:pos x="f138" y="f139"/>
                    </a:cxn>
                    <a:cxn ang="f74">
                      <a:pos x="f121" y="f122"/>
                    </a:cxn>
                    <a:cxn ang="f74">
                      <a:pos x="f121" y="f122"/>
                    </a:cxn>
                    <a:cxn ang="f74">
                      <a:pos x="f121" y="f122"/>
                    </a:cxn>
                    <a:cxn ang="f74">
                      <a:pos x="f121" y="f122"/>
                    </a:cxn>
                  </a:cxnLst>
                  <a:rect l="f117" t="f120" r="f118" b="f119"/>
                  <a:pathLst>
                    <a:path w="20" h="51">
                      <a:moveTo>
                        <a:pt x="f6" y="f5"/>
                      </a:moveTo>
                      <a:cubicBezTo>
                        <a:pt x="f8" y="f9"/>
                        <a:pt x="f10" y="f11"/>
                        <a:pt x="f5" y="f7"/>
                      </a:cubicBezTo>
                      <a:cubicBezTo>
                        <a:pt x="f5" y="f7"/>
                        <a:pt x="f5" y="f7"/>
                        <a:pt x="f5" y="f7"/>
                      </a:cubicBezTo>
                      <a:cubicBezTo>
                        <a:pt x="f12" y="f13"/>
                        <a:pt x="f12" y="f14"/>
                        <a:pt x="f12" y="f15"/>
                      </a:cubicBezTo>
                      <a:cubicBezTo>
                        <a:pt x="f16" y="f17"/>
                        <a:pt x="f16" y="f18"/>
                        <a:pt x="f16" y="f19"/>
                      </a:cubicBezTo>
                      <a:cubicBezTo>
                        <a:pt x="f20" y="f21"/>
                        <a:pt x="f20" y="f22"/>
                        <a:pt x="f10" y="f23"/>
                      </a:cubicBezTo>
                      <a:cubicBezTo>
                        <a:pt x="f10" y="f23"/>
                        <a:pt x="f10" y="f24"/>
                        <a:pt x="f10" y="f25"/>
                      </a:cubicBezTo>
                      <a:cubicBezTo>
                        <a:pt x="f26" y="f27"/>
                        <a:pt x="f28" y="f29"/>
                        <a:pt x="f30" y="f31"/>
                      </a:cubicBezTo>
                      <a:cubicBezTo>
                        <a:pt x="f30" y="f32"/>
                        <a:pt x="f30" y="f32"/>
                        <a:pt x="f30" y="f33"/>
                      </a:cubicBezTo>
                      <a:cubicBezTo>
                        <a:pt x="f34" y="f35"/>
                        <a:pt x="f36" y="f6"/>
                        <a:pt x="f37" y="f38"/>
                      </a:cubicBezTo>
                      <a:cubicBezTo>
                        <a:pt x="f37" y="f39"/>
                        <a:pt x="f37" y="f39"/>
                        <a:pt x="f37" y="f39"/>
                      </a:cubicBezTo>
                      <a:cubicBezTo>
                        <a:pt x="f40" y="f41"/>
                        <a:pt x="f41" y="f37"/>
                        <a:pt x="f42" y="f34"/>
                      </a:cubicBezTo>
                      <a:cubicBezTo>
                        <a:pt x="f42" y="f34"/>
                        <a:pt x="f42" y="f34"/>
                        <a:pt x="f42" y="f34"/>
                      </a:cubicBezTo>
                      <a:cubicBezTo>
                        <a:pt x="f39" y="f26"/>
                        <a:pt x="f38" y="f20"/>
                        <a:pt x="f6" y="f5"/>
                      </a:cubicBezTo>
                      <a:moveTo>
                        <a:pt x="f6" y="f5"/>
                      </a:moveTo>
                      <a:cubicBezTo>
                        <a:pt x="f6" y="f5"/>
                        <a:pt x="f6" y="f5"/>
                        <a:pt x="f6" y="f5"/>
                      </a:cubicBezTo>
                      <a:cubicBezTo>
                        <a:pt x="f6" y="f5"/>
                        <a:pt x="f6" y="f5"/>
                        <a:pt x="f6" y="f5"/>
                      </a:cubicBez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4" name="Rectangle 14">
                  <a:extLst>
                    <a:ext uri="{FF2B5EF4-FFF2-40B4-BE49-F238E27FC236}">
                      <a16:creationId xmlns:a16="http://schemas.microsoft.com/office/drawing/2014/main" id="{DBAA4A06-9FD8-4C27-B4E6-51A2EF14C6AC}"/>
                    </a:ext>
                  </a:extLst>
                </p:cNvPr>
                <p:cNvSpPr/>
                <p:nvPr/>
              </p:nvSpPr>
              <p:spPr>
                <a:xfrm>
                  <a:off x="2923291" y="4354619"/>
                  <a:ext cx="987552" cy="2138873"/>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5" name="Rectangle 15">
                  <a:extLst>
                    <a:ext uri="{FF2B5EF4-FFF2-40B4-BE49-F238E27FC236}">
                      <a16:creationId xmlns:a16="http://schemas.microsoft.com/office/drawing/2014/main" id="{C109074C-96D3-427A-84D0-22A604E47F4E}"/>
                    </a:ext>
                  </a:extLst>
                </p:cNvPr>
                <p:cNvSpPr/>
                <p:nvPr/>
              </p:nvSpPr>
              <p:spPr>
                <a:xfrm>
                  <a:off x="2923291" y="4354619"/>
                  <a:ext cx="987552" cy="2138873"/>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6" name="Rectangle 16">
                  <a:extLst>
                    <a:ext uri="{FF2B5EF4-FFF2-40B4-BE49-F238E27FC236}">
                      <a16:creationId xmlns:a16="http://schemas.microsoft.com/office/drawing/2014/main" id="{4C3C2493-5A46-473C-8DC7-80960FD361C9}"/>
                    </a:ext>
                  </a:extLst>
                </p:cNvPr>
                <p:cNvSpPr/>
                <p:nvPr/>
              </p:nvSpPr>
              <p:spPr>
                <a:xfrm>
                  <a:off x="3022567" y="5372328"/>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7" name="Rectangle 17">
                  <a:extLst>
                    <a:ext uri="{FF2B5EF4-FFF2-40B4-BE49-F238E27FC236}">
                      <a16:creationId xmlns:a16="http://schemas.microsoft.com/office/drawing/2014/main" id="{E9BEC2CB-378C-4F83-85B3-A359F426D3DD}"/>
                    </a:ext>
                  </a:extLst>
                </p:cNvPr>
                <p:cNvSpPr/>
                <p:nvPr/>
              </p:nvSpPr>
              <p:spPr>
                <a:xfrm>
                  <a:off x="3022567" y="5372328"/>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8" name="Rectangle 18">
                  <a:extLst>
                    <a:ext uri="{FF2B5EF4-FFF2-40B4-BE49-F238E27FC236}">
                      <a16:creationId xmlns:a16="http://schemas.microsoft.com/office/drawing/2014/main" id="{C97E9AEF-4AFF-4A7F-A15C-AAA657FECF81}"/>
                    </a:ext>
                  </a:extLst>
                </p:cNvPr>
                <p:cNvSpPr/>
                <p:nvPr/>
              </p:nvSpPr>
              <p:spPr>
                <a:xfrm>
                  <a:off x="3022567" y="5594893"/>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9" name="Rectangle 19">
                  <a:extLst>
                    <a:ext uri="{FF2B5EF4-FFF2-40B4-BE49-F238E27FC236}">
                      <a16:creationId xmlns:a16="http://schemas.microsoft.com/office/drawing/2014/main" id="{1D8B8E7D-9513-4467-A59B-8FB79D8C7B03}"/>
                    </a:ext>
                  </a:extLst>
                </p:cNvPr>
                <p:cNvSpPr/>
                <p:nvPr/>
              </p:nvSpPr>
              <p:spPr>
                <a:xfrm>
                  <a:off x="3022567" y="5594893"/>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0" name="Rectangle 20">
                  <a:extLst>
                    <a:ext uri="{FF2B5EF4-FFF2-40B4-BE49-F238E27FC236}">
                      <a16:creationId xmlns:a16="http://schemas.microsoft.com/office/drawing/2014/main" id="{D74D30BF-3177-4B54-92A7-7F3DC95CE80D}"/>
                    </a:ext>
                  </a:extLst>
                </p:cNvPr>
                <p:cNvSpPr/>
                <p:nvPr/>
              </p:nvSpPr>
              <p:spPr>
                <a:xfrm>
                  <a:off x="3022567" y="5815364"/>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1" name="Rectangle 21">
                  <a:extLst>
                    <a:ext uri="{FF2B5EF4-FFF2-40B4-BE49-F238E27FC236}">
                      <a16:creationId xmlns:a16="http://schemas.microsoft.com/office/drawing/2014/main" id="{F845637E-7BAD-4E82-BD6D-D98BF557D8A4}"/>
                    </a:ext>
                  </a:extLst>
                </p:cNvPr>
                <p:cNvSpPr/>
                <p:nvPr/>
              </p:nvSpPr>
              <p:spPr>
                <a:xfrm>
                  <a:off x="3022567" y="5815364"/>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2" name="Rectangle 22">
                  <a:extLst>
                    <a:ext uri="{FF2B5EF4-FFF2-40B4-BE49-F238E27FC236}">
                      <a16:creationId xmlns:a16="http://schemas.microsoft.com/office/drawing/2014/main" id="{7F6282D3-7F65-468F-9995-D429E757140C}"/>
                    </a:ext>
                  </a:extLst>
                </p:cNvPr>
                <p:cNvSpPr/>
                <p:nvPr/>
              </p:nvSpPr>
              <p:spPr>
                <a:xfrm>
                  <a:off x="3022567" y="6034783"/>
                  <a:ext cx="794229"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3" name="Rectangle 23">
                  <a:extLst>
                    <a:ext uri="{FF2B5EF4-FFF2-40B4-BE49-F238E27FC236}">
                      <a16:creationId xmlns:a16="http://schemas.microsoft.com/office/drawing/2014/main" id="{A86B06E0-3AC7-4708-B23B-05BA3DD8203F}"/>
                    </a:ext>
                  </a:extLst>
                </p:cNvPr>
                <p:cNvSpPr/>
                <p:nvPr/>
              </p:nvSpPr>
              <p:spPr>
                <a:xfrm>
                  <a:off x="3022567" y="6034783"/>
                  <a:ext cx="794229"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4" name="Rectangle 24">
                  <a:extLst>
                    <a:ext uri="{FF2B5EF4-FFF2-40B4-BE49-F238E27FC236}">
                      <a16:creationId xmlns:a16="http://schemas.microsoft.com/office/drawing/2014/main" id="{C9877978-C20B-4977-BBCA-C35E0BA4F6B7}"/>
                    </a:ext>
                  </a:extLst>
                </p:cNvPr>
                <p:cNvSpPr/>
                <p:nvPr/>
              </p:nvSpPr>
              <p:spPr>
                <a:xfrm>
                  <a:off x="3022567" y="4708830"/>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5" name="Rectangle 25">
                  <a:extLst>
                    <a:ext uri="{FF2B5EF4-FFF2-40B4-BE49-F238E27FC236}">
                      <a16:creationId xmlns:a16="http://schemas.microsoft.com/office/drawing/2014/main" id="{9882E677-3192-413B-AB13-D7CABD84283F}"/>
                    </a:ext>
                  </a:extLst>
                </p:cNvPr>
                <p:cNvSpPr/>
                <p:nvPr/>
              </p:nvSpPr>
              <p:spPr>
                <a:xfrm>
                  <a:off x="3022567" y="4929301"/>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6" name="Rectangle 26">
                  <a:extLst>
                    <a:ext uri="{FF2B5EF4-FFF2-40B4-BE49-F238E27FC236}">
                      <a16:creationId xmlns:a16="http://schemas.microsoft.com/office/drawing/2014/main" id="{412097C7-F722-4B32-A818-42E6141428DC}"/>
                    </a:ext>
                  </a:extLst>
                </p:cNvPr>
                <p:cNvSpPr/>
                <p:nvPr/>
              </p:nvSpPr>
              <p:spPr>
                <a:xfrm>
                  <a:off x="3022567" y="5151857"/>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7" name="Rectangle 27">
                  <a:extLst>
                    <a:ext uri="{FF2B5EF4-FFF2-40B4-BE49-F238E27FC236}">
                      <a16:creationId xmlns:a16="http://schemas.microsoft.com/office/drawing/2014/main" id="{8642A4A4-0918-447A-8BB7-6F1246E7FAF5}"/>
                    </a:ext>
                  </a:extLst>
                </p:cNvPr>
                <p:cNvSpPr/>
                <p:nvPr/>
              </p:nvSpPr>
              <p:spPr>
                <a:xfrm>
                  <a:off x="3022567" y="5151857"/>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8" name="Rectangle 28">
                  <a:extLst>
                    <a:ext uri="{FF2B5EF4-FFF2-40B4-BE49-F238E27FC236}">
                      <a16:creationId xmlns:a16="http://schemas.microsoft.com/office/drawing/2014/main" id="{CB356320-3EC1-4A84-A2C3-3729EF714813}"/>
                    </a:ext>
                  </a:extLst>
                </p:cNvPr>
                <p:cNvSpPr/>
                <p:nvPr/>
              </p:nvSpPr>
              <p:spPr>
                <a:xfrm>
                  <a:off x="3022567" y="4488359"/>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9" name="Freeform 29">
                  <a:extLst>
                    <a:ext uri="{FF2B5EF4-FFF2-40B4-BE49-F238E27FC236}">
                      <a16:creationId xmlns:a16="http://schemas.microsoft.com/office/drawing/2014/main" id="{7D153DD6-DE14-4A9E-A134-F199BEA2DD71}"/>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close/>
                    </a:path>
                  </a:pathLst>
                </a:custGeom>
                <a:solidFill>
                  <a:srgbClr val="737373"/>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0" name="Freeform 30">
                  <a:extLst>
                    <a:ext uri="{FF2B5EF4-FFF2-40B4-BE49-F238E27FC236}">
                      <a16:creationId xmlns:a16="http://schemas.microsoft.com/office/drawing/2014/main" id="{585F0472-12DA-4457-9D04-BF6165365B91}"/>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1" name="Rectangle 31">
                  <a:extLst>
                    <a:ext uri="{FF2B5EF4-FFF2-40B4-BE49-F238E27FC236}">
                      <a16:creationId xmlns:a16="http://schemas.microsoft.com/office/drawing/2014/main" id="{3D316556-00CF-4BB5-AC52-1190E0729F24}"/>
                    </a:ext>
                  </a:extLst>
                </p:cNvPr>
                <p:cNvSpPr/>
                <p:nvPr/>
              </p:nvSpPr>
              <p:spPr>
                <a:xfrm>
                  <a:off x="3022567" y="5372328"/>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2" name="Rectangle 32">
                  <a:extLst>
                    <a:ext uri="{FF2B5EF4-FFF2-40B4-BE49-F238E27FC236}">
                      <a16:creationId xmlns:a16="http://schemas.microsoft.com/office/drawing/2014/main" id="{03B4B2C8-CEC3-4FEF-82AD-AF8E919778B0}"/>
                    </a:ext>
                  </a:extLst>
                </p:cNvPr>
                <p:cNvSpPr/>
                <p:nvPr/>
              </p:nvSpPr>
              <p:spPr>
                <a:xfrm>
                  <a:off x="3022567" y="5372328"/>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3" name="Rectangle 33">
                  <a:extLst>
                    <a:ext uri="{FF2B5EF4-FFF2-40B4-BE49-F238E27FC236}">
                      <a16:creationId xmlns:a16="http://schemas.microsoft.com/office/drawing/2014/main" id="{C0BE910C-9717-4D56-B53C-1ABAE1E3159C}"/>
                    </a:ext>
                  </a:extLst>
                </p:cNvPr>
                <p:cNvSpPr/>
                <p:nvPr/>
              </p:nvSpPr>
              <p:spPr>
                <a:xfrm>
                  <a:off x="3022567" y="5594893"/>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4" name="Rectangle 34">
                  <a:extLst>
                    <a:ext uri="{FF2B5EF4-FFF2-40B4-BE49-F238E27FC236}">
                      <a16:creationId xmlns:a16="http://schemas.microsoft.com/office/drawing/2014/main" id="{C2F13D82-8DA8-4F5C-8B51-061B48FEF8BD}"/>
                    </a:ext>
                  </a:extLst>
                </p:cNvPr>
                <p:cNvSpPr/>
                <p:nvPr/>
              </p:nvSpPr>
              <p:spPr>
                <a:xfrm>
                  <a:off x="3022567" y="5594893"/>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5" name="Rectangle 35">
                  <a:extLst>
                    <a:ext uri="{FF2B5EF4-FFF2-40B4-BE49-F238E27FC236}">
                      <a16:creationId xmlns:a16="http://schemas.microsoft.com/office/drawing/2014/main" id="{5A088853-8AC0-4634-AA91-F358DC6D18B0}"/>
                    </a:ext>
                  </a:extLst>
                </p:cNvPr>
                <p:cNvSpPr/>
                <p:nvPr/>
              </p:nvSpPr>
              <p:spPr>
                <a:xfrm>
                  <a:off x="3022567" y="5815364"/>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6" name="Rectangle 36">
                  <a:extLst>
                    <a:ext uri="{FF2B5EF4-FFF2-40B4-BE49-F238E27FC236}">
                      <a16:creationId xmlns:a16="http://schemas.microsoft.com/office/drawing/2014/main" id="{B5F2233E-0F3B-42FA-B3EC-C7E48F2739C2}"/>
                    </a:ext>
                  </a:extLst>
                </p:cNvPr>
                <p:cNvSpPr/>
                <p:nvPr/>
              </p:nvSpPr>
              <p:spPr>
                <a:xfrm>
                  <a:off x="3022567" y="5815364"/>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7" name="Rectangle 37">
                  <a:extLst>
                    <a:ext uri="{FF2B5EF4-FFF2-40B4-BE49-F238E27FC236}">
                      <a16:creationId xmlns:a16="http://schemas.microsoft.com/office/drawing/2014/main" id="{32C8749E-11F4-421A-A32E-12E0CCC59709}"/>
                    </a:ext>
                  </a:extLst>
                </p:cNvPr>
                <p:cNvSpPr/>
                <p:nvPr/>
              </p:nvSpPr>
              <p:spPr>
                <a:xfrm>
                  <a:off x="3022567" y="6034783"/>
                  <a:ext cx="443090"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8" name="Rectangle 38">
                  <a:extLst>
                    <a:ext uri="{FF2B5EF4-FFF2-40B4-BE49-F238E27FC236}">
                      <a16:creationId xmlns:a16="http://schemas.microsoft.com/office/drawing/2014/main" id="{913B4283-42D5-4FAA-9AF4-A60605234DDD}"/>
                    </a:ext>
                  </a:extLst>
                </p:cNvPr>
                <p:cNvSpPr/>
                <p:nvPr/>
              </p:nvSpPr>
              <p:spPr>
                <a:xfrm>
                  <a:off x="3022567" y="6034783"/>
                  <a:ext cx="443090"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9" name="Rectangle 39">
                  <a:extLst>
                    <a:ext uri="{FF2B5EF4-FFF2-40B4-BE49-F238E27FC236}">
                      <a16:creationId xmlns:a16="http://schemas.microsoft.com/office/drawing/2014/main" id="{5BE17EE6-BB54-44BE-ACF5-44D8F1789455}"/>
                    </a:ext>
                  </a:extLst>
                </p:cNvPr>
                <p:cNvSpPr/>
                <p:nvPr/>
              </p:nvSpPr>
              <p:spPr>
                <a:xfrm>
                  <a:off x="3022567" y="5151857"/>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0" name="Rectangle 40">
                  <a:extLst>
                    <a:ext uri="{FF2B5EF4-FFF2-40B4-BE49-F238E27FC236}">
                      <a16:creationId xmlns:a16="http://schemas.microsoft.com/office/drawing/2014/main" id="{C4BE084C-AC2A-45EC-A6A9-D65D0AE3B4F8}"/>
                    </a:ext>
                  </a:extLst>
                </p:cNvPr>
                <p:cNvSpPr/>
                <p:nvPr/>
              </p:nvSpPr>
              <p:spPr>
                <a:xfrm>
                  <a:off x="3022567" y="5151857"/>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1" name="Rectangle 41">
                  <a:extLst>
                    <a:ext uri="{FF2B5EF4-FFF2-40B4-BE49-F238E27FC236}">
                      <a16:creationId xmlns:a16="http://schemas.microsoft.com/office/drawing/2014/main" id="{B836484E-77B9-426B-BCD2-D0AD6FFF5785}"/>
                    </a:ext>
                  </a:extLst>
                </p:cNvPr>
                <p:cNvSpPr/>
                <p:nvPr/>
              </p:nvSpPr>
              <p:spPr>
                <a:xfrm>
                  <a:off x="2317171" y="5260534"/>
                  <a:ext cx="987552" cy="1232958"/>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2" name="Rectangle 42">
                  <a:extLst>
                    <a:ext uri="{FF2B5EF4-FFF2-40B4-BE49-F238E27FC236}">
                      <a16:creationId xmlns:a16="http://schemas.microsoft.com/office/drawing/2014/main" id="{36005AB9-EE7B-43CB-A132-0ED1BD2BA0D6}"/>
                    </a:ext>
                  </a:extLst>
                </p:cNvPr>
                <p:cNvSpPr/>
                <p:nvPr/>
              </p:nvSpPr>
              <p:spPr>
                <a:xfrm>
                  <a:off x="2859539" y="6242718"/>
                  <a:ext cx="128537"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3" name="Rectangle 43">
                  <a:extLst>
                    <a:ext uri="{FF2B5EF4-FFF2-40B4-BE49-F238E27FC236}">
                      <a16:creationId xmlns:a16="http://schemas.microsoft.com/office/drawing/2014/main" id="{3660BD9D-EE4F-4F6A-B71C-7D81386B0BED}"/>
                    </a:ext>
                  </a:extLst>
                </p:cNvPr>
                <p:cNvSpPr/>
                <p:nvPr/>
              </p:nvSpPr>
              <p:spPr>
                <a:xfrm>
                  <a:off x="2639040" y="6242718"/>
                  <a:ext cx="125400"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4" name="Rectangle 44">
                  <a:extLst>
                    <a:ext uri="{FF2B5EF4-FFF2-40B4-BE49-F238E27FC236}">
                      <a16:creationId xmlns:a16="http://schemas.microsoft.com/office/drawing/2014/main" id="{B0230DA6-7053-4F85-B5CE-21E1882A22AB}"/>
                    </a:ext>
                  </a:extLst>
                </p:cNvPr>
                <p:cNvSpPr/>
                <p:nvPr/>
              </p:nvSpPr>
              <p:spPr>
                <a:xfrm>
                  <a:off x="2415396" y="5372328"/>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5" name="Rectangle 45">
                  <a:extLst>
                    <a:ext uri="{FF2B5EF4-FFF2-40B4-BE49-F238E27FC236}">
                      <a16:creationId xmlns:a16="http://schemas.microsoft.com/office/drawing/2014/main" id="{5A661862-9FA3-4DA6-B2CF-C67946195EBA}"/>
                    </a:ext>
                  </a:extLst>
                </p:cNvPr>
                <p:cNvSpPr/>
                <p:nvPr/>
              </p:nvSpPr>
              <p:spPr>
                <a:xfrm>
                  <a:off x="2415396" y="5594893"/>
                  <a:ext cx="795271"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6" name="Rectangle 46">
                  <a:extLst>
                    <a:ext uri="{FF2B5EF4-FFF2-40B4-BE49-F238E27FC236}">
                      <a16:creationId xmlns:a16="http://schemas.microsoft.com/office/drawing/2014/main" id="{9F8290CA-6211-4932-8745-B212E126D491}"/>
                    </a:ext>
                  </a:extLst>
                </p:cNvPr>
                <p:cNvSpPr/>
                <p:nvPr/>
              </p:nvSpPr>
              <p:spPr>
                <a:xfrm>
                  <a:off x="2415396" y="5815364"/>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7" name="Rectangle 47">
                  <a:extLst>
                    <a:ext uri="{FF2B5EF4-FFF2-40B4-BE49-F238E27FC236}">
                      <a16:creationId xmlns:a16="http://schemas.microsoft.com/office/drawing/2014/main" id="{A13B7624-77BD-473C-B6CB-EDB097E9AB67}"/>
                    </a:ext>
                  </a:extLst>
                </p:cNvPr>
                <p:cNvSpPr/>
                <p:nvPr/>
              </p:nvSpPr>
              <p:spPr>
                <a:xfrm>
                  <a:off x="2415396" y="6034783"/>
                  <a:ext cx="795271"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grpSp>
        </p:grpSp>
        <p:sp>
          <p:nvSpPr>
            <p:cNvPr id="580" name="Text">
              <a:extLst>
                <a:ext uri="{FF2B5EF4-FFF2-40B4-BE49-F238E27FC236}">
                  <a16:creationId xmlns:a16="http://schemas.microsoft.com/office/drawing/2014/main" id="{CFCDC2DF-754A-405E-BF40-80082E2DC6B2}"/>
                </a:ext>
              </a:extLst>
            </p:cNvPr>
            <p:cNvSpPr/>
            <p:nvPr/>
          </p:nvSpPr>
          <p:spPr>
            <a:xfrm>
              <a:off x="-457509" y="5198599"/>
              <a:ext cx="1754672" cy="448501"/>
            </a:xfrm>
            <a:prstGeom prst="rect">
              <a:avLst/>
            </a:prstGeom>
            <a:noFill/>
            <a:ln cap="flat">
              <a:noFill/>
              <a:prstDash val="solid"/>
            </a:ln>
          </p:spPr>
          <p:txBody>
            <a:bodyPr vert="horz" wrap="square" lIns="0" tIns="0" rIns="0" bIns="0" anchor="ctr" anchorCtr="1" compatLnSpc="1">
              <a:noAutofit/>
            </a:bodyPr>
            <a:lstStyle/>
            <a:p>
              <a:pPr marL="0" marR="0" lvl="0" indent="0" algn="r" defTabSz="895664"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568" b="0" i="0" u="none" strike="noStrike" kern="0" cap="none" spc="-48"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On-premises </a:t>
              </a:r>
              <a:br>
                <a:rPr kumimoji="0" lang="en-US" sz="1568" b="0" i="0" u="none" strike="noStrike" kern="0" cap="none" spc="-48"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br>
              <a:r>
                <a:rPr kumimoji="0" lang="en-US" sz="1568" b="0" i="0" u="none" strike="noStrike" kern="0" cap="none" spc="-48"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Private cloud</a:t>
              </a:r>
              <a:endParaRPr kumimoji="0" lang="en-US" sz="1765" b="0" i="0" u="none" strike="noStrike" kern="0" cap="none" spc="-48"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p:txBody>
        </p:sp>
      </p:grpSp>
      <p:sp>
        <p:nvSpPr>
          <p:cNvPr id="652" name="Rectangle 651">
            <a:extLst>
              <a:ext uri="{FF2B5EF4-FFF2-40B4-BE49-F238E27FC236}">
                <a16:creationId xmlns:a16="http://schemas.microsoft.com/office/drawing/2014/main" id="{9E7654FB-A21C-4000-A012-EF00D02DDA01}"/>
              </a:ext>
            </a:extLst>
          </p:cNvPr>
          <p:cNvSpPr/>
          <p:nvPr/>
        </p:nvSpPr>
        <p:spPr bwMode="auto">
          <a:xfrm>
            <a:off x="5443564" y="3105150"/>
            <a:ext cx="1202425" cy="502253"/>
          </a:xfrm>
          <a:prstGeom prst="rect">
            <a:avLst/>
          </a:prstGeom>
          <a:noFill/>
          <a:ln w="10795" cap="flat" cmpd="sng" algn="ctr">
            <a:noFill/>
            <a:prstDash val="solid"/>
            <a:headEnd type="none" w="med" len="med"/>
            <a:tailEnd type="none" w="med" len="med"/>
          </a:ln>
          <a:effectLst/>
        </p:spPr>
        <p:txBody>
          <a:bodyPr lIns="44821" tIns="44821" rIns="44821" bIns="44806"/>
          <a:lstStyle/>
          <a:p>
            <a:pPr marL="0" marR="0" lvl="0" indent="0" algn="ctr" defTabSz="895666" rtl="0" eaLnBrk="1" fontAlgn="base" latinLnBrk="0" hangingPunct="1">
              <a:lnSpc>
                <a:spcPct val="90000"/>
              </a:lnSpc>
              <a:spcBef>
                <a:spcPct val="0"/>
              </a:spcBef>
              <a:spcAft>
                <a:spcPct val="0"/>
              </a:spcAft>
              <a:buClrTx/>
              <a:buSzTx/>
              <a:buFontTx/>
              <a:buNone/>
              <a:tabLst/>
              <a:defRPr/>
            </a:pPr>
            <a:r>
              <a:rPr kumimoji="0" lang="en-US" sz="1470" b="0" i="0" u="none" strike="noStrike" kern="0" cap="none" spc="0" normalizeH="0" baseline="0" noProof="0" dirty="0">
                <a:ln>
                  <a:noFill/>
                </a:ln>
                <a:solidFill>
                  <a:srgbClr val="0078D7"/>
                </a:solidFill>
                <a:effectLst/>
                <a:uLnTx/>
                <a:uFillTx/>
                <a:latin typeface="Segoe UI"/>
                <a:ea typeface="+mn-ea"/>
                <a:cs typeface="+mn-cs"/>
              </a:rPr>
              <a:t>Azure AD</a:t>
            </a:r>
            <a:br>
              <a:rPr kumimoji="0" lang="en-US" sz="1470" b="0" i="0" u="none" strike="noStrike" kern="0" cap="none" spc="0" normalizeH="0" baseline="0" noProof="0" dirty="0">
                <a:ln>
                  <a:noFill/>
                </a:ln>
                <a:solidFill>
                  <a:srgbClr val="0078D7"/>
                </a:solidFill>
                <a:effectLst/>
                <a:uLnTx/>
                <a:uFillTx/>
                <a:latin typeface="Segoe UI"/>
                <a:ea typeface="+mn-ea"/>
                <a:cs typeface="+mn-cs"/>
              </a:rPr>
            </a:br>
            <a:r>
              <a:rPr kumimoji="0" lang="en-US" sz="1470" b="0" i="0" u="none" strike="noStrike" kern="0" cap="none" spc="0" normalizeH="0" baseline="0" noProof="0" dirty="0">
                <a:ln>
                  <a:noFill/>
                </a:ln>
                <a:solidFill>
                  <a:srgbClr val="0078D7"/>
                </a:solidFill>
                <a:effectLst/>
                <a:uLnTx/>
                <a:uFillTx/>
                <a:latin typeface="Segoe UI"/>
                <a:ea typeface="+mn-ea"/>
                <a:cs typeface="+mn-cs"/>
              </a:rPr>
              <a:t>Connect</a:t>
            </a:r>
          </a:p>
        </p:txBody>
      </p:sp>
      <p:sp useBgFill="1">
        <p:nvSpPr>
          <p:cNvPr id="653" name="Freeform 280">
            <a:extLst>
              <a:ext uri="{FF2B5EF4-FFF2-40B4-BE49-F238E27FC236}">
                <a16:creationId xmlns:a16="http://schemas.microsoft.com/office/drawing/2014/main" id="{1BF9B2EA-7126-4B61-8EED-6F46DF5CE41B}"/>
              </a:ext>
            </a:extLst>
          </p:cNvPr>
          <p:cNvSpPr/>
          <p:nvPr/>
        </p:nvSpPr>
        <p:spPr bwMode="auto">
          <a:xfrm>
            <a:off x="2173297" y="2459701"/>
            <a:ext cx="2576109" cy="1435742"/>
          </a:xfrm>
          <a:prstGeom prst="triangle">
            <a:avLst/>
          </a:prstGeom>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54" name="Rectangle 653">
            <a:extLst>
              <a:ext uri="{FF2B5EF4-FFF2-40B4-BE49-F238E27FC236}">
                <a16:creationId xmlns:a16="http://schemas.microsoft.com/office/drawing/2014/main" id="{2E0DAE33-FCAC-4CE9-B145-5ACB4CF6D0C9}"/>
              </a:ext>
            </a:extLst>
          </p:cNvPr>
          <p:cNvSpPr/>
          <p:nvPr/>
        </p:nvSpPr>
        <p:spPr bwMode="auto">
          <a:xfrm>
            <a:off x="2551135" y="3331615"/>
            <a:ext cx="1851086" cy="502253"/>
          </a:xfrm>
          <a:prstGeom prst="rect">
            <a:avLst/>
          </a:prstGeom>
          <a:noFill/>
          <a:ln w="10795" cap="flat" cmpd="sng" algn="ctr">
            <a:noFill/>
            <a:prstDash val="solid"/>
            <a:headEnd type="none" w="med" len="med"/>
            <a:tailEnd type="none" w="med" len="med"/>
          </a:ln>
          <a:effectLst/>
        </p:spPr>
        <p:txBody>
          <a:bodyPr lIns="44821" tIns="44821" rIns="44821" bIns="44806"/>
          <a:lstStyle/>
          <a:p>
            <a:pPr marL="0" marR="0" lvl="0" indent="0" algn="ctr" defTabSz="895666" rtl="0" eaLnBrk="1" fontAlgn="base" latinLnBrk="0" hangingPunct="1">
              <a:lnSpc>
                <a:spcPct val="90000"/>
              </a:lnSpc>
              <a:spcBef>
                <a:spcPct val="0"/>
              </a:spcBef>
              <a:spcAft>
                <a:spcPct val="0"/>
              </a:spcAft>
              <a:buClrTx/>
              <a:buSzTx/>
              <a:buFontTx/>
              <a:buNone/>
              <a:tabLst/>
              <a:defRPr/>
            </a:pPr>
            <a:r>
              <a:rPr kumimoji="0" lang="en-US" sz="1470" b="0" i="0" u="none" strike="noStrike" kern="0" cap="none" spc="0" normalizeH="0" baseline="0" noProof="0" dirty="0">
                <a:ln>
                  <a:noFill/>
                </a:ln>
                <a:solidFill>
                  <a:srgbClr val="0078D7"/>
                </a:solidFill>
                <a:effectLst/>
                <a:uLnTx/>
                <a:uFillTx/>
                <a:latin typeface="Segoe UI"/>
                <a:ea typeface="+mn-ea"/>
                <a:cs typeface="+mn-cs"/>
              </a:rPr>
              <a:t>Windows Server</a:t>
            </a:r>
            <a:br>
              <a:rPr kumimoji="0" lang="en-US" sz="1470" b="0" i="0" u="none" strike="noStrike" kern="0" cap="none" spc="0" normalizeH="0" baseline="0" noProof="0" dirty="0">
                <a:ln>
                  <a:noFill/>
                </a:ln>
                <a:solidFill>
                  <a:srgbClr val="0078D7"/>
                </a:solidFill>
                <a:effectLst/>
                <a:uLnTx/>
                <a:uFillTx/>
                <a:latin typeface="Segoe UI"/>
                <a:ea typeface="+mn-ea"/>
                <a:cs typeface="+mn-cs"/>
              </a:rPr>
            </a:br>
            <a:r>
              <a:rPr kumimoji="0" lang="en-US" sz="1470" b="0" i="0" u="none" strike="noStrike" kern="0" cap="none" spc="0" normalizeH="0" baseline="0" noProof="0" dirty="0">
                <a:ln>
                  <a:noFill/>
                </a:ln>
                <a:solidFill>
                  <a:srgbClr val="0078D7"/>
                </a:solidFill>
                <a:effectLst/>
                <a:uLnTx/>
                <a:uFillTx/>
                <a:latin typeface="Segoe UI"/>
                <a:ea typeface="+mn-ea"/>
                <a:cs typeface="+mn-cs"/>
              </a:rPr>
              <a:t>Active Directory</a:t>
            </a:r>
          </a:p>
        </p:txBody>
      </p:sp>
      <p:grpSp>
        <p:nvGrpSpPr>
          <p:cNvPr id="655" name="Group 654">
            <a:extLst>
              <a:ext uri="{FF2B5EF4-FFF2-40B4-BE49-F238E27FC236}">
                <a16:creationId xmlns:a16="http://schemas.microsoft.com/office/drawing/2014/main" id="{B5EF961D-A8F4-4BB3-BEA4-63BE8898CB63}"/>
              </a:ext>
            </a:extLst>
          </p:cNvPr>
          <p:cNvGrpSpPr/>
          <p:nvPr/>
        </p:nvGrpSpPr>
        <p:grpSpPr>
          <a:xfrm>
            <a:off x="8104222" y="2300295"/>
            <a:ext cx="2625517" cy="1729997"/>
            <a:chOff x="8221854" y="2345924"/>
            <a:chExt cx="2678164" cy="1764687"/>
          </a:xfrm>
        </p:grpSpPr>
        <p:grpSp>
          <p:nvGrpSpPr>
            <p:cNvPr id="656" name="Group 655">
              <a:extLst>
                <a:ext uri="{FF2B5EF4-FFF2-40B4-BE49-F238E27FC236}">
                  <a16:creationId xmlns:a16="http://schemas.microsoft.com/office/drawing/2014/main" id="{6BE8CAB5-BC32-4103-BF9A-0DEAE1F66827}"/>
                </a:ext>
              </a:extLst>
            </p:cNvPr>
            <p:cNvGrpSpPr/>
            <p:nvPr/>
          </p:nvGrpSpPr>
          <p:grpSpPr>
            <a:xfrm>
              <a:off x="9082361" y="3053058"/>
              <a:ext cx="731520" cy="731520"/>
              <a:chOff x="10364398" y="5364554"/>
              <a:chExt cx="731520" cy="731520"/>
            </a:xfrm>
          </p:grpSpPr>
          <p:sp>
            <p:nvSpPr>
              <p:cNvPr id="668" name="Oval 667">
                <a:extLst>
                  <a:ext uri="{FF2B5EF4-FFF2-40B4-BE49-F238E27FC236}">
                    <a16:creationId xmlns:a16="http://schemas.microsoft.com/office/drawing/2014/main" id="{89F86917-6B61-4E3A-86B2-1963B07A45EA}"/>
                  </a:ext>
                </a:extLst>
              </p:cNvPr>
              <p:cNvSpPr/>
              <p:nvPr/>
            </p:nvSpPr>
            <p:spPr bwMode="auto">
              <a:xfrm>
                <a:off x="10364398" y="5364554"/>
                <a:ext cx="731520" cy="731520"/>
              </a:xfrm>
              <a:prstGeom prst="ellipse">
                <a:avLst/>
              </a:prstGeom>
              <a:solidFill>
                <a:srgbClr val="FFFFFF"/>
              </a:solidFill>
              <a:ln w="6350" cap="flat" cmpd="sng" algn="ctr">
                <a:solidFill>
                  <a:srgbClr val="0078D7"/>
                </a:solidFill>
                <a:prstDash val="solid"/>
                <a:headEnd type="none" w="med" len="med"/>
                <a:tailEnd type="none" w="med" len="med"/>
              </a:ln>
              <a:effectLst/>
            </p:spPr>
            <p:txBody>
              <a:bodyPr lIns="0" tIns="44808" rIns="0" bIns="44808" anchor="ctr"/>
              <a:lstStyle/>
              <a:p>
                <a:pPr marL="0" marR="0" lvl="0" indent="0" algn="ctr" defTabSz="895750"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9" name="Fingerprint_E928">
                <a:extLst>
                  <a:ext uri="{FF2B5EF4-FFF2-40B4-BE49-F238E27FC236}">
                    <a16:creationId xmlns:a16="http://schemas.microsoft.com/office/drawing/2014/main" id="{19A82E79-2274-41EA-9B4B-9570FABE10C6}"/>
                  </a:ext>
                </a:extLst>
              </p:cNvPr>
              <p:cNvSpPr>
                <a:spLocks noChangeAspect="1" noEditPoints="1"/>
              </p:cNvSpPr>
              <p:nvPr/>
            </p:nvSpPr>
            <p:spPr bwMode="auto">
              <a:xfrm>
                <a:off x="10594169" y="5547434"/>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657" name="Group 656">
              <a:extLst>
                <a:ext uri="{FF2B5EF4-FFF2-40B4-BE49-F238E27FC236}">
                  <a16:creationId xmlns:a16="http://schemas.microsoft.com/office/drawing/2014/main" id="{5AD4A32C-32A9-44BC-B278-9FE96E4948DA}"/>
                </a:ext>
              </a:extLst>
            </p:cNvPr>
            <p:cNvGrpSpPr/>
            <p:nvPr/>
          </p:nvGrpSpPr>
          <p:grpSpPr>
            <a:xfrm>
              <a:off x="8352746" y="2960951"/>
              <a:ext cx="731520" cy="731520"/>
              <a:chOff x="7979921" y="2644225"/>
              <a:chExt cx="719847" cy="719845"/>
            </a:xfrm>
          </p:grpSpPr>
          <p:sp>
            <p:nvSpPr>
              <p:cNvPr id="666" name="Oval 665">
                <a:extLst>
                  <a:ext uri="{FF2B5EF4-FFF2-40B4-BE49-F238E27FC236}">
                    <a16:creationId xmlns:a16="http://schemas.microsoft.com/office/drawing/2014/main" id="{3606CB93-BE6F-417D-9FD5-5785F13F3FAA}"/>
                  </a:ext>
                </a:extLst>
              </p:cNvPr>
              <p:cNvSpPr/>
              <p:nvPr/>
            </p:nvSpPr>
            <p:spPr bwMode="auto">
              <a:xfrm>
                <a:off x="7979921" y="2644225"/>
                <a:ext cx="719847" cy="719845"/>
              </a:xfrm>
              <a:prstGeom prst="ellipse">
                <a:avLst/>
              </a:prstGeom>
              <a:solidFill>
                <a:srgbClr val="FFFFFF"/>
              </a:solidFill>
              <a:ln w="6350" cap="flat" cmpd="sng" algn="ctr">
                <a:solidFill>
                  <a:srgbClr val="0078D7"/>
                </a:solidFill>
                <a:prstDash val="solid"/>
                <a:headEnd type="none" w="med" len="med"/>
                <a:tailEnd type="none" w="med" len="med"/>
              </a:ln>
              <a:effectLst/>
            </p:spPr>
            <p:txBody>
              <a:bodyPr lIns="0" tIns="44808" rIns="0" bIns="44808" anchor="ctr"/>
              <a:lstStyle/>
              <a:p>
                <a:pPr marL="0" marR="0" lvl="0" indent="0" algn="ctr" defTabSz="895750"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7" name="key">
                <a:extLst>
                  <a:ext uri="{FF2B5EF4-FFF2-40B4-BE49-F238E27FC236}">
                    <a16:creationId xmlns:a16="http://schemas.microsoft.com/office/drawing/2014/main" id="{A89D1417-2130-48DF-896D-74AD7CABF490}"/>
                  </a:ext>
                </a:extLst>
              </p:cNvPr>
              <p:cNvSpPr>
                <a:spLocks noChangeAspect="1" noEditPoints="1"/>
              </p:cNvSpPr>
              <p:nvPr/>
            </p:nvSpPr>
            <p:spPr bwMode="auto">
              <a:xfrm>
                <a:off x="8156021" y="2821267"/>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658" name="Rectangle 657">
              <a:extLst>
                <a:ext uri="{FF2B5EF4-FFF2-40B4-BE49-F238E27FC236}">
                  <a16:creationId xmlns:a16="http://schemas.microsoft.com/office/drawing/2014/main" id="{F27EB967-835D-4DB6-8F21-B3BDCE0B6CDE}"/>
                </a:ext>
              </a:extLst>
            </p:cNvPr>
            <p:cNvSpPr/>
            <p:nvPr/>
          </p:nvSpPr>
          <p:spPr bwMode="auto">
            <a:xfrm>
              <a:off x="9746574" y="2789954"/>
              <a:ext cx="1153444" cy="753929"/>
            </a:xfrm>
            <a:prstGeom prst="rect">
              <a:avLst/>
            </a:prstGeom>
            <a:noFill/>
            <a:ln w="10795" cap="flat" cmpd="sng" algn="ctr">
              <a:noFill/>
              <a:prstDash val="solid"/>
              <a:headEnd type="none" w="med" len="med"/>
              <a:tailEnd type="none" w="med" len="med"/>
            </a:ln>
            <a:effectLst/>
          </p:spPr>
          <p:txBody>
            <a:bodyPr lIns="175702" tIns="175702" rIns="0" bIns="44806"/>
            <a:lstStyle/>
            <a:p>
              <a:pPr marL="0" marR="0" lvl="0" indent="0" algn="l" defTabSz="895666" rtl="0" eaLnBrk="1" fontAlgn="base" latinLnBrk="0" hangingPunct="1">
                <a:lnSpc>
                  <a:spcPct val="90000"/>
                </a:lnSpc>
                <a:spcBef>
                  <a:spcPct val="0"/>
                </a:spcBef>
                <a:spcAft>
                  <a:spcPct val="0"/>
                </a:spcAft>
                <a:buClrTx/>
                <a:buSzTx/>
                <a:buFontTx/>
                <a:buNone/>
                <a:tabLst/>
                <a:defRPr/>
              </a:pPr>
              <a:r>
                <a:rPr kumimoji="0" lang="en-US" sz="1470" b="0" i="0" u="none" strike="noStrike" kern="0" cap="none" spc="0" normalizeH="0" baseline="0" noProof="0" dirty="0">
                  <a:ln>
                    <a:noFill/>
                  </a:ln>
                  <a:solidFill>
                    <a:srgbClr val="0078D7"/>
                  </a:solidFill>
                  <a:effectLst/>
                  <a:uLnTx/>
                  <a:uFillTx/>
                  <a:latin typeface="Segoe UI"/>
                  <a:ea typeface="+mn-ea"/>
                  <a:cs typeface="+mn-cs"/>
                </a:rPr>
                <a:t>Self</a:t>
              </a:r>
              <a:br>
                <a:rPr kumimoji="0" lang="en-US" sz="1470" b="0" i="0" u="none" strike="noStrike" kern="0" cap="none" spc="0" normalizeH="0" baseline="0" noProof="0" dirty="0">
                  <a:ln>
                    <a:noFill/>
                  </a:ln>
                  <a:solidFill>
                    <a:srgbClr val="0078D7"/>
                  </a:solidFill>
                  <a:effectLst/>
                  <a:uLnTx/>
                  <a:uFillTx/>
                  <a:latin typeface="Segoe UI"/>
                  <a:ea typeface="+mn-ea"/>
                  <a:cs typeface="+mn-cs"/>
                </a:rPr>
              </a:br>
              <a:r>
                <a:rPr kumimoji="0" lang="en-US" sz="1470" b="0" i="0" u="none" strike="noStrike" kern="0" cap="none" spc="0" normalizeH="0" baseline="0" noProof="0" dirty="0">
                  <a:ln>
                    <a:noFill/>
                  </a:ln>
                  <a:solidFill>
                    <a:srgbClr val="0078D7"/>
                  </a:solidFill>
                  <a:effectLst/>
                  <a:uLnTx/>
                  <a:uFillTx/>
                  <a:latin typeface="Segoe UI"/>
                  <a:ea typeface="+mn-ea"/>
                  <a:cs typeface="+mn-cs"/>
                </a:rPr>
                <a:t>Service</a:t>
              </a:r>
            </a:p>
          </p:txBody>
        </p:sp>
        <p:sp>
          <p:nvSpPr>
            <p:cNvPr id="659" name="Rectangle 658">
              <a:extLst>
                <a:ext uri="{FF2B5EF4-FFF2-40B4-BE49-F238E27FC236}">
                  <a16:creationId xmlns:a16="http://schemas.microsoft.com/office/drawing/2014/main" id="{EB6565D3-4AF1-424D-AC69-F8916BEB3CE3}"/>
                </a:ext>
              </a:extLst>
            </p:cNvPr>
            <p:cNvSpPr/>
            <p:nvPr/>
          </p:nvSpPr>
          <p:spPr bwMode="auto">
            <a:xfrm>
              <a:off x="9083502" y="2716215"/>
              <a:ext cx="713590" cy="341820"/>
            </a:xfrm>
            <a:prstGeom prst="rect">
              <a:avLst/>
            </a:prstGeom>
            <a:noFill/>
            <a:ln w="10795" cap="flat" cmpd="sng" algn="ctr">
              <a:noFill/>
              <a:prstDash val="solid"/>
              <a:headEnd type="none" w="med" len="med"/>
              <a:tailEnd type="none" w="med" len="med"/>
            </a:ln>
            <a:effectLst/>
          </p:spPr>
          <p:txBody>
            <a:bodyPr lIns="89642" tIns="89642" rIns="89642" bIns="44806"/>
            <a:lstStyle/>
            <a:p>
              <a:pPr marL="0" marR="0" lvl="0" indent="0" algn="ctr" defTabSz="895666" rtl="0" eaLnBrk="1" fontAlgn="base" latinLnBrk="0" hangingPunct="1">
                <a:lnSpc>
                  <a:spcPct val="90000"/>
                </a:lnSpc>
                <a:spcBef>
                  <a:spcPct val="0"/>
                </a:spcBef>
                <a:spcAft>
                  <a:spcPct val="0"/>
                </a:spcAft>
                <a:buClrTx/>
                <a:buSzTx/>
                <a:buFontTx/>
                <a:buNone/>
                <a:tabLst/>
                <a:defRPr/>
              </a:pPr>
              <a:r>
                <a:rPr kumimoji="0" lang="en-US" sz="1470" b="0" i="0" u="none" strike="noStrike" kern="0" cap="none" spc="0" normalizeH="0" baseline="0" noProof="0" dirty="0">
                  <a:ln>
                    <a:noFill/>
                  </a:ln>
                  <a:solidFill>
                    <a:srgbClr val="0078D7"/>
                  </a:solidFill>
                  <a:effectLst/>
                  <a:uLnTx/>
                  <a:uFillTx/>
                  <a:latin typeface="Segoe UI"/>
                  <a:ea typeface="+mn-ea"/>
                  <a:cs typeface="+mn-cs"/>
                </a:rPr>
                <a:t>MFA</a:t>
              </a:r>
            </a:p>
          </p:txBody>
        </p:sp>
        <p:sp>
          <p:nvSpPr>
            <p:cNvPr id="660" name="Rectangle 659">
              <a:extLst>
                <a:ext uri="{FF2B5EF4-FFF2-40B4-BE49-F238E27FC236}">
                  <a16:creationId xmlns:a16="http://schemas.microsoft.com/office/drawing/2014/main" id="{06913295-2B97-42AD-972F-8F4FE2A98524}"/>
                </a:ext>
              </a:extLst>
            </p:cNvPr>
            <p:cNvSpPr/>
            <p:nvPr/>
          </p:nvSpPr>
          <p:spPr bwMode="auto">
            <a:xfrm>
              <a:off x="8221854" y="2345924"/>
              <a:ext cx="1153444" cy="753929"/>
            </a:xfrm>
            <a:prstGeom prst="rect">
              <a:avLst/>
            </a:prstGeom>
            <a:noFill/>
            <a:ln w="10795" cap="flat" cmpd="sng" algn="ctr">
              <a:noFill/>
              <a:prstDash val="solid"/>
              <a:headEnd type="none" w="med" len="med"/>
              <a:tailEnd type="none" w="med" len="med"/>
            </a:ln>
            <a:effectLst/>
          </p:spPr>
          <p:txBody>
            <a:bodyPr lIns="175702" tIns="175702" rIns="0" bIns="44806"/>
            <a:lstStyle/>
            <a:p>
              <a:pPr marL="0" marR="0" lvl="0" indent="0" algn="l" defTabSz="895666" rtl="0" eaLnBrk="1" fontAlgn="base" latinLnBrk="0" hangingPunct="1">
                <a:lnSpc>
                  <a:spcPct val="90000"/>
                </a:lnSpc>
                <a:spcBef>
                  <a:spcPct val="0"/>
                </a:spcBef>
                <a:spcAft>
                  <a:spcPct val="0"/>
                </a:spcAft>
                <a:buClrTx/>
                <a:buSzTx/>
                <a:buFontTx/>
                <a:buNone/>
                <a:tabLst/>
                <a:defRPr/>
              </a:pPr>
              <a:r>
                <a:rPr kumimoji="0" lang="en-US" sz="1470" b="0" i="0" u="none" strike="noStrike" kern="0" cap="none" spc="0" normalizeH="0" baseline="0" noProof="0" dirty="0">
                  <a:ln>
                    <a:noFill/>
                  </a:ln>
                  <a:solidFill>
                    <a:srgbClr val="0078D7"/>
                  </a:solidFill>
                  <a:effectLst/>
                  <a:uLnTx/>
                  <a:uFillTx/>
                  <a:latin typeface="Segoe UI"/>
                  <a:ea typeface="+mn-ea"/>
                  <a:cs typeface="+mn-cs"/>
                </a:rPr>
                <a:t>Single</a:t>
              </a:r>
              <a:br>
                <a:rPr kumimoji="0" lang="en-US" sz="1470" b="0" i="0" u="none" strike="noStrike" kern="0" cap="none" spc="0" normalizeH="0" baseline="0" noProof="0" dirty="0">
                  <a:ln>
                    <a:noFill/>
                  </a:ln>
                  <a:solidFill>
                    <a:srgbClr val="0078D7"/>
                  </a:solidFill>
                  <a:effectLst/>
                  <a:uLnTx/>
                  <a:uFillTx/>
                  <a:latin typeface="Segoe UI"/>
                  <a:ea typeface="+mn-ea"/>
                  <a:cs typeface="+mn-cs"/>
                </a:rPr>
              </a:br>
              <a:r>
                <a:rPr kumimoji="0" lang="en-US" sz="1470" b="0" i="0" u="none" strike="noStrike" kern="0" cap="none" spc="0" normalizeH="0" baseline="0" noProof="0" dirty="0">
                  <a:ln>
                    <a:noFill/>
                  </a:ln>
                  <a:solidFill>
                    <a:srgbClr val="0078D7"/>
                  </a:solidFill>
                  <a:effectLst/>
                  <a:uLnTx/>
                  <a:uFillTx/>
                  <a:latin typeface="Segoe UI"/>
                  <a:ea typeface="+mn-ea"/>
                  <a:cs typeface="+mn-cs"/>
                </a:rPr>
                <a:t>sign-on</a:t>
              </a:r>
            </a:p>
          </p:txBody>
        </p:sp>
        <p:grpSp>
          <p:nvGrpSpPr>
            <p:cNvPr id="661" name="Group 660">
              <a:extLst>
                <a:ext uri="{FF2B5EF4-FFF2-40B4-BE49-F238E27FC236}">
                  <a16:creationId xmlns:a16="http://schemas.microsoft.com/office/drawing/2014/main" id="{510118BF-ECD4-4109-A2A2-2B8F49E36121}"/>
                </a:ext>
              </a:extLst>
            </p:cNvPr>
            <p:cNvGrpSpPr/>
            <p:nvPr/>
          </p:nvGrpSpPr>
          <p:grpSpPr>
            <a:xfrm>
              <a:off x="9739661" y="3379091"/>
              <a:ext cx="731520" cy="731520"/>
              <a:chOff x="9461067" y="3049853"/>
              <a:chExt cx="731520" cy="731520"/>
            </a:xfrm>
          </p:grpSpPr>
          <p:sp>
            <p:nvSpPr>
              <p:cNvPr id="662" name="Oval 661">
                <a:extLst>
                  <a:ext uri="{FF2B5EF4-FFF2-40B4-BE49-F238E27FC236}">
                    <a16:creationId xmlns:a16="http://schemas.microsoft.com/office/drawing/2014/main" id="{618FD0C6-F37C-4120-946A-5E993F7287C4}"/>
                  </a:ext>
                </a:extLst>
              </p:cNvPr>
              <p:cNvSpPr/>
              <p:nvPr/>
            </p:nvSpPr>
            <p:spPr bwMode="auto">
              <a:xfrm>
                <a:off x="9461067" y="3049853"/>
                <a:ext cx="731520" cy="731520"/>
              </a:xfrm>
              <a:prstGeom prst="ellipse">
                <a:avLst/>
              </a:prstGeom>
              <a:solidFill>
                <a:srgbClr val="FFFFFF"/>
              </a:solidFill>
              <a:ln w="6350" cap="flat" cmpd="sng" algn="ctr">
                <a:solidFill>
                  <a:srgbClr val="0078D7"/>
                </a:solidFill>
                <a:prstDash val="solid"/>
                <a:headEnd type="none" w="med" len="med"/>
                <a:tailEnd type="none" w="med" len="med"/>
              </a:ln>
              <a:effectLst/>
            </p:spPr>
            <p:txBody>
              <a:bodyPr lIns="0" tIns="44808" rIns="0" bIns="44808" anchor="ctr"/>
              <a:lstStyle/>
              <a:p>
                <a:pPr marL="0" marR="0" lvl="0" indent="0" algn="ctr" defTabSz="895750"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63" name="Group 662">
                <a:extLst>
                  <a:ext uri="{FF2B5EF4-FFF2-40B4-BE49-F238E27FC236}">
                    <a16:creationId xmlns:a16="http://schemas.microsoft.com/office/drawing/2014/main" id="{D3609EB3-10A6-44A6-BCFD-B569E75E4D1D}"/>
                  </a:ext>
                </a:extLst>
              </p:cNvPr>
              <p:cNvGrpSpPr/>
              <p:nvPr/>
            </p:nvGrpSpPr>
            <p:grpSpPr>
              <a:xfrm>
                <a:off x="9676771" y="3159995"/>
                <a:ext cx="327161" cy="482673"/>
                <a:chOff x="1639294" y="1488795"/>
                <a:chExt cx="327161" cy="482673"/>
              </a:xfrm>
            </p:grpSpPr>
            <p:sp>
              <p:nvSpPr>
                <p:cNvPr id="664" name="people_4">
                  <a:extLst>
                    <a:ext uri="{FF2B5EF4-FFF2-40B4-BE49-F238E27FC236}">
                      <a16:creationId xmlns:a16="http://schemas.microsoft.com/office/drawing/2014/main" id="{9623E077-1A8E-48C0-B5B8-0274BF9F77D4}"/>
                    </a:ext>
                  </a:extLst>
                </p:cNvPr>
                <p:cNvSpPr>
                  <a:spLocks noChangeAspect="1" noEditPoints="1"/>
                </p:cNvSpPr>
                <p:nvPr/>
              </p:nvSpPr>
              <p:spPr bwMode="auto">
                <a:xfrm>
                  <a:off x="1639294" y="1488795"/>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665" name="Freeform 96">
                  <a:extLst>
                    <a:ext uri="{FF2B5EF4-FFF2-40B4-BE49-F238E27FC236}">
                      <a16:creationId xmlns:a16="http://schemas.microsoft.com/office/drawing/2014/main" id="{14858D37-1F75-4416-8C3E-6232CB105003}"/>
                    </a:ext>
                  </a:extLst>
                </p:cNvPr>
                <p:cNvSpPr>
                  <a:spLocks noChangeAspect="1" noEditPoints="1"/>
                </p:cNvSpPr>
                <p:nvPr/>
              </p:nvSpPr>
              <p:spPr bwMode="auto">
                <a:xfrm>
                  <a:off x="1707383" y="1759372"/>
                  <a:ext cx="230349" cy="21209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952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pic>
        <p:nvPicPr>
          <p:cNvPr id="670" name="Picture 669">
            <a:extLst>
              <a:ext uri="{FF2B5EF4-FFF2-40B4-BE49-F238E27FC236}">
                <a16:creationId xmlns:a16="http://schemas.microsoft.com/office/drawing/2014/main" id="{C1757106-2601-40E8-9E57-3867229B0E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3337" y="2583915"/>
            <a:ext cx="966683" cy="639917"/>
          </a:xfrm>
          <a:prstGeom prst="rect">
            <a:avLst/>
          </a:prstGeom>
        </p:spPr>
      </p:pic>
      <p:grpSp>
        <p:nvGrpSpPr>
          <p:cNvPr id="671" name="Group 670">
            <a:extLst>
              <a:ext uri="{FF2B5EF4-FFF2-40B4-BE49-F238E27FC236}">
                <a16:creationId xmlns:a16="http://schemas.microsoft.com/office/drawing/2014/main" id="{25AD4C7E-3C4C-4BCC-AA78-5306D40D6CAD}"/>
              </a:ext>
            </a:extLst>
          </p:cNvPr>
          <p:cNvGrpSpPr/>
          <p:nvPr/>
        </p:nvGrpSpPr>
        <p:grpSpPr>
          <a:xfrm>
            <a:off x="7185192" y="3513616"/>
            <a:ext cx="2556763" cy="1602958"/>
            <a:chOff x="4887885" y="2663200"/>
            <a:chExt cx="2660704" cy="1668125"/>
          </a:xfrm>
        </p:grpSpPr>
        <p:grpSp>
          <p:nvGrpSpPr>
            <p:cNvPr id="672" name="Group 671">
              <a:extLst>
                <a:ext uri="{FF2B5EF4-FFF2-40B4-BE49-F238E27FC236}">
                  <a16:creationId xmlns:a16="http://schemas.microsoft.com/office/drawing/2014/main" id="{A0252B08-F6DA-4DB5-8FB2-A272BC821645}"/>
                </a:ext>
              </a:extLst>
            </p:cNvPr>
            <p:cNvGrpSpPr/>
            <p:nvPr/>
          </p:nvGrpSpPr>
          <p:grpSpPr>
            <a:xfrm>
              <a:off x="4887885" y="2663200"/>
              <a:ext cx="2660704" cy="1668125"/>
              <a:chOff x="4931021" y="2660526"/>
              <a:chExt cx="2660704" cy="1668125"/>
            </a:xfrm>
          </p:grpSpPr>
          <p:sp>
            <p:nvSpPr>
              <p:cNvPr id="674" name="Freeform 5">
                <a:extLst>
                  <a:ext uri="{FF2B5EF4-FFF2-40B4-BE49-F238E27FC236}">
                    <a16:creationId xmlns:a16="http://schemas.microsoft.com/office/drawing/2014/main" id="{0D9946C5-21C3-4826-8BF4-2D26A80C89F5}"/>
                  </a:ext>
                </a:extLst>
              </p:cNvPr>
              <p:cNvSpPr/>
              <p:nvPr/>
            </p:nvSpPr>
            <p:spPr>
              <a:xfrm>
                <a:off x="4983684" y="2660526"/>
                <a:ext cx="2608041" cy="1668125"/>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chemeClr val="bg2">
                  <a:lumMod val="90000"/>
                </a:schemeClr>
              </a:solidFill>
              <a:ln w="15873" cap="flat">
                <a:noFill/>
                <a:prstDash val="solid"/>
              </a:ln>
            </p:spPr>
            <p:txBody>
              <a:bodyPr vert="horz" wrap="square" lIns="87868" tIns="43933" rIns="87868" bIns="43933"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mn-ea"/>
                  <a:cs typeface="+mn-cs"/>
                </a:endParaRPr>
              </a:p>
            </p:txBody>
          </p:sp>
          <p:sp>
            <p:nvSpPr>
              <p:cNvPr id="675" name="Freeform 5">
                <a:extLst>
                  <a:ext uri="{FF2B5EF4-FFF2-40B4-BE49-F238E27FC236}">
                    <a16:creationId xmlns:a16="http://schemas.microsoft.com/office/drawing/2014/main" id="{4CE0DA9E-0B4C-4D1A-8CE8-F9C1951C3559}"/>
                  </a:ext>
                </a:extLst>
              </p:cNvPr>
              <p:cNvSpPr/>
              <p:nvPr/>
            </p:nvSpPr>
            <p:spPr>
              <a:xfrm>
                <a:off x="4931021" y="2716939"/>
                <a:ext cx="2574432" cy="1560646"/>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FFFFFF"/>
              </a:solidFill>
              <a:ln w="15873" cap="flat">
                <a:noFill/>
                <a:prstDash val="solid"/>
              </a:ln>
            </p:spPr>
            <p:txBody>
              <a:bodyPr vert="horz" wrap="square" lIns="87868" tIns="43933" rIns="87868" bIns="43933"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mn-ea"/>
                  <a:cs typeface="+mn-cs"/>
                </a:endParaRPr>
              </a:p>
            </p:txBody>
          </p:sp>
        </p:grpSp>
        <p:sp>
          <p:nvSpPr>
            <p:cNvPr id="673" name="Freeform: Shape 1817">
              <a:extLst>
                <a:ext uri="{FF2B5EF4-FFF2-40B4-BE49-F238E27FC236}">
                  <a16:creationId xmlns:a16="http://schemas.microsoft.com/office/drawing/2014/main" id="{7ADDEAA2-A381-48A8-80D5-751F85D103BF}"/>
                </a:ext>
              </a:extLst>
            </p:cNvPr>
            <p:cNvSpPr/>
            <p:nvPr/>
          </p:nvSpPr>
          <p:spPr>
            <a:xfrm flipV="1">
              <a:off x="5799146" y="2773153"/>
              <a:ext cx="838183" cy="864526"/>
            </a:xfrm>
            <a:custGeom>
              <a:avLst/>
              <a:gdLst>
                <a:gd name="f0" fmla="val 10800000"/>
                <a:gd name="f1" fmla="val 5400000"/>
                <a:gd name="f2" fmla="val 180"/>
                <a:gd name="f3" fmla="val w"/>
                <a:gd name="f4" fmla="val h"/>
                <a:gd name="f5" fmla="val 0"/>
                <a:gd name="f6" fmla="val 7802051"/>
                <a:gd name="f7" fmla="val 7751588"/>
                <a:gd name="f8" fmla="val 3669750"/>
                <a:gd name="f9" fmla="val 4921020"/>
                <a:gd name="f10" fmla="val 3676808"/>
                <a:gd name="f11" fmla="val 4917189"/>
                <a:gd name="f12" fmla="val 3726054"/>
                <a:gd name="f13" fmla="val 4901903"/>
                <a:gd name="f14" fmla="val 2529358"/>
                <a:gd name="f15" fmla="val 2407723"/>
                <a:gd name="f16" fmla="val 3310455"/>
                <a:gd name="f17" fmla="val 2418532"/>
                <a:gd name="f18" fmla="val 3417678"/>
                <a:gd name="f19" fmla="val 3504005"/>
                <a:gd name="f20" fmla="val 2401037"/>
                <a:gd name="f21" fmla="val 3586244"/>
                <a:gd name="f22" fmla="val 2369399"/>
                <a:gd name="f23" fmla="val 3661045"/>
                <a:gd name="f24" fmla="val 2362622"/>
                <a:gd name="f25" fmla="val 3673532"/>
                <a:gd name="f26" fmla="val 4279965"/>
                <a:gd name="f27" fmla="val 4958071"/>
                <a:gd name="f28" fmla="val 5406368"/>
                <a:gd name="f29" fmla="val 3581135"/>
                <a:gd name="f30" fmla="val 5396221"/>
                <a:gd name="f31" fmla="val 3548447"/>
                <a:gd name="f32" fmla="val 5387893"/>
                <a:gd name="f33" fmla="val 3507746"/>
                <a:gd name="f34" fmla="val 5383519"/>
                <a:gd name="f35" fmla="val 3465605"/>
                <a:gd name="f36" fmla="val 3422441"/>
                <a:gd name="f37" fmla="val 5392133"/>
                <a:gd name="f38" fmla="val 3336986"/>
                <a:gd name="f39" fmla="val 4117986"/>
                <a:gd name="f40" fmla="val 2509174"/>
                <a:gd name="f41" fmla="val 4066733"/>
                <a:gd name="f42" fmla="val 2525083"/>
                <a:gd name="f43" fmla="val 4044164"/>
                <a:gd name="f44" fmla="val 2527359"/>
                <a:gd name="f45" fmla="val 4874334"/>
                <a:gd name="f46" fmla="val 4077374"/>
                <a:gd name="f47" fmla="val 4877682"/>
                <a:gd name="f48" fmla="val 4121512"/>
                <a:gd name="f49" fmla="val 4886714"/>
                <a:gd name="f50" fmla="val 4164089"/>
                <a:gd name="f51" fmla="val 4900035"/>
                <a:gd name="f52" fmla="val 4204647"/>
                <a:gd name="f53" fmla="val 4917190"/>
                <a:gd name="f54" fmla="val 3940727"/>
                <a:gd name="f55" fmla="val 6219967"/>
                <a:gd name="f56" fmla="val 3566261"/>
                <a:gd name="f57" fmla="val 3262698"/>
                <a:gd name="f58" fmla="val 5916403"/>
                <a:gd name="f59" fmla="val 5541937"/>
                <a:gd name="f60" fmla="val 5401512"/>
                <a:gd name="f61" fmla="val 3305387"/>
                <a:gd name="f62" fmla="val 5271058"/>
                <a:gd name="f63" fmla="val 3378494"/>
                <a:gd name="f64" fmla="val 5162844"/>
                <a:gd name="f65" fmla="val 3384198"/>
                <a:gd name="f66" fmla="val 5155931"/>
                <a:gd name="f67" fmla="val 2119419"/>
                <a:gd name="f68" fmla="val 3948859"/>
                <a:gd name="f69" fmla="val 2036672"/>
                <a:gd name="f70" fmla="val 3993772"/>
                <a:gd name="f71" fmla="val 1961870"/>
                <a:gd name="f72" fmla="val 4025410"/>
                <a:gd name="f73" fmla="val 1879630"/>
                <a:gd name="f74" fmla="val 4042906"/>
                <a:gd name="f75" fmla="val 1793305"/>
                <a:gd name="f76" fmla="val 1448001"/>
                <a:gd name="f77" fmla="val 1168077"/>
                <a:gd name="f78" fmla="val 3762982"/>
                <a:gd name="f79" fmla="val 1168076"/>
                <a:gd name="f80" fmla="val 3072374"/>
                <a:gd name="f81" fmla="val 1448000"/>
                <a:gd name="f82" fmla="val 2792450"/>
                <a:gd name="f83" fmla="val 1793304"/>
                <a:gd name="f84" fmla="val 2792451"/>
                <a:gd name="f85" fmla="val 1965957"/>
                <a:gd name="f86" fmla="val 2122264"/>
                <a:gd name="f87" fmla="val 2862431"/>
                <a:gd name="f88" fmla="val 2235408"/>
                <a:gd name="f89" fmla="val 2975575"/>
                <a:gd name="f90" fmla="val 2241113"/>
                <a:gd name="f91" fmla="val 2982489"/>
                <a:gd name="f92" fmla="val 3433657"/>
                <a:gd name="f93" fmla="val 2275919"/>
                <a:gd name="f94" fmla="val 3422279"/>
                <a:gd name="f95" fmla="val 2262129"/>
                <a:gd name="f96" fmla="val 3354864"/>
                <a:gd name="f97" fmla="val 2162342"/>
                <a:gd name="f98" fmla="val 3315500"/>
                <a:gd name="f99" fmla="val 2042047"/>
                <a:gd name="f100" fmla="val 1912558"/>
                <a:gd name="f101" fmla="val 1567254"/>
                <a:gd name="f102" fmla="val 3595424"/>
                <a:gd name="f103" fmla="val 1287330"/>
                <a:gd name="f104" fmla="val 3940728"/>
                <a:gd name="f105" fmla="val 4286032"/>
                <a:gd name="f106" fmla="val 4565956"/>
                <a:gd name="f107" fmla="val 4526592"/>
                <a:gd name="f108" fmla="val 4459177"/>
                <a:gd name="f109" fmla="val 4442548"/>
                <a:gd name="f110" fmla="val 2282283"/>
                <a:gd name="f111" fmla="val 5549310"/>
                <a:gd name="f112" fmla="val 3001346"/>
                <a:gd name="f113" fmla="val 5566644"/>
                <a:gd name="f114" fmla="val 2980338"/>
                <a:gd name="f115" fmla="val 5679788"/>
                <a:gd name="f116" fmla="val 2867194"/>
                <a:gd name="f117" fmla="val 5836095"/>
                <a:gd name="f118" fmla="val 2797213"/>
                <a:gd name="f119" fmla="val 6008747"/>
                <a:gd name="f120" fmla="val 6354050"/>
                <a:gd name="f121" fmla="val 6633975"/>
                <a:gd name="f122" fmla="val 3077137"/>
                <a:gd name="f123" fmla="val 6633974"/>
                <a:gd name="f124" fmla="val 3767745"/>
                <a:gd name="f125" fmla="val 4047669"/>
                <a:gd name="f126" fmla="val 4047670"/>
                <a:gd name="f127" fmla="val 5879257"/>
                <a:gd name="f128" fmla="val 5758963"/>
                <a:gd name="f129" fmla="val 4008305"/>
                <a:gd name="f130" fmla="val 5659175"/>
                <a:gd name="f131" fmla="val 3940890"/>
                <a:gd name="f132" fmla="val 5615689"/>
                <a:gd name="f133" fmla="val 3905011"/>
                <a:gd name="f134" fmla="val 4536367"/>
                <a:gd name="f135" fmla="val 5224392"/>
                <a:gd name="f136" fmla="val 4565475"/>
                <a:gd name="f137" fmla="val 5278017"/>
                <a:gd name="f138" fmla="val 4599785"/>
                <a:gd name="f139" fmla="val 5359135"/>
                <a:gd name="f140" fmla="val 4618758"/>
                <a:gd name="f141" fmla="val 5448320"/>
                <a:gd name="f142" fmla="val 4315194"/>
                <a:gd name="f143" fmla="val 3898615"/>
                <a:gd name="f144" fmla="val 7797230"/>
                <a:gd name="f145" fmla="val 3181174"/>
                <a:gd name="f146" fmla="val 3903436"/>
                <a:gd name="f147" fmla="val 4821"/>
                <a:gd name="f148" fmla="+- 0 0 -90"/>
                <a:gd name="f149" fmla="*/ f3 1 7802051"/>
                <a:gd name="f150" fmla="*/ f4 1 7751588"/>
                <a:gd name="f151" fmla="val f5"/>
                <a:gd name="f152" fmla="val f6"/>
                <a:gd name="f153" fmla="val f7"/>
                <a:gd name="f154" fmla="*/ f148 f0 1"/>
                <a:gd name="f155" fmla="+- f153 0 f151"/>
                <a:gd name="f156" fmla="+- f152 0 f151"/>
                <a:gd name="f157" fmla="*/ f154 1 f2"/>
                <a:gd name="f158" fmla="*/ f156 1 7802051"/>
                <a:gd name="f159" fmla="*/ f155 1 7751588"/>
                <a:gd name="f160" fmla="*/ 3669750 f156 1"/>
                <a:gd name="f161" fmla="*/ 4921020 f155 1"/>
                <a:gd name="f162" fmla="*/ 3676808 f156 1"/>
                <a:gd name="f163" fmla="*/ 4917189 f155 1"/>
                <a:gd name="f164" fmla="*/ 3726054 f156 1"/>
                <a:gd name="f165" fmla="*/ 4901903 f155 1"/>
                <a:gd name="f166" fmla="*/ 2529358 f155 1"/>
                <a:gd name="f167" fmla="*/ 2407723 f156 1"/>
                <a:gd name="f168" fmla="*/ 3310455 f155 1"/>
                <a:gd name="f169" fmla="*/ 2418532 f156 1"/>
                <a:gd name="f170" fmla="*/ 3417678 f155 1"/>
                <a:gd name="f171" fmla="*/ 2369399 f156 1"/>
                <a:gd name="f172" fmla="*/ 3661045 f155 1"/>
                <a:gd name="f173" fmla="*/ 2362622 f156 1"/>
                <a:gd name="f174" fmla="*/ 3673532 f155 1"/>
                <a:gd name="f175" fmla="*/ 4279965 f156 1"/>
                <a:gd name="f176" fmla="*/ 4958071 f155 1"/>
                <a:gd name="f177" fmla="*/ 5406368 f156 1"/>
                <a:gd name="f178" fmla="*/ 3581135 f155 1"/>
                <a:gd name="f179" fmla="*/ 5396221 f156 1"/>
                <a:gd name="f180" fmla="*/ 3548447 f155 1"/>
                <a:gd name="f181" fmla="*/ 5383519 f156 1"/>
                <a:gd name="f182" fmla="*/ 3422441 f155 1"/>
                <a:gd name="f183" fmla="*/ 5392133 f156 1"/>
                <a:gd name="f184" fmla="*/ 3336986 f155 1"/>
                <a:gd name="f185" fmla="*/ 4117986 f156 1"/>
                <a:gd name="f186" fmla="*/ 2509174 f155 1"/>
                <a:gd name="f187" fmla="*/ 4066733 f156 1"/>
                <a:gd name="f188" fmla="*/ 2525083 f155 1"/>
                <a:gd name="f189" fmla="*/ 4044164 f156 1"/>
                <a:gd name="f190" fmla="*/ 2527359 f155 1"/>
                <a:gd name="f191" fmla="*/ 4874334 f155 1"/>
                <a:gd name="f192" fmla="*/ 4077374 f156 1"/>
                <a:gd name="f193" fmla="*/ 4877682 f155 1"/>
                <a:gd name="f194" fmla="*/ 4204647 f156 1"/>
                <a:gd name="f195" fmla="*/ 4917190 f155 1"/>
                <a:gd name="f196" fmla="*/ 3940727 f156 1"/>
                <a:gd name="f197" fmla="*/ 6219967 f155 1"/>
                <a:gd name="f198" fmla="*/ 3262698 f156 1"/>
                <a:gd name="f199" fmla="*/ 5541937 f155 1"/>
                <a:gd name="f200" fmla="*/ 3378494 f156 1"/>
                <a:gd name="f201" fmla="*/ 5162844 f155 1"/>
                <a:gd name="f202" fmla="*/ 3384198 f156 1"/>
                <a:gd name="f203" fmla="*/ 5155931 f155 1"/>
                <a:gd name="f204" fmla="*/ 2119419 f156 1"/>
                <a:gd name="f205" fmla="*/ 3948859 f155 1"/>
                <a:gd name="f206" fmla="*/ 2036672 f156 1"/>
                <a:gd name="f207" fmla="*/ 3993772 f155 1"/>
                <a:gd name="f208" fmla="*/ 1793305 f156 1"/>
                <a:gd name="f209" fmla="*/ 4042906 f155 1"/>
                <a:gd name="f210" fmla="*/ 1168076 f156 1"/>
                <a:gd name="f211" fmla="*/ 1793304 f156 1"/>
                <a:gd name="f212" fmla="*/ 2792451 f155 1"/>
                <a:gd name="f213" fmla="*/ 2235408 f156 1"/>
                <a:gd name="f214" fmla="*/ 2975575 f155 1"/>
                <a:gd name="f215" fmla="*/ 2241113 f156 1"/>
                <a:gd name="f216" fmla="*/ 2982489 f155 1"/>
                <a:gd name="f217" fmla="*/ 3433657 f156 1"/>
                <a:gd name="f218" fmla="*/ 2275919 f155 1"/>
                <a:gd name="f219" fmla="*/ 3422279 f156 1"/>
                <a:gd name="f220" fmla="*/ 2262129 f155 1"/>
                <a:gd name="f221" fmla="*/ 3315500 f156 1"/>
                <a:gd name="f222" fmla="*/ 1912558 f155 1"/>
                <a:gd name="f223" fmla="*/ 3940728 f156 1"/>
                <a:gd name="f224" fmla="*/ 1287330 f155 1"/>
                <a:gd name="f225" fmla="*/ 4565956 f156 1"/>
                <a:gd name="f226" fmla="*/ 4459177 f156 1"/>
                <a:gd name="f227" fmla="*/ 4442548 f156 1"/>
                <a:gd name="f228" fmla="*/ 2282283 f155 1"/>
                <a:gd name="f229" fmla="*/ 5549310 f156 1"/>
                <a:gd name="f230" fmla="*/ 3001346 f155 1"/>
                <a:gd name="f231" fmla="*/ 5566644 f156 1"/>
                <a:gd name="f232" fmla="*/ 2980338 f155 1"/>
                <a:gd name="f233" fmla="*/ 6008747 f156 1"/>
                <a:gd name="f234" fmla="*/ 2797213 f155 1"/>
                <a:gd name="f235" fmla="*/ 6633974 f156 1"/>
                <a:gd name="f236" fmla="*/ 4047670 f155 1"/>
                <a:gd name="f237" fmla="*/ 5659175 f156 1"/>
                <a:gd name="f238" fmla="*/ 3940890 f155 1"/>
                <a:gd name="f239" fmla="*/ 5615689 f156 1"/>
                <a:gd name="f240" fmla="*/ 3905011 f155 1"/>
                <a:gd name="f241" fmla="*/ 4536367 f156 1"/>
                <a:gd name="f242" fmla="*/ 5224392 f155 1"/>
                <a:gd name="f243" fmla="*/ 4565475 f156 1"/>
                <a:gd name="f244" fmla="*/ 5278017 f155 1"/>
                <a:gd name="f245" fmla="*/ 4618758 f156 1"/>
                <a:gd name="f246" fmla="*/ 3898615 f156 1"/>
                <a:gd name="f247" fmla="*/ 7751588 f155 1"/>
                <a:gd name="f248" fmla="*/ 7797230 f156 1"/>
                <a:gd name="f249" fmla="*/ 3181174 f155 1"/>
                <a:gd name="f250" fmla="*/ 7802051 f156 1"/>
                <a:gd name="f251" fmla="*/ 3903436 f156 1"/>
                <a:gd name="f252" fmla="*/ 0 f155 1"/>
                <a:gd name="f253" fmla="*/ 4821 f156 1"/>
                <a:gd name="f254" fmla="*/ 0 f156 1"/>
                <a:gd name="f255" fmla="+- f157 0 f1"/>
                <a:gd name="f256" fmla="*/ f160 1 7802051"/>
                <a:gd name="f257" fmla="*/ f161 1 7751588"/>
                <a:gd name="f258" fmla="*/ f162 1 7802051"/>
                <a:gd name="f259" fmla="*/ f163 1 7751588"/>
                <a:gd name="f260" fmla="*/ f164 1 7802051"/>
                <a:gd name="f261" fmla="*/ f165 1 7751588"/>
                <a:gd name="f262" fmla="*/ f166 1 7751588"/>
                <a:gd name="f263" fmla="*/ f167 1 7802051"/>
                <a:gd name="f264" fmla="*/ f168 1 7751588"/>
                <a:gd name="f265" fmla="*/ f169 1 7802051"/>
                <a:gd name="f266" fmla="*/ f170 1 7751588"/>
                <a:gd name="f267" fmla="*/ f171 1 7802051"/>
                <a:gd name="f268" fmla="*/ f172 1 7751588"/>
                <a:gd name="f269" fmla="*/ f173 1 7802051"/>
                <a:gd name="f270" fmla="*/ f174 1 7751588"/>
                <a:gd name="f271" fmla="*/ f175 1 7802051"/>
                <a:gd name="f272" fmla="*/ f176 1 7751588"/>
                <a:gd name="f273" fmla="*/ f177 1 7802051"/>
                <a:gd name="f274" fmla="*/ f178 1 7751588"/>
                <a:gd name="f275" fmla="*/ f179 1 7802051"/>
                <a:gd name="f276" fmla="*/ f180 1 7751588"/>
                <a:gd name="f277" fmla="*/ f181 1 7802051"/>
                <a:gd name="f278" fmla="*/ f182 1 7751588"/>
                <a:gd name="f279" fmla="*/ f183 1 7802051"/>
                <a:gd name="f280" fmla="*/ f184 1 7751588"/>
                <a:gd name="f281" fmla="*/ f185 1 7802051"/>
                <a:gd name="f282" fmla="*/ f186 1 7751588"/>
                <a:gd name="f283" fmla="*/ f187 1 7802051"/>
                <a:gd name="f284" fmla="*/ f188 1 7751588"/>
                <a:gd name="f285" fmla="*/ f189 1 7802051"/>
                <a:gd name="f286" fmla="*/ f190 1 7751588"/>
                <a:gd name="f287" fmla="*/ f191 1 7751588"/>
                <a:gd name="f288" fmla="*/ f192 1 7802051"/>
                <a:gd name="f289" fmla="*/ f193 1 7751588"/>
                <a:gd name="f290" fmla="*/ f194 1 7802051"/>
                <a:gd name="f291" fmla="*/ f195 1 7751588"/>
                <a:gd name="f292" fmla="*/ f196 1 7802051"/>
                <a:gd name="f293" fmla="*/ f197 1 7751588"/>
                <a:gd name="f294" fmla="*/ f198 1 7802051"/>
                <a:gd name="f295" fmla="*/ f199 1 7751588"/>
                <a:gd name="f296" fmla="*/ f200 1 7802051"/>
                <a:gd name="f297" fmla="*/ f201 1 7751588"/>
                <a:gd name="f298" fmla="*/ f202 1 7802051"/>
                <a:gd name="f299" fmla="*/ f203 1 7751588"/>
                <a:gd name="f300" fmla="*/ f204 1 7802051"/>
                <a:gd name="f301" fmla="*/ f205 1 7751588"/>
                <a:gd name="f302" fmla="*/ f206 1 7802051"/>
                <a:gd name="f303" fmla="*/ f207 1 7751588"/>
                <a:gd name="f304" fmla="*/ f208 1 7802051"/>
                <a:gd name="f305" fmla="*/ f209 1 7751588"/>
                <a:gd name="f306" fmla="*/ f210 1 7802051"/>
                <a:gd name="f307" fmla="*/ f211 1 7802051"/>
                <a:gd name="f308" fmla="*/ f212 1 7751588"/>
                <a:gd name="f309" fmla="*/ f213 1 7802051"/>
                <a:gd name="f310" fmla="*/ f214 1 7751588"/>
                <a:gd name="f311" fmla="*/ f215 1 7802051"/>
                <a:gd name="f312" fmla="*/ f216 1 7751588"/>
                <a:gd name="f313" fmla="*/ f217 1 7802051"/>
                <a:gd name="f314" fmla="*/ f218 1 7751588"/>
                <a:gd name="f315" fmla="*/ f219 1 7802051"/>
                <a:gd name="f316" fmla="*/ f220 1 7751588"/>
                <a:gd name="f317" fmla="*/ f221 1 7802051"/>
                <a:gd name="f318" fmla="*/ f222 1 7751588"/>
                <a:gd name="f319" fmla="*/ f223 1 7802051"/>
                <a:gd name="f320" fmla="*/ f224 1 7751588"/>
                <a:gd name="f321" fmla="*/ f225 1 7802051"/>
                <a:gd name="f322" fmla="*/ f226 1 7802051"/>
                <a:gd name="f323" fmla="*/ f227 1 7802051"/>
                <a:gd name="f324" fmla="*/ f228 1 7751588"/>
                <a:gd name="f325" fmla="*/ f229 1 7802051"/>
                <a:gd name="f326" fmla="*/ f230 1 7751588"/>
                <a:gd name="f327" fmla="*/ f231 1 7802051"/>
                <a:gd name="f328" fmla="*/ f232 1 7751588"/>
                <a:gd name="f329" fmla="*/ f233 1 7802051"/>
                <a:gd name="f330" fmla="*/ f234 1 7751588"/>
                <a:gd name="f331" fmla="*/ f235 1 7802051"/>
                <a:gd name="f332" fmla="*/ f236 1 7751588"/>
                <a:gd name="f333" fmla="*/ f237 1 7802051"/>
                <a:gd name="f334" fmla="*/ f238 1 7751588"/>
                <a:gd name="f335" fmla="*/ f239 1 7802051"/>
                <a:gd name="f336" fmla="*/ f240 1 7751588"/>
                <a:gd name="f337" fmla="*/ f241 1 7802051"/>
                <a:gd name="f338" fmla="*/ f242 1 7751588"/>
                <a:gd name="f339" fmla="*/ f243 1 7802051"/>
                <a:gd name="f340" fmla="*/ f244 1 7751588"/>
                <a:gd name="f341" fmla="*/ f245 1 7802051"/>
                <a:gd name="f342" fmla="*/ f246 1 7802051"/>
                <a:gd name="f343" fmla="*/ f247 1 7751588"/>
                <a:gd name="f344" fmla="*/ f248 1 7802051"/>
                <a:gd name="f345" fmla="*/ f249 1 7751588"/>
                <a:gd name="f346" fmla="*/ f250 1 7802051"/>
                <a:gd name="f347" fmla="*/ f251 1 7802051"/>
                <a:gd name="f348" fmla="*/ f252 1 7751588"/>
                <a:gd name="f349" fmla="*/ f253 1 7802051"/>
                <a:gd name="f350" fmla="*/ f254 1 7802051"/>
                <a:gd name="f351" fmla="*/ f151 1 f158"/>
                <a:gd name="f352" fmla="*/ f152 1 f158"/>
                <a:gd name="f353" fmla="*/ f151 1 f159"/>
                <a:gd name="f354" fmla="*/ f153 1 f159"/>
                <a:gd name="f355" fmla="*/ f256 1 f158"/>
                <a:gd name="f356" fmla="*/ f257 1 f159"/>
                <a:gd name="f357" fmla="*/ f258 1 f158"/>
                <a:gd name="f358" fmla="*/ f259 1 f159"/>
                <a:gd name="f359" fmla="*/ f260 1 f158"/>
                <a:gd name="f360" fmla="*/ f261 1 f159"/>
                <a:gd name="f361" fmla="*/ f262 1 f159"/>
                <a:gd name="f362" fmla="*/ f263 1 f158"/>
                <a:gd name="f363" fmla="*/ f264 1 f159"/>
                <a:gd name="f364" fmla="*/ f265 1 f158"/>
                <a:gd name="f365" fmla="*/ f266 1 f159"/>
                <a:gd name="f366" fmla="*/ f267 1 f158"/>
                <a:gd name="f367" fmla="*/ f268 1 f159"/>
                <a:gd name="f368" fmla="*/ f269 1 f158"/>
                <a:gd name="f369" fmla="*/ f270 1 f159"/>
                <a:gd name="f370" fmla="*/ f271 1 f158"/>
                <a:gd name="f371" fmla="*/ f272 1 f159"/>
                <a:gd name="f372" fmla="*/ f273 1 f158"/>
                <a:gd name="f373" fmla="*/ f274 1 f159"/>
                <a:gd name="f374" fmla="*/ f275 1 f158"/>
                <a:gd name="f375" fmla="*/ f276 1 f159"/>
                <a:gd name="f376" fmla="*/ f277 1 f158"/>
                <a:gd name="f377" fmla="*/ f278 1 f159"/>
                <a:gd name="f378" fmla="*/ f279 1 f158"/>
                <a:gd name="f379" fmla="*/ f280 1 f159"/>
                <a:gd name="f380" fmla="*/ f281 1 f158"/>
                <a:gd name="f381" fmla="*/ f282 1 f159"/>
                <a:gd name="f382" fmla="*/ f283 1 f158"/>
                <a:gd name="f383" fmla="*/ f284 1 f159"/>
                <a:gd name="f384" fmla="*/ f285 1 f158"/>
                <a:gd name="f385" fmla="*/ f286 1 f159"/>
                <a:gd name="f386" fmla="*/ f287 1 f159"/>
                <a:gd name="f387" fmla="*/ f288 1 f158"/>
                <a:gd name="f388" fmla="*/ f289 1 f159"/>
                <a:gd name="f389" fmla="*/ f290 1 f158"/>
                <a:gd name="f390" fmla="*/ f291 1 f159"/>
                <a:gd name="f391" fmla="*/ f292 1 f158"/>
                <a:gd name="f392" fmla="*/ f293 1 f159"/>
                <a:gd name="f393" fmla="*/ f294 1 f158"/>
                <a:gd name="f394" fmla="*/ f295 1 f159"/>
                <a:gd name="f395" fmla="*/ f296 1 f158"/>
                <a:gd name="f396" fmla="*/ f297 1 f159"/>
                <a:gd name="f397" fmla="*/ f298 1 f158"/>
                <a:gd name="f398" fmla="*/ f299 1 f159"/>
                <a:gd name="f399" fmla="*/ f300 1 f158"/>
                <a:gd name="f400" fmla="*/ f301 1 f159"/>
                <a:gd name="f401" fmla="*/ f302 1 f158"/>
                <a:gd name="f402" fmla="*/ f303 1 f159"/>
                <a:gd name="f403" fmla="*/ f304 1 f158"/>
                <a:gd name="f404" fmla="*/ f305 1 f159"/>
                <a:gd name="f405" fmla="*/ f306 1 f158"/>
                <a:gd name="f406" fmla="*/ f307 1 f158"/>
                <a:gd name="f407" fmla="*/ f308 1 f159"/>
                <a:gd name="f408" fmla="*/ f309 1 f158"/>
                <a:gd name="f409" fmla="*/ f310 1 f159"/>
                <a:gd name="f410" fmla="*/ f311 1 f158"/>
                <a:gd name="f411" fmla="*/ f312 1 f159"/>
                <a:gd name="f412" fmla="*/ f313 1 f158"/>
                <a:gd name="f413" fmla="*/ f314 1 f159"/>
                <a:gd name="f414" fmla="*/ f315 1 f158"/>
                <a:gd name="f415" fmla="*/ f316 1 f159"/>
                <a:gd name="f416" fmla="*/ f317 1 f158"/>
                <a:gd name="f417" fmla="*/ f318 1 f159"/>
                <a:gd name="f418" fmla="*/ f319 1 f158"/>
                <a:gd name="f419" fmla="*/ f320 1 f159"/>
                <a:gd name="f420" fmla="*/ f321 1 f158"/>
                <a:gd name="f421" fmla="*/ f322 1 f158"/>
                <a:gd name="f422" fmla="*/ f323 1 f158"/>
                <a:gd name="f423" fmla="*/ f324 1 f159"/>
                <a:gd name="f424" fmla="*/ f325 1 f158"/>
                <a:gd name="f425" fmla="*/ f326 1 f159"/>
                <a:gd name="f426" fmla="*/ f327 1 f158"/>
                <a:gd name="f427" fmla="*/ f328 1 f159"/>
                <a:gd name="f428" fmla="*/ f329 1 f158"/>
                <a:gd name="f429" fmla="*/ f330 1 f159"/>
                <a:gd name="f430" fmla="*/ f331 1 f158"/>
                <a:gd name="f431" fmla="*/ f332 1 f159"/>
                <a:gd name="f432" fmla="*/ f333 1 f158"/>
                <a:gd name="f433" fmla="*/ f334 1 f159"/>
                <a:gd name="f434" fmla="*/ f335 1 f158"/>
                <a:gd name="f435" fmla="*/ f336 1 f159"/>
                <a:gd name="f436" fmla="*/ f337 1 f158"/>
                <a:gd name="f437" fmla="*/ f338 1 f159"/>
                <a:gd name="f438" fmla="*/ f339 1 f158"/>
                <a:gd name="f439" fmla="*/ f340 1 f159"/>
                <a:gd name="f440" fmla="*/ f341 1 f158"/>
                <a:gd name="f441" fmla="*/ f342 1 f158"/>
                <a:gd name="f442" fmla="*/ f343 1 f159"/>
                <a:gd name="f443" fmla="*/ f344 1 f158"/>
                <a:gd name="f444" fmla="*/ f345 1 f159"/>
                <a:gd name="f445" fmla="*/ f346 1 f158"/>
                <a:gd name="f446" fmla="*/ f347 1 f158"/>
                <a:gd name="f447" fmla="*/ f348 1 f159"/>
                <a:gd name="f448" fmla="*/ f349 1 f158"/>
                <a:gd name="f449" fmla="*/ f350 1 f158"/>
                <a:gd name="f450" fmla="*/ f351 f149 1"/>
                <a:gd name="f451" fmla="*/ f352 f149 1"/>
                <a:gd name="f452" fmla="*/ f354 f150 1"/>
                <a:gd name="f453" fmla="*/ f353 f150 1"/>
                <a:gd name="f454" fmla="*/ f355 f149 1"/>
                <a:gd name="f455" fmla="*/ f356 f150 1"/>
                <a:gd name="f456" fmla="*/ f357 f149 1"/>
                <a:gd name="f457" fmla="*/ f358 f150 1"/>
                <a:gd name="f458" fmla="*/ f359 f149 1"/>
                <a:gd name="f459" fmla="*/ f360 f150 1"/>
                <a:gd name="f460" fmla="*/ f361 f150 1"/>
                <a:gd name="f461" fmla="*/ f362 f149 1"/>
                <a:gd name="f462" fmla="*/ f363 f150 1"/>
                <a:gd name="f463" fmla="*/ f364 f149 1"/>
                <a:gd name="f464" fmla="*/ f365 f150 1"/>
                <a:gd name="f465" fmla="*/ f366 f149 1"/>
                <a:gd name="f466" fmla="*/ f367 f150 1"/>
                <a:gd name="f467" fmla="*/ f368 f149 1"/>
                <a:gd name="f468" fmla="*/ f369 f150 1"/>
                <a:gd name="f469" fmla="*/ f370 f149 1"/>
                <a:gd name="f470" fmla="*/ f371 f150 1"/>
                <a:gd name="f471" fmla="*/ f372 f149 1"/>
                <a:gd name="f472" fmla="*/ f373 f150 1"/>
                <a:gd name="f473" fmla="*/ f374 f149 1"/>
                <a:gd name="f474" fmla="*/ f375 f150 1"/>
                <a:gd name="f475" fmla="*/ f376 f149 1"/>
                <a:gd name="f476" fmla="*/ f377 f150 1"/>
                <a:gd name="f477" fmla="*/ f378 f149 1"/>
                <a:gd name="f478" fmla="*/ f379 f150 1"/>
                <a:gd name="f479" fmla="*/ f380 f149 1"/>
                <a:gd name="f480" fmla="*/ f381 f150 1"/>
                <a:gd name="f481" fmla="*/ f382 f149 1"/>
                <a:gd name="f482" fmla="*/ f383 f150 1"/>
                <a:gd name="f483" fmla="*/ f384 f149 1"/>
                <a:gd name="f484" fmla="*/ f385 f150 1"/>
                <a:gd name="f485" fmla="*/ f386 f150 1"/>
                <a:gd name="f486" fmla="*/ f387 f149 1"/>
                <a:gd name="f487" fmla="*/ f388 f150 1"/>
                <a:gd name="f488" fmla="*/ f389 f149 1"/>
                <a:gd name="f489" fmla="*/ f390 f150 1"/>
                <a:gd name="f490" fmla="*/ f391 f149 1"/>
                <a:gd name="f491" fmla="*/ f392 f150 1"/>
                <a:gd name="f492" fmla="*/ f393 f149 1"/>
                <a:gd name="f493" fmla="*/ f394 f150 1"/>
                <a:gd name="f494" fmla="*/ f395 f149 1"/>
                <a:gd name="f495" fmla="*/ f396 f150 1"/>
                <a:gd name="f496" fmla="*/ f397 f149 1"/>
                <a:gd name="f497" fmla="*/ f398 f150 1"/>
                <a:gd name="f498" fmla="*/ f399 f149 1"/>
                <a:gd name="f499" fmla="*/ f400 f150 1"/>
                <a:gd name="f500" fmla="*/ f401 f149 1"/>
                <a:gd name="f501" fmla="*/ f402 f150 1"/>
                <a:gd name="f502" fmla="*/ f403 f149 1"/>
                <a:gd name="f503" fmla="*/ f404 f150 1"/>
                <a:gd name="f504" fmla="*/ f405 f149 1"/>
                <a:gd name="f505" fmla="*/ f406 f149 1"/>
                <a:gd name="f506" fmla="*/ f407 f150 1"/>
                <a:gd name="f507" fmla="*/ f408 f149 1"/>
                <a:gd name="f508" fmla="*/ f409 f150 1"/>
                <a:gd name="f509" fmla="*/ f410 f149 1"/>
                <a:gd name="f510" fmla="*/ f411 f150 1"/>
                <a:gd name="f511" fmla="*/ f412 f149 1"/>
                <a:gd name="f512" fmla="*/ f413 f150 1"/>
                <a:gd name="f513" fmla="*/ f414 f149 1"/>
                <a:gd name="f514" fmla="*/ f415 f150 1"/>
                <a:gd name="f515" fmla="*/ f416 f149 1"/>
                <a:gd name="f516" fmla="*/ f417 f150 1"/>
                <a:gd name="f517" fmla="*/ f418 f149 1"/>
                <a:gd name="f518" fmla="*/ f419 f150 1"/>
                <a:gd name="f519" fmla="*/ f420 f149 1"/>
                <a:gd name="f520" fmla="*/ f421 f149 1"/>
                <a:gd name="f521" fmla="*/ f422 f149 1"/>
                <a:gd name="f522" fmla="*/ f423 f150 1"/>
                <a:gd name="f523" fmla="*/ f424 f149 1"/>
                <a:gd name="f524" fmla="*/ f425 f150 1"/>
                <a:gd name="f525" fmla="*/ f426 f149 1"/>
                <a:gd name="f526" fmla="*/ f427 f150 1"/>
                <a:gd name="f527" fmla="*/ f428 f149 1"/>
                <a:gd name="f528" fmla="*/ f429 f150 1"/>
                <a:gd name="f529" fmla="*/ f430 f149 1"/>
                <a:gd name="f530" fmla="*/ f431 f150 1"/>
                <a:gd name="f531" fmla="*/ f432 f149 1"/>
                <a:gd name="f532" fmla="*/ f433 f150 1"/>
                <a:gd name="f533" fmla="*/ f434 f149 1"/>
                <a:gd name="f534" fmla="*/ f435 f150 1"/>
                <a:gd name="f535" fmla="*/ f436 f149 1"/>
                <a:gd name="f536" fmla="*/ f437 f150 1"/>
                <a:gd name="f537" fmla="*/ f438 f149 1"/>
                <a:gd name="f538" fmla="*/ f439 f150 1"/>
                <a:gd name="f539" fmla="*/ f440 f149 1"/>
                <a:gd name="f540" fmla="*/ f441 f149 1"/>
                <a:gd name="f541" fmla="*/ f442 f150 1"/>
                <a:gd name="f542" fmla="*/ f443 f149 1"/>
                <a:gd name="f543" fmla="*/ f444 f150 1"/>
                <a:gd name="f544" fmla="*/ f445 f149 1"/>
                <a:gd name="f545" fmla="*/ f446 f149 1"/>
                <a:gd name="f546" fmla="*/ f447 f150 1"/>
                <a:gd name="f547" fmla="*/ f448 f149 1"/>
                <a:gd name="f548" fmla="*/ f449 f149 1"/>
              </a:gdLst>
              <a:ahLst/>
              <a:cxnLst>
                <a:cxn ang="3cd4">
                  <a:pos x="hc" y="t"/>
                </a:cxn>
                <a:cxn ang="0">
                  <a:pos x="r" y="vc"/>
                </a:cxn>
                <a:cxn ang="cd4">
                  <a:pos x="hc" y="b"/>
                </a:cxn>
                <a:cxn ang="cd2">
                  <a:pos x="l" y="vc"/>
                </a:cxn>
                <a:cxn ang="f255">
                  <a:pos x="f454" y="f455"/>
                </a:cxn>
                <a:cxn ang="f255">
                  <a:pos x="f456" y="f457"/>
                </a:cxn>
                <a:cxn ang="f255">
                  <a:pos x="f458" y="f459"/>
                </a:cxn>
                <a:cxn ang="f255">
                  <a:pos x="f458" y="f460"/>
                </a:cxn>
                <a:cxn ang="f255">
                  <a:pos x="f461" y="f462"/>
                </a:cxn>
                <a:cxn ang="f255">
                  <a:pos x="f463" y="f464"/>
                </a:cxn>
                <a:cxn ang="f255">
                  <a:pos x="f465" y="f466"/>
                </a:cxn>
                <a:cxn ang="f255">
                  <a:pos x="f467" y="f468"/>
                </a:cxn>
                <a:cxn ang="f255">
                  <a:pos x="f469" y="f470"/>
                </a:cxn>
                <a:cxn ang="f255">
                  <a:pos x="f471" y="f472"/>
                </a:cxn>
                <a:cxn ang="f255">
                  <a:pos x="f473" y="f474"/>
                </a:cxn>
                <a:cxn ang="f255">
                  <a:pos x="f475" y="f476"/>
                </a:cxn>
                <a:cxn ang="f255">
                  <a:pos x="f477" y="f478"/>
                </a:cxn>
                <a:cxn ang="f255">
                  <a:pos x="f479" y="f480"/>
                </a:cxn>
                <a:cxn ang="f255">
                  <a:pos x="f481" y="f482"/>
                </a:cxn>
                <a:cxn ang="f255">
                  <a:pos x="f483" y="f484"/>
                </a:cxn>
                <a:cxn ang="f255">
                  <a:pos x="f483" y="f485"/>
                </a:cxn>
                <a:cxn ang="f255">
                  <a:pos x="f486" y="f487"/>
                </a:cxn>
                <a:cxn ang="f255">
                  <a:pos x="f488" y="f489"/>
                </a:cxn>
                <a:cxn ang="f255">
                  <a:pos x="f490" y="f491"/>
                </a:cxn>
                <a:cxn ang="f255">
                  <a:pos x="f492" y="f493"/>
                </a:cxn>
                <a:cxn ang="f255">
                  <a:pos x="f494" y="f495"/>
                </a:cxn>
                <a:cxn ang="f255">
                  <a:pos x="f496" y="f497"/>
                </a:cxn>
                <a:cxn ang="f255">
                  <a:pos x="f498" y="f499"/>
                </a:cxn>
                <a:cxn ang="f255">
                  <a:pos x="f500" y="f501"/>
                </a:cxn>
                <a:cxn ang="f255">
                  <a:pos x="f502" y="f503"/>
                </a:cxn>
                <a:cxn ang="f255">
                  <a:pos x="f504" y="f464"/>
                </a:cxn>
                <a:cxn ang="f255">
                  <a:pos x="f505" y="f506"/>
                </a:cxn>
                <a:cxn ang="f255">
                  <a:pos x="f507" y="f508"/>
                </a:cxn>
                <a:cxn ang="f255">
                  <a:pos x="f509" y="f510"/>
                </a:cxn>
                <a:cxn ang="f255">
                  <a:pos x="f511" y="f512"/>
                </a:cxn>
                <a:cxn ang="f255">
                  <a:pos x="f513" y="f514"/>
                </a:cxn>
                <a:cxn ang="f255">
                  <a:pos x="f515" y="f516"/>
                </a:cxn>
                <a:cxn ang="f255">
                  <a:pos x="f517" y="f518"/>
                </a:cxn>
                <a:cxn ang="f255">
                  <a:pos x="f519" y="f516"/>
                </a:cxn>
                <a:cxn ang="f255">
                  <a:pos x="f520" y="f514"/>
                </a:cxn>
                <a:cxn ang="f255">
                  <a:pos x="f521" y="f522"/>
                </a:cxn>
                <a:cxn ang="f255">
                  <a:pos x="f523" y="f524"/>
                </a:cxn>
                <a:cxn ang="f255">
                  <a:pos x="f525" y="f526"/>
                </a:cxn>
                <a:cxn ang="f255">
                  <a:pos x="f527" y="f528"/>
                </a:cxn>
                <a:cxn ang="f255">
                  <a:pos x="f529" y="f476"/>
                </a:cxn>
                <a:cxn ang="f255">
                  <a:pos x="f527" y="f530"/>
                </a:cxn>
                <a:cxn ang="f255">
                  <a:pos x="f531" y="f532"/>
                </a:cxn>
                <a:cxn ang="f255">
                  <a:pos x="f533" y="f534"/>
                </a:cxn>
                <a:cxn ang="f255">
                  <a:pos x="f535" y="f536"/>
                </a:cxn>
                <a:cxn ang="f255">
                  <a:pos x="f537" y="f538"/>
                </a:cxn>
                <a:cxn ang="f255">
                  <a:pos x="f539" y="f493"/>
                </a:cxn>
                <a:cxn ang="f255">
                  <a:pos x="f490" y="f491"/>
                </a:cxn>
                <a:cxn ang="f255">
                  <a:pos x="f540" y="f541"/>
                </a:cxn>
                <a:cxn ang="f255">
                  <a:pos x="f542" y="f543"/>
                </a:cxn>
                <a:cxn ang="f255">
                  <a:pos x="f544" y="f543"/>
                </a:cxn>
                <a:cxn ang="f255">
                  <a:pos x="f545" y="f546"/>
                </a:cxn>
                <a:cxn ang="f255">
                  <a:pos x="f547" y="f543"/>
                </a:cxn>
                <a:cxn ang="f255">
                  <a:pos x="f548" y="f543"/>
                </a:cxn>
              </a:cxnLst>
              <a:rect l="f450" t="f453" r="f451" b="f452"/>
              <a:pathLst>
                <a:path w="7802051" h="7751588">
                  <a:moveTo>
                    <a:pt x="f8" y="f9"/>
                  </a:moveTo>
                  <a:lnTo>
                    <a:pt x="f10" y="f11"/>
                  </a:lnTo>
                  <a:lnTo>
                    <a:pt x="f12" y="f13"/>
                  </a:lnTo>
                  <a:lnTo>
                    <a:pt x="f12" y="f14"/>
                  </a:lnTo>
                  <a:lnTo>
                    <a:pt x="f15" y="f16"/>
                  </a:lnTo>
                  <a:lnTo>
                    <a:pt x="f17" y="f18"/>
                  </a:lnTo>
                  <a:cubicBezTo>
                    <a:pt x="f17" y="f19"/>
                    <a:pt x="f20" y="f21"/>
                    <a:pt x="f22" y="f23"/>
                  </a:cubicBezTo>
                  <a:lnTo>
                    <a:pt x="f24" y="f25"/>
                  </a:lnTo>
                  <a:close/>
                  <a:moveTo>
                    <a:pt x="f26" y="f27"/>
                  </a:moveTo>
                  <a:lnTo>
                    <a:pt x="f28" y="f29"/>
                  </a:lnTo>
                  <a:lnTo>
                    <a:pt x="f30" y="f31"/>
                  </a:lnTo>
                  <a:cubicBezTo>
                    <a:pt x="f32" y="f33"/>
                    <a:pt x="f34" y="f35"/>
                    <a:pt x="f34" y="f36"/>
                  </a:cubicBezTo>
                  <a:lnTo>
                    <a:pt x="f37" y="f38"/>
                  </a:lnTo>
                  <a:lnTo>
                    <a:pt x="f39" y="f40"/>
                  </a:lnTo>
                  <a:lnTo>
                    <a:pt x="f41" y="f42"/>
                  </a:lnTo>
                  <a:lnTo>
                    <a:pt x="f43" y="f44"/>
                  </a:lnTo>
                  <a:lnTo>
                    <a:pt x="f43" y="f45"/>
                  </a:lnTo>
                  <a:lnTo>
                    <a:pt x="f46" y="f47"/>
                  </a:lnTo>
                  <a:cubicBezTo>
                    <a:pt x="f48" y="f49"/>
                    <a:pt x="f50" y="f51"/>
                    <a:pt x="f52" y="f53"/>
                  </a:cubicBezTo>
                  <a:close/>
                  <a:moveTo>
                    <a:pt x="f54" y="f55"/>
                  </a:moveTo>
                  <a:cubicBezTo>
                    <a:pt x="f56" y="f55"/>
                    <a:pt x="f57" y="f58"/>
                    <a:pt x="f57" y="f59"/>
                  </a:cubicBezTo>
                  <a:cubicBezTo>
                    <a:pt x="f57" y="f60"/>
                    <a:pt x="f61" y="f62"/>
                    <a:pt x="f63" y="f64"/>
                  </a:cubicBezTo>
                  <a:lnTo>
                    <a:pt x="f65" y="f66"/>
                  </a:lnTo>
                  <a:lnTo>
                    <a:pt x="f67" y="f68"/>
                  </a:lnTo>
                  <a:lnTo>
                    <a:pt x="f69" y="f70"/>
                  </a:lnTo>
                  <a:cubicBezTo>
                    <a:pt x="f71" y="f72"/>
                    <a:pt x="f73" y="f74"/>
                    <a:pt x="f75" y="f74"/>
                  </a:cubicBezTo>
                  <a:cubicBezTo>
                    <a:pt x="f76" y="f74"/>
                    <a:pt x="f77" y="f78"/>
                    <a:pt x="f79" y="f18"/>
                  </a:cubicBezTo>
                  <a:cubicBezTo>
                    <a:pt x="f77" y="f80"/>
                    <a:pt x="f81" y="f82"/>
                    <a:pt x="f83" y="f84"/>
                  </a:cubicBezTo>
                  <a:cubicBezTo>
                    <a:pt x="f85" y="f82"/>
                    <a:pt x="f86" y="f87"/>
                    <a:pt x="f88" y="f89"/>
                  </a:cubicBezTo>
                  <a:lnTo>
                    <a:pt x="f90" y="f91"/>
                  </a:lnTo>
                  <a:lnTo>
                    <a:pt x="f92" y="f93"/>
                  </a:lnTo>
                  <a:lnTo>
                    <a:pt x="f94" y="f95"/>
                  </a:lnTo>
                  <a:cubicBezTo>
                    <a:pt x="f96" y="f97"/>
                    <a:pt x="f98" y="f99"/>
                    <a:pt x="f98" y="f100"/>
                  </a:cubicBezTo>
                  <a:cubicBezTo>
                    <a:pt x="f98" y="f101"/>
                    <a:pt x="f102" y="f103"/>
                    <a:pt x="f104" y="f103"/>
                  </a:cubicBezTo>
                  <a:cubicBezTo>
                    <a:pt x="f105" y="f103"/>
                    <a:pt x="f106" y="f101"/>
                    <a:pt x="f106" y="f100"/>
                  </a:cubicBezTo>
                  <a:cubicBezTo>
                    <a:pt x="f106" y="f99"/>
                    <a:pt x="f107" y="f97"/>
                    <a:pt x="f108" y="f95"/>
                  </a:cubicBezTo>
                  <a:lnTo>
                    <a:pt x="f109" y="f110"/>
                  </a:lnTo>
                  <a:lnTo>
                    <a:pt x="f111" y="f112"/>
                  </a:lnTo>
                  <a:lnTo>
                    <a:pt x="f113" y="f114"/>
                  </a:lnTo>
                  <a:cubicBezTo>
                    <a:pt x="f115" y="f116"/>
                    <a:pt x="f117" y="f118"/>
                    <a:pt x="f119" y="f118"/>
                  </a:cubicBezTo>
                  <a:cubicBezTo>
                    <a:pt x="f120" y="f118"/>
                    <a:pt x="f121" y="f122"/>
                    <a:pt x="f123" y="f36"/>
                  </a:cubicBezTo>
                  <a:cubicBezTo>
                    <a:pt x="f121" y="f124"/>
                    <a:pt x="f120" y="f125"/>
                    <a:pt x="f119" y="f126"/>
                  </a:cubicBezTo>
                  <a:cubicBezTo>
                    <a:pt x="f127" y="f125"/>
                    <a:pt x="f128" y="f129"/>
                    <a:pt x="f130" y="f131"/>
                  </a:cubicBezTo>
                  <a:lnTo>
                    <a:pt x="f132" y="f133"/>
                  </a:lnTo>
                  <a:lnTo>
                    <a:pt x="f134" y="f135"/>
                  </a:lnTo>
                  <a:lnTo>
                    <a:pt x="f136" y="f137"/>
                  </a:lnTo>
                  <a:cubicBezTo>
                    <a:pt x="f138" y="f139"/>
                    <a:pt x="f140" y="f141"/>
                    <a:pt x="f140" y="f59"/>
                  </a:cubicBezTo>
                  <a:cubicBezTo>
                    <a:pt x="f140" y="f58"/>
                    <a:pt x="f142" y="f55"/>
                    <a:pt x="f54" y="f55"/>
                  </a:cubicBezTo>
                  <a:close/>
                  <a:moveTo>
                    <a:pt x="f143" y="f7"/>
                  </a:moveTo>
                  <a:lnTo>
                    <a:pt x="f144" y="f145"/>
                  </a:lnTo>
                  <a:lnTo>
                    <a:pt x="f6" y="f145"/>
                  </a:lnTo>
                  <a:lnTo>
                    <a:pt x="f146" y="f5"/>
                  </a:lnTo>
                  <a:lnTo>
                    <a:pt x="f147" y="f145"/>
                  </a:lnTo>
                  <a:lnTo>
                    <a:pt x="f5" y="f145"/>
                  </a:lnTo>
                  <a:close/>
                </a:path>
              </a:pathLst>
            </a:custGeom>
            <a:solidFill>
              <a:srgbClr val="0078D7">
                <a:alpha val="95000"/>
              </a:srgbClr>
            </a:solidFill>
            <a:ln cap="flat">
              <a:noFill/>
              <a:prstDash val="solid"/>
            </a:ln>
          </p:spPr>
          <p:txBody>
            <a:bodyPr vert="horz" wrap="square" lIns="175735" tIns="140588" rIns="175735" bIns="140588" anchor="t" anchorCtr="1" compatLnSpc="1">
              <a:noAutofit/>
            </a:bodyPr>
            <a:lstStyle/>
            <a:p>
              <a:pPr marL="0" marR="0" lvl="0" indent="0" algn="ctr" defTabSz="895919"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2307" b="0" i="0" u="none" strike="noStrike" kern="0" cap="none" spc="0" normalizeH="0" baseline="0" noProof="0">
                <a:ln>
                  <a:noFill/>
                </a:ln>
                <a:solidFill>
                  <a:srgbClr val="000000"/>
                </a:solidFill>
                <a:effectLst/>
                <a:uLnTx/>
                <a:uFillTx/>
                <a:latin typeface="Segoe UI Semilight"/>
                <a:ea typeface="Segoe UI" pitchFamily="34"/>
                <a:cs typeface="Segoe UI" pitchFamily="34"/>
              </a:endParaRPr>
            </a:p>
          </p:txBody>
        </p:sp>
      </p:grpSp>
      <p:sp>
        <p:nvSpPr>
          <p:cNvPr id="676" name="Rectangle 675">
            <a:extLst>
              <a:ext uri="{FF2B5EF4-FFF2-40B4-BE49-F238E27FC236}">
                <a16:creationId xmlns:a16="http://schemas.microsoft.com/office/drawing/2014/main" id="{14178918-11E5-4864-8BAA-90AB45461C49}"/>
              </a:ext>
            </a:extLst>
          </p:cNvPr>
          <p:cNvSpPr/>
          <p:nvPr/>
        </p:nvSpPr>
        <p:spPr>
          <a:xfrm>
            <a:off x="7484192" y="4422947"/>
            <a:ext cx="1958761" cy="579315"/>
          </a:xfrm>
          <a:prstGeom prst="rect">
            <a:avLst/>
          </a:prstGeom>
        </p:spPr>
        <p:txBody>
          <a:bodyPr wrap="square">
            <a:spAutoFit/>
          </a:bodyPr>
          <a:lstStyle/>
          <a:p>
            <a:pPr marL="0" marR="0" lvl="0" indent="0" algn="ctr" defTabSz="896182"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765" b="0" i="0" u="none" strike="noStrike" kern="0" cap="none" spc="0" normalizeH="0" baseline="0" noProof="0" dirty="0">
                <a:ln>
                  <a:noFill/>
                </a:ln>
                <a:solidFill>
                  <a:srgbClr val="000000"/>
                </a:solidFill>
                <a:effectLst/>
                <a:uLnTx/>
                <a:uFillTx/>
                <a:latin typeface="Segoe UI Semilight"/>
                <a:ea typeface="+mn-ea"/>
                <a:cs typeface="+mn-cs"/>
              </a:rPr>
              <a:t>Microsoft Azure </a:t>
            </a:r>
          </a:p>
          <a:p>
            <a:pPr marL="0" marR="0" lvl="0" indent="0" algn="ctr" defTabSz="896182"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765" b="0" i="0" u="none" strike="noStrike" kern="0" cap="none" spc="0" normalizeH="0" baseline="0" noProof="0" dirty="0">
                <a:ln>
                  <a:noFill/>
                </a:ln>
                <a:solidFill>
                  <a:srgbClr val="000000"/>
                </a:solidFill>
                <a:effectLst/>
                <a:uLnTx/>
                <a:uFillTx/>
                <a:latin typeface="Segoe UI Semilight"/>
                <a:ea typeface="+mn-ea"/>
                <a:cs typeface="+mn-cs"/>
              </a:rPr>
              <a:t>Active Directory</a:t>
            </a:r>
          </a:p>
        </p:txBody>
      </p:sp>
      <p:sp>
        <p:nvSpPr>
          <p:cNvPr id="677" name="Freeform 124">
            <a:extLst>
              <a:ext uri="{FF2B5EF4-FFF2-40B4-BE49-F238E27FC236}">
                <a16:creationId xmlns:a16="http://schemas.microsoft.com/office/drawing/2014/main" id="{7FB78BC3-122F-458D-AB28-5A38A7743C7A}"/>
              </a:ext>
            </a:extLst>
          </p:cNvPr>
          <p:cNvSpPr/>
          <p:nvPr/>
        </p:nvSpPr>
        <p:spPr bwMode="auto">
          <a:xfrm rot="10800000" flipV="1">
            <a:off x="4494448" y="2735596"/>
            <a:ext cx="3051420" cy="3651918"/>
          </a:xfrm>
          <a:prstGeom prst="arc">
            <a:avLst>
              <a:gd name="adj1" fmla="val 11679794"/>
              <a:gd name="adj2" fmla="val 19786520"/>
            </a:avLst>
          </a:prstGeom>
          <a:noFill/>
          <a:ln w="31750" cap="rnd">
            <a:solidFill>
              <a:schemeClr val="tx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678" name="Group 677">
            <a:extLst>
              <a:ext uri="{FF2B5EF4-FFF2-40B4-BE49-F238E27FC236}">
                <a16:creationId xmlns:a16="http://schemas.microsoft.com/office/drawing/2014/main" id="{9153CDFD-FE48-4E6D-8A28-9C6A863816DD}"/>
              </a:ext>
            </a:extLst>
          </p:cNvPr>
          <p:cNvGrpSpPr/>
          <p:nvPr/>
        </p:nvGrpSpPr>
        <p:grpSpPr>
          <a:xfrm rot="900000">
            <a:off x="5721978" y="2471194"/>
            <a:ext cx="682429" cy="568342"/>
            <a:chOff x="3242937" y="2381026"/>
            <a:chExt cx="796924" cy="663700"/>
          </a:xfrm>
        </p:grpSpPr>
        <p:sp useBgFill="1">
          <p:nvSpPr>
            <p:cNvPr id="679" name="Oval 678">
              <a:extLst>
                <a:ext uri="{FF2B5EF4-FFF2-40B4-BE49-F238E27FC236}">
                  <a16:creationId xmlns:a16="http://schemas.microsoft.com/office/drawing/2014/main" id="{C4F9F428-F1D4-4ABC-A2DA-2E3FA2FF579A}"/>
                </a:ext>
              </a:extLst>
            </p:cNvPr>
            <p:cNvSpPr/>
            <p:nvPr/>
          </p:nvSpPr>
          <p:spPr bwMode="auto">
            <a:xfrm>
              <a:off x="3342366" y="2430335"/>
              <a:ext cx="610136" cy="61013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78438" rtl="0" eaLnBrk="1" fontAlgn="base" latinLnBrk="0" hangingPunct="1">
                <a:lnSpc>
                  <a:spcPct val="90000"/>
                </a:lnSpc>
                <a:spcBef>
                  <a:spcPct val="0"/>
                </a:spcBef>
                <a:spcAft>
                  <a:spcPct val="0"/>
                </a:spcAft>
                <a:buClrTx/>
                <a:buSzTx/>
                <a:buFontTx/>
                <a:buNone/>
                <a:tabLst/>
                <a:defRPr/>
              </a:pPr>
              <a:endParaRPr kumimoji="0" lang="en-US" sz="1922" b="0" i="0" u="none" strike="noStrike" kern="1200" cap="none" spc="-48" normalizeH="0" baseline="0" noProof="0" dirty="0">
                <a:ln>
                  <a:noFill/>
                </a:ln>
                <a:gradFill>
                  <a:gsLst>
                    <a:gs pos="1250">
                      <a:srgbClr val="EFEFEF"/>
                    </a:gs>
                    <a:gs pos="10417">
                      <a:srgbClr val="EFEFEF"/>
                    </a:gs>
                  </a:gsLst>
                  <a:lin ang="5400000" scaled="0"/>
                </a:gradFill>
                <a:effectLst/>
                <a:uLnTx/>
                <a:uFillTx/>
                <a:latin typeface="Segoe UI Semilight"/>
                <a:ea typeface="+mn-ea"/>
                <a:cs typeface="+mn-cs"/>
              </a:endParaRPr>
            </a:p>
          </p:txBody>
        </p:sp>
        <p:sp>
          <p:nvSpPr>
            <p:cNvPr id="680" name="Freeform 31">
              <a:extLst>
                <a:ext uri="{FF2B5EF4-FFF2-40B4-BE49-F238E27FC236}">
                  <a16:creationId xmlns:a16="http://schemas.microsoft.com/office/drawing/2014/main" id="{17021B9B-EB7A-45A2-88C2-B5EF2DC3871B}"/>
                </a:ext>
              </a:extLst>
            </p:cNvPr>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marL="0" marR="0" lvl="0" indent="0" algn="l" defTabSz="8961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681" name="Group 680">
            <a:extLst>
              <a:ext uri="{FF2B5EF4-FFF2-40B4-BE49-F238E27FC236}">
                <a16:creationId xmlns:a16="http://schemas.microsoft.com/office/drawing/2014/main" id="{EDA3BF2A-B4B2-4EF2-9BB8-856686763A53}"/>
              </a:ext>
            </a:extLst>
          </p:cNvPr>
          <p:cNvGrpSpPr/>
          <p:nvPr/>
        </p:nvGrpSpPr>
        <p:grpSpPr>
          <a:xfrm flipH="1">
            <a:off x="10124386" y="4539652"/>
            <a:ext cx="1126057" cy="909107"/>
            <a:chOff x="1124660" y="2438555"/>
            <a:chExt cx="1323363" cy="1068399"/>
          </a:xfrm>
        </p:grpSpPr>
        <p:sp>
          <p:nvSpPr>
            <p:cNvPr id="682" name="Freeform 5">
              <a:extLst>
                <a:ext uri="{FF2B5EF4-FFF2-40B4-BE49-F238E27FC236}">
                  <a16:creationId xmlns:a16="http://schemas.microsoft.com/office/drawing/2014/main" id="{626E869C-25CF-47EB-A059-783578BE384E}"/>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683" name="Group 682">
              <a:extLst>
                <a:ext uri="{FF2B5EF4-FFF2-40B4-BE49-F238E27FC236}">
                  <a16:creationId xmlns:a16="http://schemas.microsoft.com/office/drawing/2014/main" id="{A80AA46E-35A3-43E2-8F0C-72E314D855DF}"/>
                </a:ext>
              </a:extLst>
            </p:cNvPr>
            <p:cNvGrpSpPr/>
            <p:nvPr/>
          </p:nvGrpSpPr>
          <p:grpSpPr>
            <a:xfrm>
              <a:off x="1124660" y="2438555"/>
              <a:ext cx="593820" cy="706058"/>
              <a:chOff x="6447047" y="5804307"/>
              <a:chExt cx="414034" cy="492291"/>
            </a:xfrm>
          </p:grpSpPr>
          <p:sp>
            <p:nvSpPr>
              <p:cNvPr id="684" name="Freeform 9">
                <a:extLst>
                  <a:ext uri="{FF2B5EF4-FFF2-40B4-BE49-F238E27FC236}">
                    <a16:creationId xmlns:a16="http://schemas.microsoft.com/office/drawing/2014/main" id="{9C19C08F-2A8F-4713-9CE8-8158E016CC48}"/>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685" name="Oval 8">
                <a:extLst>
                  <a:ext uri="{FF2B5EF4-FFF2-40B4-BE49-F238E27FC236}">
                    <a16:creationId xmlns:a16="http://schemas.microsoft.com/office/drawing/2014/main" id="{C19BAEE1-DF52-4A75-A311-C0C27A572B1F}"/>
                  </a:ext>
                </a:extLst>
              </p:cNvPr>
              <p:cNvSpPr>
                <a:spLocks noChangeArrowheads="1"/>
              </p:cNvSpPr>
              <p:nvPr/>
            </p:nvSpPr>
            <p:spPr bwMode="auto">
              <a:xfrm>
                <a:off x="6507270" y="5804307"/>
                <a:ext cx="293587" cy="290228"/>
              </a:xfrm>
              <a:prstGeom prst="ellipse">
                <a:avLst/>
              </a:prstGeom>
              <a:noFill/>
              <a:ln w="190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cxnSp>
        <p:nvCxnSpPr>
          <p:cNvPr id="686" name="Straight Connector 685">
            <a:extLst>
              <a:ext uri="{FF2B5EF4-FFF2-40B4-BE49-F238E27FC236}">
                <a16:creationId xmlns:a16="http://schemas.microsoft.com/office/drawing/2014/main" id="{F9EFC00D-8807-43CD-AE9E-0A4853A4B634}"/>
              </a:ext>
            </a:extLst>
          </p:cNvPr>
          <p:cNvCxnSpPr>
            <a:cxnSpLocks/>
          </p:cNvCxnSpPr>
          <p:nvPr/>
        </p:nvCxnSpPr>
        <p:spPr>
          <a:xfrm>
            <a:off x="9685539" y="4851142"/>
            <a:ext cx="438846" cy="192873"/>
          </a:xfrm>
          <a:prstGeom prst="line">
            <a:avLst/>
          </a:prstGeom>
          <a:noFill/>
          <a:ln w="31750" cap="rnd">
            <a:solidFill>
              <a:schemeClr val="tx1"/>
            </a:solidFill>
            <a:prstDash val="sysDot"/>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313761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577"/>
                                        </p:tgtEl>
                                        <p:attrNameLst>
                                          <p:attrName>style.visibility</p:attrName>
                                        </p:attrNameLst>
                                      </p:cBhvr>
                                      <p:to>
                                        <p:strVal val="visible"/>
                                      </p:to>
                                    </p:set>
                                    <p:animEffect transition="in" filter="wheel(1)">
                                      <p:cBhvr>
                                        <p:cTn id="7" dur="2000"/>
                                        <p:tgtEl>
                                          <p:spTgt spid="577"/>
                                        </p:tgtEl>
                                      </p:cBhvr>
                                    </p:animEffect>
                                  </p:childTnLst>
                                </p:cTn>
                              </p:par>
                              <p:par>
                                <p:cTn id="8" presetID="22" presetClass="entr" presetSubtype="8" fill="hold" nodeType="withEffect">
                                  <p:stCondLst>
                                    <p:cond delay="0"/>
                                  </p:stCondLst>
                                  <p:childTnLst>
                                    <p:set>
                                      <p:cBhvr>
                                        <p:cTn id="9" dur="1" fill="hold">
                                          <p:stCondLst>
                                            <p:cond delay="0"/>
                                          </p:stCondLst>
                                        </p:cTn>
                                        <p:tgtEl>
                                          <p:spTgt spid="655"/>
                                        </p:tgtEl>
                                        <p:attrNameLst>
                                          <p:attrName>style.visibility</p:attrName>
                                        </p:attrNameLst>
                                      </p:cBhvr>
                                      <p:to>
                                        <p:strVal val="visible"/>
                                      </p:to>
                                    </p:set>
                                    <p:animEffect transition="in" filter="wipe(left)">
                                      <p:cBhvr>
                                        <p:cTn id="10" dur="2000"/>
                                        <p:tgtEl>
                                          <p:spTgt spid="655"/>
                                        </p:tgtEl>
                                      </p:cBhvr>
                                    </p:animEffect>
                                  </p:childTnLst>
                                </p:cTn>
                              </p:par>
                              <p:par>
                                <p:cTn id="11" presetID="1" presetClass="entr" presetSubtype="0" fill="hold" nodeType="withEffect">
                                  <p:stCondLst>
                                    <p:cond delay="1750"/>
                                  </p:stCondLst>
                                  <p:childTnLst>
                                    <p:set>
                                      <p:cBhvr>
                                        <p:cTn id="12" dur="1" fill="hold">
                                          <p:stCondLst>
                                            <p:cond delay="0"/>
                                          </p:stCondLst>
                                        </p:cTn>
                                        <p:tgtEl>
                                          <p:spTgt spid="671"/>
                                        </p:tgtEl>
                                        <p:attrNameLst>
                                          <p:attrName>style.visibility</p:attrName>
                                        </p:attrNameLst>
                                      </p:cBhvr>
                                      <p:to>
                                        <p:strVal val="visible"/>
                                      </p:to>
                                    </p:set>
                                  </p:childTnLst>
                                </p:cTn>
                              </p:par>
                              <p:par>
                                <p:cTn id="13" presetID="21" presetClass="entr" presetSubtype="1" fill="hold" nodeType="withEffect">
                                  <p:stCondLst>
                                    <p:cond delay="1750"/>
                                  </p:stCondLst>
                                  <p:childTnLst>
                                    <p:set>
                                      <p:cBhvr>
                                        <p:cTn id="14" dur="1" fill="hold">
                                          <p:stCondLst>
                                            <p:cond delay="0"/>
                                          </p:stCondLst>
                                        </p:cTn>
                                        <p:tgtEl>
                                          <p:spTgt spid="671"/>
                                        </p:tgtEl>
                                        <p:attrNameLst>
                                          <p:attrName>style.visibility</p:attrName>
                                        </p:attrNameLst>
                                      </p:cBhvr>
                                      <p:to>
                                        <p:strVal val="visible"/>
                                      </p:to>
                                    </p:set>
                                    <p:animEffect transition="in" filter="wheel(1)">
                                      <p:cBhvr>
                                        <p:cTn id="15" dur="500"/>
                                        <p:tgtEl>
                                          <p:spTgt spid="671"/>
                                        </p:tgtEl>
                                      </p:cBhvr>
                                    </p:animEffect>
                                  </p:childTnLst>
                                </p:cTn>
                              </p:par>
                              <p:par>
                                <p:cTn id="16" presetID="6" presetClass="emph" presetSubtype="0" accel="100000" autoRev="1" fill="hold" nodeType="withEffect">
                                  <p:stCondLst>
                                    <p:cond delay="1250"/>
                                  </p:stCondLst>
                                  <p:childTnLst>
                                    <p:animScale>
                                      <p:cBhvr>
                                        <p:cTn id="17" dur="500" fill="hold"/>
                                        <p:tgtEl>
                                          <p:spTgt spid="671"/>
                                        </p:tgtEl>
                                      </p:cBhvr>
                                      <p:by x="80000" y="80000"/>
                                    </p:animScale>
                                  </p:childTnLst>
                                </p:cTn>
                              </p:par>
                              <p:par>
                                <p:cTn id="18" presetID="10" presetClass="entr" presetSubtype="0" fill="hold" grpId="0" nodeType="withEffect">
                                  <p:stCondLst>
                                    <p:cond delay="1600"/>
                                  </p:stCondLst>
                                  <p:childTnLst>
                                    <p:set>
                                      <p:cBhvr>
                                        <p:cTn id="19" dur="1" fill="hold">
                                          <p:stCondLst>
                                            <p:cond delay="0"/>
                                          </p:stCondLst>
                                        </p:cTn>
                                        <p:tgtEl>
                                          <p:spTgt spid="676"/>
                                        </p:tgtEl>
                                        <p:attrNameLst>
                                          <p:attrName>style.visibility</p:attrName>
                                        </p:attrNameLst>
                                      </p:cBhvr>
                                      <p:to>
                                        <p:strVal val="visible"/>
                                      </p:to>
                                    </p:set>
                                    <p:animEffect transition="in" filter="fade">
                                      <p:cBhvr>
                                        <p:cTn id="20" dur="400"/>
                                        <p:tgtEl>
                                          <p:spTgt spid="676"/>
                                        </p:tgtEl>
                                      </p:cBhvr>
                                    </p:animEffect>
                                  </p:childTnLst>
                                </p:cTn>
                              </p:par>
                              <p:par>
                                <p:cTn id="21" presetID="42" presetClass="path" presetSubtype="0" decel="100000" fill="hold" grpId="1" nodeType="withEffect">
                                  <p:stCondLst>
                                    <p:cond delay="1250"/>
                                  </p:stCondLst>
                                  <p:childTnLst>
                                    <p:animMotion origin="layout" path="M -3.68905E-6 -4.66636E-6 L -3.68905E-6 0.09624 " pathEditMode="relative" rAng="0" ptsTypes="AA">
                                      <p:cBhvr>
                                        <p:cTn id="22" dur="700" spd="-100000" fill="hold"/>
                                        <p:tgtEl>
                                          <p:spTgt spid="676"/>
                                        </p:tgtEl>
                                        <p:attrNameLst>
                                          <p:attrName>ppt_x</p:attrName>
                                          <p:attrName>ppt_y</p:attrName>
                                        </p:attrNameLst>
                                      </p:cBhvr>
                                      <p:rCtr x="0" y="4812"/>
                                    </p:animMotion>
                                  </p:childTnLst>
                                </p:cTn>
                              </p:par>
                            </p:childTnLst>
                          </p:cTn>
                        </p:par>
                        <p:par>
                          <p:cTn id="23" fill="hold">
                            <p:stCondLst>
                              <p:cond delay="2250"/>
                            </p:stCondLst>
                            <p:childTnLst>
                              <p:par>
                                <p:cTn id="24" presetID="10" presetClass="entr" presetSubtype="0" fill="hold" nodeType="afterEffect">
                                  <p:stCondLst>
                                    <p:cond delay="0"/>
                                  </p:stCondLst>
                                  <p:childTnLst>
                                    <p:set>
                                      <p:cBhvr>
                                        <p:cTn id="25" dur="1" fill="hold">
                                          <p:stCondLst>
                                            <p:cond delay="0"/>
                                          </p:stCondLst>
                                        </p:cTn>
                                        <p:tgtEl>
                                          <p:spTgt spid="681"/>
                                        </p:tgtEl>
                                        <p:attrNameLst>
                                          <p:attrName>style.visibility</p:attrName>
                                        </p:attrNameLst>
                                      </p:cBhvr>
                                      <p:to>
                                        <p:strVal val="visible"/>
                                      </p:to>
                                    </p:set>
                                    <p:animEffect transition="in" filter="fade">
                                      <p:cBhvr>
                                        <p:cTn id="26" dur="500"/>
                                        <p:tgtEl>
                                          <p:spTgt spid="681"/>
                                        </p:tgtEl>
                                      </p:cBhvr>
                                    </p:animEffect>
                                  </p:childTnLst>
                                </p:cTn>
                              </p:par>
                              <p:par>
                                <p:cTn id="27" presetID="22" presetClass="entr" presetSubtype="2" fill="hold" nodeType="withEffect">
                                  <p:stCondLst>
                                    <p:cond delay="250"/>
                                  </p:stCondLst>
                                  <p:childTnLst>
                                    <p:set>
                                      <p:cBhvr>
                                        <p:cTn id="28" dur="1" fill="hold">
                                          <p:stCondLst>
                                            <p:cond delay="0"/>
                                          </p:stCondLst>
                                        </p:cTn>
                                        <p:tgtEl>
                                          <p:spTgt spid="686"/>
                                        </p:tgtEl>
                                        <p:attrNameLst>
                                          <p:attrName>style.visibility</p:attrName>
                                        </p:attrNameLst>
                                      </p:cBhvr>
                                      <p:to>
                                        <p:strVal val="visible"/>
                                      </p:to>
                                    </p:set>
                                    <p:animEffect transition="in" filter="wipe(right)">
                                      <p:cBhvr>
                                        <p:cTn id="29" dur="500"/>
                                        <p:tgtEl>
                                          <p:spTgt spid="686"/>
                                        </p:tgtEl>
                                      </p:cBhvr>
                                    </p:animEffec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678"/>
                                        </p:tgtEl>
                                        <p:attrNameLst>
                                          <p:attrName>style.visibility</p:attrName>
                                        </p:attrNameLst>
                                      </p:cBhvr>
                                      <p:to>
                                        <p:strVal val="visible"/>
                                      </p:to>
                                    </p:set>
                                    <p:animEffect transition="in" filter="fade">
                                      <p:cBhvr>
                                        <p:cTn id="33" dur="500"/>
                                        <p:tgtEl>
                                          <p:spTgt spid="678"/>
                                        </p:tgtEl>
                                      </p:cBhvr>
                                    </p:animEffect>
                                  </p:childTnLst>
                                </p:cTn>
                              </p:par>
                              <p:par>
                                <p:cTn id="34" presetID="8" presetClass="emph" presetSubtype="0" decel="100000" fill="hold" nodeType="withEffect">
                                  <p:stCondLst>
                                    <p:cond delay="500"/>
                                  </p:stCondLst>
                                  <p:childTnLst>
                                    <p:animRot by="43200000">
                                      <p:cBhvr>
                                        <p:cTn id="35" dur="2000" fill="hold"/>
                                        <p:tgtEl>
                                          <p:spTgt spid="678"/>
                                        </p:tgtEl>
                                        <p:attrNameLst>
                                          <p:attrName>r</p:attrName>
                                        </p:attrNameLst>
                                      </p:cBhvr>
                                    </p:animRot>
                                  </p:childTnLst>
                                </p:cTn>
                              </p:par>
                              <p:par>
                                <p:cTn id="36" presetID="16" presetClass="entr" presetSubtype="37" fill="hold" grpId="0" nodeType="withEffect">
                                  <p:stCondLst>
                                    <p:cond delay="500"/>
                                  </p:stCondLst>
                                  <p:childTnLst>
                                    <p:set>
                                      <p:cBhvr>
                                        <p:cTn id="37" dur="1" fill="hold">
                                          <p:stCondLst>
                                            <p:cond delay="0"/>
                                          </p:stCondLst>
                                        </p:cTn>
                                        <p:tgtEl>
                                          <p:spTgt spid="677"/>
                                        </p:tgtEl>
                                        <p:attrNameLst>
                                          <p:attrName>style.visibility</p:attrName>
                                        </p:attrNameLst>
                                      </p:cBhvr>
                                      <p:to>
                                        <p:strVal val="visible"/>
                                      </p:to>
                                    </p:set>
                                    <p:animEffect transition="in" filter="barn(outVertical)">
                                      <p:cBhvr>
                                        <p:cTn id="38" dur="2000"/>
                                        <p:tgtEl>
                                          <p:spTgt spid="677"/>
                                        </p:tgtEl>
                                      </p:cBhvr>
                                    </p:animEffect>
                                  </p:childTnLst>
                                </p:cTn>
                              </p:par>
                              <p:par>
                                <p:cTn id="39" presetID="10" presetClass="entr" presetSubtype="0" fill="hold" grpId="0" nodeType="withEffect">
                                  <p:stCondLst>
                                    <p:cond delay="600"/>
                                  </p:stCondLst>
                                  <p:childTnLst>
                                    <p:set>
                                      <p:cBhvr>
                                        <p:cTn id="40" dur="1" fill="hold">
                                          <p:stCondLst>
                                            <p:cond delay="0"/>
                                          </p:stCondLst>
                                        </p:cTn>
                                        <p:tgtEl>
                                          <p:spTgt spid="652"/>
                                        </p:tgtEl>
                                        <p:attrNameLst>
                                          <p:attrName>style.visibility</p:attrName>
                                        </p:attrNameLst>
                                      </p:cBhvr>
                                      <p:to>
                                        <p:strVal val="visible"/>
                                      </p:to>
                                    </p:set>
                                    <p:animEffect transition="in" filter="fade">
                                      <p:cBhvr>
                                        <p:cTn id="41" dur="400"/>
                                        <p:tgtEl>
                                          <p:spTgt spid="652"/>
                                        </p:tgtEl>
                                      </p:cBhvr>
                                    </p:animEffect>
                                  </p:childTnLst>
                                </p:cTn>
                              </p:par>
                              <p:par>
                                <p:cTn id="42" presetID="42" presetClass="path" presetSubtype="0" decel="100000" fill="hold" grpId="1" nodeType="withEffect">
                                  <p:stCondLst>
                                    <p:cond delay="300"/>
                                  </p:stCondLst>
                                  <p:childTnLst>
                                    <p:animMotion origin="layout" path="M 2.40745E-6 -2.7281E-6 L 2.40745E-6 0.09624 " pathEditMode="relative" rAng="0" ptsTypes="AA">
                                      <p:cBhvr>
                                        <p:cTn id="43" dur="700" spd="-100000" fill="hold"/>
                                        <p:tgtEl>
                                          <p:spTgt spid="652"/>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7" grpId="0" animBg="1"/>
      <p:bldP spid="652" grpId="0"/>
      <p:bldP spid="652" grpId="1"/>
      <p:bldP spid="676" grpId="0"/>
      <p:bldP spid="676" grpId="1"/>
      <p:bldP spid="67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CE774-E50A-4E0D-A057-59AAB280E106}"/>
              </a:ext>
            </a:extLst>
          </p:cNvPr>
          <p:cNvSpPr>
            <a:spLocks noGrp="1"/>
          </p:cNvSpPr>
          <p:nvPr>
            <p:ph type="title"/>
          </p:nvPr>
        </p:nvSpPr>
        <p:spPr/>
        <p:txBody>
          <a:bodyPr/>
          <a:lstStyle/>
          <a:p>
            <a:pPr algn="ctr"/>
            <a:r>
              <a:rPr lang="en-US" sz="4000" dirty="0"/>
              <a:t>Azure AD Connect authentication options</a:t>
            </a:r>
            <a:br>
              <a:rPr lang="en-US" sz="4000" dirty="0"/>
            </a:br>
            <a:br>
              <a:rPr lang="en-US" sz="900" dirty="0"/>
            </a:br>
            <a:r>
              <a:rPr lang="en-US" sz="2400" spc="0" dirty="0">
                <a:solidFill>
                  <a:schemeClr val="tx1"/>
                </a:solidFill>
                <a:latin typeface="Segoe UI" panose="020B0502040204020203" pitchFamily="34" charset="0"/>
              </a:rPr>
              <a:t>Pass-through authentication</a:t>
            </a:r>
            <a:endParaRPr lang="en-US" sz="2400" spc="0" dirty="0">
              <a:solidFill>
                <a:srgbClr val="353535"/>
              </a:solidFill>
              <a:latin typeface="Segoe UI" panose="020B0502040204020203" pitchFamily="34" charset="0"/>
            </a:endParaRPr>
          </a:p>
        </p:txBody>
      </p:sp>
      <p:sp>
        <p:nvSpPr>
          <p:cNvPr id="70" name="Rectangle 69">
            <a:extLst>
              <a:ext uri="{FF2B5EF4-FFF2-40B4-BE49-F238E27FC236}">
                <a16:creationId xmlns:a16="http://schemas.microsoft.com/office/drawing/2014/main" id="{C43D3487-0013-4FB3-B119-E3F284768872}"/>
              </a:ext>
            </a:extLst>
          </p:cNvPr>
          <p:cNvSpPr/>
          <p:nvPr/>
        </p:nvSpPr>
        <p:spPr bwMode="auto">
          <a:xfrm>
            <a:off x="-1371779" y="486"/>
            <a:ext cx="1279979" cy="6857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art 1 of 4</a:t>
            </a:r>
          </a:p>
        </p:txBody>
      </p:sp>
      <p:sp>
        <p:nvSpPr>
          <p:cNvPr id="197" name="Freeform: Shape 196">
            <a:extLst>
              <a:ext uri="{FF2B5EF4-FFF2-40B4-BE49-F238E27FC236}">
                <a16:creationId xmlns:a16="http://schemas.microsoft.com/office/drawing/2014/main" id="{0974142A-7FF3-4264-80AE-48159D9BD4E5}"/>
              </a:ext>
            </a:extLst>
          </p:cNvPr>
          <p:cNvSpPr/>
          <p:nvPr/>
        </p:nvSpPr>
        <p:spPr>
          <a:xfrm flipH="1">
            <a:off x="4713300" y="1538390"/>
            <a:ext cx="2064547" cy="1357552"/>
          </a:xfrm>
          <a:custGeom>
            <a:avLst/>
            <a:gdLst>
              <a:gd name="connsiteX0" fmla="*/ 1627536 w 2877656"/>
              <a:gd name="connsiteY0" fmla="*/ 0 h 1892217"/>
              <a:gd name="connsiteX1" fmla="*/ 2425623 w 2877656"/>
              <a:gd name="connsiteY1" fmla="*/ 798431 h 1892217"/>
              <a:gd name="connsiteX2" fmla="*/ 2424542 w 2877656"/>
              <a:gd name="connsiteY2" fmla="*/ 836297 h 1892217"/>
              <a:gd name="connsiteX3" fmla="*/ 2877656 w 2877656"/>
              <a:gd name="connsiteY3" fmla="*/ 1361011 h 1892217"/>
              <a:gd name="connsiteX4" fmla="*/ 2347761 w 2877656"/>
              <a:gd name="connsiteY4" fmla="*/ 1892217 h 1892217"/>
              <a:gd name="connsiteX5" fmla="*/ 2316400 w 2877656"/>
              <a:gd name="connsiteY5" fmla="*/ 1891135 h 1892217"/>
              <a:gd name="connsiteX6" fmla="*/ 656421 w 2877656"/>
              <a:gd name="connsiteY6" fmla="*/ 1891135 h 1892217"/>
              <a:gd name="connsiteX7" fmla="*/ 621816 w 2877656"/>
              <a:gd name="connsiteY7" fmla="*/ 1892217 h 1892217"/>
              <a:gd name="connsiteX8" fmla="*/ 588292 w 2877656"/>
              <a:gd name="connsiteY8" fmla="*/ 1891135 h 1892217"/>
              <a:gd name="connsiteX9" fmla="*/ 587211 w 2877656"/>
              <a:gd name="connsiteY9" fmla="*/ 1891135 h 1892217"/>
              <a:gd name="connsiteX10" fmla="*/ 0 w 2877656"/>
              <a:gd name="connsiteY10" fmla="*/ 1270133 h 1892217"/>
              <a:gd name="connsiteX11" fmla="*/ 287658 w 2877656"/>
              <a:gd name="connsiteY11" fmla="*/ 745419 h 1892217"/>
              <a:gd name="connsiteX12" fmla="*/ 287658 w 2877656"/>
              <a:gd name="connsiteY12" fmla="*/ 736764 h 1892217"/>
              <a:gd name="connsiteX13" fmla="*/ 732121 w 2877656"/>
              <a:gd name="connsiteY13" fmla="*/ 292109 h 1892217"/>
              <a:gd name="connsiteX14" fmla="*/ 962463 w 2877656"/>
              <a:gd name="connsiteY14" fmla="*/ 357022 h 1892217"/>
              <a:gd name="connsiteX15" fmla="*/ 1627536 w 2877656"/>
              <a:gd name="connsiteY15" fmla="*/ 0 h 189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7656" h="1892217">
                <a:moveTo>
                  <a:pt x="1627536" y="0"/>
                </a:moveTo>
                <a:cubicBezTo>
                  <a:pt x="2067673" y="0"/>
                  <a:pt x="2425623" y="357022"/>
                  <a:pt x="2425623" y="798431"/>
                </a:cubicBezTo>
                <a:cubicBezTo>
                  <a:pt x="2425623" y="810332"/>
                  <a:pt x="2424542" y="823315"/>
                  <a:pt x="2424542" y="836297"/>
                </a:cubicBezTo>
                <a:cubicBezTo>
                  <a:pt x="2680838" y="873081"/>
                  <a:pt x="2877656" y="1093786"/>
                  <a:pt x="2877656" y="1361011"/>
                </a:cubicBezTo>
                <a:cubicBezTo>
                  <a:pt x="2877656" y="1655284"/>
                  <a:pt x="2640825" y="1892217"/>
                  <a:pt x="2347761" y="1892217"/>
                </a:cubicBezTo>
                <a:cubicBezTo>
                  <a:pt x="2336947" y="1892217"/>
                  <a:pt x="2326132" y="1892217"/>
                  <a:pt x="2316400" y="1891135"/>
                </a:cubicBezTo>
                <a:cubicBezTo>
                  <a:pt x="2316400" y="1891135"/>
                  <a:pt x="2316400" y="1891135"/>
                  <a:pt x="656421" y="1891135"/>
                </a:cubicBezTo>
                <a:cubicBezTo>
                  <a:pt x="644526" y="1892217"/>
                  <a:pt x="633712" y="1892217"/>
                  <a:pt x="621816" y="1892217"/>
                </a:cubicBezTo>
                <a:cubicBezTo>
                  <a:pt x="611002" y="1892217"/>
                  <a:pt x="599106" y="1892217"/>
                  <a:pt x="588292" y="1891135"/>
                </a:cubicBezTo>
                <a:cubicBezTo>
                  <a:pt x="588292" y="1891135"/>
                  <a:pt x="588292" y="1891135"/>
                  <a:pt x="587211" y="1891135"/>
                </a:cubicBezTo>
                <a:cubicBezTo>
                  <a:pt x="259541" y="1873825"/>
                  <a:pt x="0" y="1602272"/>
                  <a:pt x="0" y="1270133"/>
                </a:cubicBezTo>
                <a:cubicBezTo>
                  <a:pt x="0" y="1049429"/>
                  <a:pt x="114631" y="855771"/>
                  <a:pt x="287658" y="745419"/>
                </a:cubicBezTo>
                <a:cubicBezTo>
                  <a:pt x="287658" y="742173"/>
                  <a:pt x="287658" y="740009"/>
                  <a:pt x="287658" y="736764"/>
                </a:cubicBezTo>
                <a:cubicBezTo>
                  <a:pt x="287658" y="491176"/>
                  <a:pt x="486639" y="292109"/>
                  <a:pt x="732121" y="292109"/>
                </a:cubicBezTo>
                <a:cubicBezTo>
                  <a:pt x="816472" y="292109"/>
                  <a:pt x="895415" y="315911"/>
                  <a:pt x="962463" y="357022"/>
                </a:cubicBezTo>
                <a:cubicBezTo>
                  <a:pt x="1105210" y="141727"/>
                  <a:pt x="1349611" y="0"/>
                  <a:pt x="1627536" y="0"/>
                </a:cubicBezTo>
                <a:close/>
              </a:path>
            </a:pathLst>
          </a:custGeom>
          <a:blipFill dpi="0" rotWithShape="1">
            <a:blip r:embed="rId3" cstate="print">
              <a:extLst>
                <a:ext uri="{28A0092B-C50C-407E-A947-70E740481C1C}">
                  <a14:useLocalDpi xmlns:a14="http://schemas.microsoft.com/office/drawing/2010/main" val="0"/>
                </a:ext>
              </a:extLst>
            </a:blip>
            <a:srcRect/>
            <a:stretch>
              <a:fillRect/>
            </a:stretch>
          </a:blipFill>
          <a:ln w="12700" cap="flat" cmpd="sng" algn="ctr">
            <a:solidFill>
              <a:srgbClr val="0078D7"/>
            </a:solidFill>
            <a:prstDash val="solid"/>
          </a:ln>
          <a:effectLst/>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353535"/>
              </a:solidFill>
              <a:effectLst/>
              <a:uLnTx/>
              <a:uFillTx/>
              <a:latin typeface="Segoe UI Semilight"/>
              <a:ea typeface="+mn-ea"/>
              <a:cs typeface="+mn-cs"/>
            </a:endParaRPr>
          </a:p>
        </p:txBody>
      </p:sp>
      <p:cxnSp>
        <p:nvCxnSpPr>
          <p:cNvPr id="198" name="Straight Arrow Connector 197">
            <a:extLst>
              <a:ext uri="{FF2B5EF4-FFF2-40B4-BE49-F238E27FC236}">
                <a16:creationId xmlns:a16="http://schemas.microsoft.com/office/drawing/2014/main" id="{853450E8-C192-447C-802B-44BA92F51655}"/>
              </a:ext>
            </a:extLst>
          </p:cNvPr>
          <p:cNvCxnSpPr>
            <a:cxnSpLocks/>
          </p:cNvCxnSpPr>
          <p:nvPr/>
        </p:nvCxnSpPr>
        <p:spPr>
          <a:xfrm flipV="1">
            <a:off x="2339178" y="2792477"/>
            <a:ext cx="1592019" cy="428148"/>
          </a:xfrm>
          <a:prstGeom prst="straightConnector1">
            <a:avLst/>
          </a:prstGeom>
          <a:noFill/>
          <a:ln w="31750" cap="rnd" cmpd="sng" algn="ctr">
            <a:solidFill>
              <a:srgbClr val="353535"/>
            </a:solidFill>
            <a:prstDash val="sysDot"/>
            <a:headEnd type="none" w="med" len="med"/>
            <a:tailEnd type="triangle" w="med" len="med"/>
          </a:ln>
          <a:effectLst/>
        </p:spPr>
      </p:cxnSp>
      <p:grpSp>
        <p:nvGrpSpPr>
          <p:cNvPr id="199" name="Group 198">
            <a:extLst>
              <a:ext uri="{FF2B5EF4-FFF2-40B4-BE49-F238E27FC236}">
                <a16:creationId xmlns:a16="http://schemas.microsoft.com/office/drawing/2014/main" id="{5CD81998-6A71-4B2E-83C4-D9F7B053A179}"/>
              </a:ext>
            </a:extLst>
          </p:cNvPr>
          <p:cNvGrpSpPr>
            <a:grpSpLocks noChangeAspect="1"/>
          </p:cNvGrpSpPr>
          <p:nvPr/>
        </p:nvGrpSpPr>
        <p:grpSpPr>
          <a:xfrm>
            <a:off x="1807002" y="3400078"/>
            <a:ext cx="427440" cy="199011"/>
            <a:chOff x="-2435740" y="3938475"/>
            <a:chExt cx="1282955" cy="597330"/>
          </a:xfrm>
          <a:solidFill>
            <a:srgbClr val="0078D7"/>
          </a:solidFill>
        </p:grpSpPr>
        <p:sp>
          <p:nvSpPr>
            <p:cNvPr id="200" name="Freeform 59">
              <a:extLst>
                <a:ext uri="{FF2B5EF4-FFF2-40B4-BE49-F238E27FC236}">
                  <a16:creationId xmlns:a16="http://schemas.microsoft.com/office/drawing/2014/main" id="{42C52326-8283-4E7A-BF3C-4E2619BED6AD}"/>
                </a:ext>
              </a:extLst>
            </p:cNvPr>
            <p:cNvSpPr>
              <a:spLocks noChangeAspect="1" noEditPoints="1"/>
            </p:cNvSpPr>
            <p:nvPr/>
          </p:nvSpPr>
          <p:spPr bwMode="auto">
            <a:xfrm>
              <a:off x="-2435740" y="4349790"/>
              <a:ext cx="274320" cy="127939"/>
            </a:xfrm>
            <a:custGeom>
              <a:avLst/>
              <a:gdLst>
                <a:gd name="T0" fmla="*/ 47 w 48"/>
                <a:gd name="T1" fmla="*/ 9 h 22"/>
                <a:gd name="T2" fmla="*/ 44 w 48"/>
                <a:gd name="T3" fmla="*/ 5 h 22"/>
                <a:gd name="T4" fmla="*/ 21 w 48"/>
                <a:gd name="T5" fmla="*/ 5 h 22"/>
                <a:gd name="T6" fmla="*/ 11 w 48"/>
                <a:gd name="T7" fmla="*/ 0 h 22"/>
                <a:gd name="T8" fmla="*/ 0 w 48"/>
                <a:gd name="T9" fmla="*/ 11 h 22"/>
                <a:gd name="T10" fmla="*/ 11 w 48"/>
                <a:gd name="T11" fmla="*/ 22 h 22"/>
                <a:gd name="T12" fmla="*/ 21 w 48"/>
                <a:gd name="T13" fmla="*/ 16 h 22"/>
                <a:gd name="T14" fmla="*/ 25 w 48"/>
                <a:gd name="T15" fmla="*/ 16 h 22"/>
                <a:gd name="T16" fmla="*/ 29 w 48"/>
                <a:gd name="T17" fmla="*/ 13 h 22"/>
                <a:gd name="T18" fmla="*/ 32 w 48"/>
                <a:gd name="T19" fmla="*/ 16 h 22"/>
                <a:gd name="T20" fmla="*/ 34 w 48"/>
                <a:gd name="T21" fmla="*/ 13 h 22"/>
                <a:gd name="T22" fmla="*/ 37 w 48"/>
                <a:gd name="T23" fmla="*/ 16 h 22"/>
                <a:gd name="T24" fmla="*/ 40 w 48"/>
                <a:gd name="T25" fmla="*/ 13 h 22"/>
                <a:gd name="T26" fmla="*/ 43 w 48"/>
                <a:gd name="T27" fmla="*/ 16 h 22"/>
                <a:gd name="T28" fmla="*/ 43 w 48"/>
                <a:gd name="T29" fmla="*/ 16 h 22"/>
                <a:gd name="T30" fmla="*/ 47 w 48"/>
                <a:gd name="T31" fmla="*/ 11 h 22"/>
                <a:gd name="T32" fmla="*/ 47 w 48"/>
                <a:gd name="T33" fmla="*/ 9 h 22"/>
                <a:gd name="T34" fmla="*/ 6 w 48"/>
                <a:gd name="T35" fmla="*/ 14 h 22"/>
                <a:gd name="T36" fmla="*/ 3 w 48"/>
                <a:gd name="T37" fmla="*/ 11 h 22"/>
                <a:gd name="T38" fmla="*/ 6 w 48"/>
                <a:gd name="T39" fmla="*/ 8 h 22"/>
                <a:gd name="T40" fmla="*/ 9 w 48"/>
                <a:gd name="T41" fmla="*/ 11 h 22"/>
                <a:gd name="T42" fmla="*/ 6 w 48"/>
                <a:gd name="T43"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22">
                  <a:moveTo>
                    <a:pt x="47" y="9"/>
                  </a:moveTo>
                  <a:cubicBezTo>
                    <a:pt x="44" y="5"/>
                    <a:pt x="44" y="5"/>
                    <a:pt x="44" y="5"/>
                  </a:cubicBezTo>
                  <a:cubicBezTo>
                    <a:pt x="21" y="5"/>
                    <a:pt x="21" y="5"/>
                    <a:pt x="21" y="5"/>
                  </a:cubicBezTo>
                  <a:cubicBezTo>
                    <a:pt x="19" y="2"/>
                    <a:pt x="15" y="0"/>
                    <a:pt x="11" y="0"/>
                  </a:cubicBezTo>
                  <a:cubicBezTo>
                    <a:pt x="5" y="0"/>
                    <a:pt x="0" y="5"/>
                    <a:pt x="0" y="11"/>
                  </a:cubicBezTo>
                  <a:cubicBezTo>
                    <a:pt x="0" y="17"/>
                    <a:pt x="5" y="22"/>
                    <a:pt x="11" y="22"/>
                  </a:cubicBezTo>
                  <a:cubicBezTo>
                    <a:pt x="15" y="22"/>
                    <a:pt x="19" y="20"/>
                    <a:pt x="21" y="16"/>
                  </a:cubicBezTo>
                  <a:cubicBezTo>
                    <a:pt x="25" y="16"/>
                    <a:pt x="25" y="16"/>
                    <a:pt x="25" y="16"/>
                  </a:cubicBezTo>
                  <a:cubicBezTo>
                    <a:pt x="29" y="13"/>
                    <a:pt x="29" y="13"/>
                    <a:pt x="29" y="13"/>
                  </a:cubicBezTo>
                  <a:cubicBezTo>
                    <a:pt x="32" y="16"/>
                    <a:pt x="32" y="16"/>
                    <a:pt x="32" y="16"/>
                  </a:cubicBezTo>
                  <a:cubicBezTo>
                    <a:pt x="34" y="13"/>
                    <a:pt x="34" y="13"/>
                    <a:pt x="34" y="13"/>
                  </a:cubicBezTo>
                  <a:cubicBezTo>
                    <a:pt x="37" y="16"/>
                    <a:pt x="37" y="16"/>
                    <a:pt x="37" y="16"/>
                  </a:cubicBezTo>
                  <a:cubicBezTo>
                    <a:pt x="40" y="13"/>
                    <a:pt x="40" y="13"/>
                    <a:pt x="40" y="13"/>
                  </a:cubicBezTo>
                  <a:cubicBezTo>
                    <a:pt x="43" y="16"/>
                    <a:pt x="43" y="16"/>
                    <a:pt x="43" y="16"/>
                  </a:cubicBezTo>
                  <a:cubicBezTo>
                    <a:pt x="43" y="16"/>
                    <a:pt x="43" y="16"/>
                    <a:pt x="43" y="16"/>
                  </a:cubicBezTo>
                  <a:cubicBezTo>
                    <a:pt x="47" y="11"/>
                    <a:pt x="47" y="11"/>
                    <a:pt x="47" y="11"/>
                  </a:cubicBezTo>
                  <a:cubicBezTo>
                    <a:pt x="48" y="10"/>
                    <a:pt x="48" y="10"/>
                    <a:pt x="47" y="9"/>
                  </a:cubicBezTo>
                  <a:close/>
                  <a:moveTo>
                    <a:pt x="6" y="14"/>
                  </a:moveTo>
                  <a:cubicBezTo>
                    <a:pt x="4" y="14"/>
                    <a:pt x="3" y="12"/>
                    <a:pt x="3" y="11"/>
                  </a:cubicBezTo>
                  <a:cubicBezTo>
                    <a:pt x="3" y="9"/>
                    <a:pt x="4" y="8"/>
                    <a:pt x="6" y="8"/>
                  </a:cubicBezTo>
                  <a:cubicBezTo>
                    <a:pt x="8" y="8"/>
                    <a:pt x="9" y="9"/>
                    <a:pt x="9" y="11"/>
                  </a:cubicBezTo>
                  <a:cubicBezTo>
                    <a:pt x="9" y="12"/>
                    <a:pt x="8" y="14"/>
                    <a:pt x="6" y="14"/>
                  </a:cubicBezTo>
                  <a:close/>
                </a:path>
              </a:pathLst>
            </a:custGeom>
            <a:grpFill/>
            <a:ln>
              <a:noFill/>
            </a:ln>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691" b="0" i="0" u="none" strike="noStrike" kern="0" cap="none" spc="-68" normalizeH="0" baseline="0" noProof="0" dirty="0">
                <a:ln>
                  <a:noFill/>
                </a:ln>
                <a:solidFill>
                  <a:srgbClr val="D83B01"/>
                </a:solidFill>
                <a:effectLst/>
                <a:uLnTx/>
                <a:uFillTx/>
                <a:latin typeface="Segoe UI Semilight"/>
                <a:ea typeface="+mn-ea"/>
                <a:cs typeface="+mn-cs"/>
              </a:endParaRPr>
            </a:p>
          </p:txBody>
        </p:sp>
        <p:sp>
          <p:nvSpPr>
            <p:cNvPr id="201" name="Freeform 60">
              <a:extLst>
                <a:ext uri="{FF2B5EF4-FFF2-40B4-BE49-F238E27FC236}">
                  <a16:creationId xmlns:a16="http://schemas.microsoft.com/office/drawing/2014/main" id="{7458D9D1-9E9C-49BA-A348-9F5BC5F81D1A}"/>
                </a:ext>
              </a:extLst>
            </p:cNvPr>
            <p:cNvSpPr>
              <a:spLocks/>
            </p:cNvSpPr>
            <p:nvPr/>
          </p:nvSpPr>
          <p:spPr bwMode="auto">
            <a:xfrm>
              <a:off x="-2416337" y="3940934"/>
              <a:ext cx="235514" cy="239175"/>
            </a:xfrm>
            <a:custGeom>
              <a:avLst/>
              <a:gdLst>
                <a:gd name="T0" fmla="*/ 34 w 39"/>
                <a:gd name="T1" fmla="*/ 29 h 39"/>
                <a:gd name="T2" fmla="*/ 26 w 39"/>
                <a:gd name="T3" fmla="*/ 22 h 39"/>
                <a:gd name="T4" fmla="*/ 20 w 39"/>
                <a:gd name="T5" fmla="*/ 0 h 39"/>
                <a:gd name="T6" fmla="*/ 13 w 39"/>
                <a:gd name="T7" fmla="*/ 22 h 39"/>
                <a:gd name="T8" fmla="*/ 5 w 39"/>
                <a:gd name="T9" fmla="*/ 29 h 39"/>
                <a:gd name="T10" fmla="*/ 0 w 39"/>
                <a:gd name="T11" fmla="*/ 39 h 39"/>
                <a:gd name="T12" fmla="*/ 39 w 39"/>
                <a:gd name="T13" fmla="*/ 39 h 39"/>
                <a:gd name="T14" fmla="*/ 34 w 39"/>
                <a:gd name="T15" fmla="*/ 2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9">
                  <a:moveTo>
                    <a:pt x="34" y="29"/>
                  </a:moveTo>
                  <a:cubicBezTo>
                    <a:pt x="28" y="28"/>
                    <a:pt x="23" y="27"/>
                    <a:pt x="26" y="22"/>
                  </a:cubicBezTo>
                  <a:cubicBezTo>
                    <a:pt x="33" y="8"/>
                    <a:pt x="28" y="0"/>
                    <a:pt x="20" y="0"/>
                  </a:cubicBezTo>
                  <a:cubicBezTo>
                    <a:pt x="11" y="0"/>
                    <a:pt x="6" y="8"/>
                    <a:pt x="13" y="22"/>
                  </a:cubicBezTo>
                  <a:cubicBezTo>
                    <a:pt x="16" y="27"/>
                    <a:pt x="11" y="28"/>
                    <a:pt x="5" y="29"/>
                  </a:cubicBezTo>
                  <a:cubicBezTo>
                    <a:pt x="0" y="31"/>
                    <a:pt x="0" y="33"/>
                    <a:pt x="0" y="39"/>
                  </a:cubicBezTo>
                  <a:cubicBezTo>
                    <a:pt x="39" y="39"/>
                    <a:pt x="39" y="39"/>
                    <a:pt x="39" y="39"/>
                  </a:cubicBezTo>
                  <a:cubicBezTo>
                    <a:pt x="39" y="33"/>
                    <a:pt x="39" y="31"/>
                    <a:pt x="34" y="29"/>
                  </a:cubicBezTo>
                  <a:close/>
                </a:path>
              </a:pathLst>
            </a:custGeom>
            <a:grpFill/>
            <a:ln>
              <a:noFill/>
            </a:ln>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691" b="0" i="0" u="none" strike="noStrike" kern="0" cap="none" spc="-68" normalizeH="0" baseline="0" noProof="0" dirty="0">
                <a:ln>
                  <a:noFill/>
                </a:ln>
                <a:solidFill>
                  <a:srgbClr val="D83B01"/>
                </a:solidFill>
                <a:effectLst/>
                <a:uLnTx/>
                <a:uFillTx/>
                <a:latin typeface="Segoe UI Semilight"/>
                <a:ea typeface="+mn-ea"/>
                <a:cs typeface="+mn-cs"/>
              </a:endParaRPr>
            </a:p>
          </p:txBody>
        </p:sp>
        <p:sp>
          <p:nvSpPr>
            <p:cNvPr id="202" name="Freeform: Shape 201">
              <a:extLst>
                <a:ext uri="{FF2B5EF4-FFF2-40B4-BE49-F238E27FC236}">
                  <a16:creationId xmlns:a16="http://schemas.microsoft.com/office/drawing/2014/main" id="{777A3779-D068-456E-A5B5-5C825B0CEAA0}"/>
                </a:ext>
              </a:extLst>
            </p:cNvPr>
            <p:cNvSpPr>
              <a:spLocks noChangeArrowheads="1"/>
            </p:cNvSpPr>
            <p:nvPr/>
          </p:nvSpPr>
          <p:spPr bwMode="auto">
            <a:xfrm>
              <a:off x="-2117244" y="4291713"/>
              <a:ext cx="964459" cy="244092"/>
            </a:xfrm>
            <a:custGeom>
              <a:avLst/>
              <a:gdLst>
                <a:gd name="connsiteX0" fmla="*/ 814493 w 964459"/>
                <a:gd name="connsiteY0" fmla="*/ 86821 h 244092"/>
                <a:gd name="connsiteX1" fmla="*/ 777917 w 964459"/>
                <a:gd name="connsiteY1" fmla="*/ 122046 h 244092"/>
                <a:gd name="connsiteX2" fmla="*/ 814493 w 964459"/>
                <a:gd name="connsiteY2" fmla="*/ 157271 h 244092"/>
                <a:gd name="connsiteX3" fmla="*/ 851069 w 964459"/>
                <a:gd name="connsiteY3" fmla="*/ 122046 h 244092"/>
                <a:gd name="connsiteX4" fmla="*/ 814493 w 964459"/>
                <a:gd name="connsiteY4" fmla="*/ 86821 h 244092"/>
                <a:gd name="connsiteX5" fmla="*/ 686493 w 964459"/>
                <a:gd name="connsiteY5" fmla="*/ 86821 h 244092"/>
                <a:gd name="connsiteX6" fmla="*/ 649917 w 964459"/>
                <a:gd name="connsiteY6" fmla="*/ 122046 h 244092"/>
                <a:gd name="connsiteX7" fmla="*/ 686493 w 964459"/>
                <a:gd name="connsiteY7" fmla="*/ 157271 h 244092"/>
                <a:gd name="connsiteX8" fmla="*/ 723069 w 964459"/>
                <a:gd name="connsiteY8" fmla="*/ 122046 h 244092"/>
                <a:gd name="connsiteX9" fmla="*/ 686493 w 964459"/>
                <a:gd name="connsiteY9" fmla="*/ 86821 h 244092"/>
                <a:gd name="connsiteX10" fmla="*/ 553533 w 964459"/>
                <a:gd name="connsiteY10" fmla="*/ 86821 h 244092"/>
                <a:gd name="connsiteX11" fmla="*/ 516957 w 964459"/>
                <a:gd name="connsiteY11" fmla="*/ 122046 h 244092"/>
                <a:gd name="connsiteX12" fmla="*/ 553533 w 964459"/>
                <a:gd name="connsiteY12" fmla="*/ 157271 h 244092"/>
                <a:gd name="connsiteX13" fmla="*/ 590109 w 964459"/>
                <a:gd name="connsiteY13" fmla="*/ 122046 h 244092"/>
                <a:gd name="connsiteX14" fmla="*/ 553533 w 964459"/>
                <a:gd name="connsiteY14" fmla="*/ 86821 h 244092"/>
                <a:gd name="connsiteX15" fmla="*/ 425534 w 964459"/>
                <a:gd name="connsiteY15" fmla="*/ 86821 h 244092"/>
                <a:gd name="connsiteX16" fmla="*/ 388958 w 964459"/>
                <a:gd name="connsiteY16" fmla="*/ 122046 h 244092"/>
                <a:gd name="connsiteX17" fmla="*/ 425534 w 964459"/>
                <a:gd name="connsiteY17" fmla="*/ 157271 h 244092"/>
                <a:gd name="connsiteX18" fmla="*/ 462110 w 964459"/>
                <a:gd name="connsiteY18" fmla="*/ 122046 h 244092"/>
                <a:gd name="connsiteX19" fmla="*/ 425534 w 964459"/>
                <a:gd name="connsiteY19" fmla="*/ 86821 h 244092"/>
                <a:gd name="connsiteX20" fmla="*/ 297534 w 964459"/>
                <a:gd name="connsiteY20" fmla="*/ 86821 h 244092"/>
                <a:gd name="connsiteX21" fmla="*/ 260958 w 964459"/>
                <a:gd name="connsiteY21" fmla="*/ 122046 h 244092"/>
                <a:gd name="connsiteX22" fmla="*/ 297534 w 964459"/>
                <a:gd name="connsiteY22" fmla="*/ 157271 h 244092"/>
                <a:gd name="connsiteX23" fmla="*/ 334110 w 964459"/>
                <a:gd name="connsiteY23" fmla="*/ 122046 h 244092"/>
                <a:gd name="connsiteX24" fmla="*/ 297534 w 964459"/>
                <a:gd name="connsiteY24" fmla="*/ 86821 h 244092"/>
                <a:gd name="connsiteX25" fmla="*/ 169535 w 964459"/>
                <a:gd name="connsiteY25" fmla="*/ 86821 h 244092"/>
                <a:gd name="connsiteX26" fmla="*/ 132959 w 964459"/>
                <a:gd name="connsiteY26" fmla="*/ 122046 h 244092"/>
                <a:gd name="connsiteX27" fmla="*/ 169535 w 964459"/>
                <a:gd name="connsiteY27" fmla="*/ 157271 h 244092"/>
                <a:gd name="connsiteX28" fmla="*/ 206111 w 964459"/>
                <a:gd name="connsiteY28" fmla="*/ 122046 h 244092"/>
                <a:gd name="connsiteX29" fmla="*/ 169535 w 964459"/>
                <a:gd name="connsiteY29" fmla="*/ 86821 h 244092"/>
                <a:gd name="connsiteX30" fmla="*/ 0 w 964459"/>
                <a:gd name="connsiteY30" fmla="*/ 0 h 244092"/>
                <a:gd name="connsiteX31" fmla="*/ 964459 w 964459"/>
                <a:gd name="connsiteY31" fmla="*/ 0 h 244092"/>
                <a:gd name="connsiteX32" fmla="*/ 964459 w 964459"/>
                <a:gd name="connsiteY32" fmla="*/ 244092 h 244092"/>
                <a:gd name="connsiteX33" fmla="*/ 0 w 964459"/>
                <a:gd name="connsiteY33" fmla="*/ 244092 h 244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64459" h="244092">
                  <a:moveTo>
                    <a:pt x="814493" y="86821"/>
                  </a:moveTo>
                  <a:cubicBezTo>
                    <a:pt x="794293" y="86821"/>
                    <a:pt x="777917" y="102592"/>
                    <a:pt x="777917" y="122046"/>
                  </a:cubicBezTo>
                  <a:cubicBezTo>
                    <a:pt x="777917" y="141500"/>
                    <a:pt x="794293" y="157271"/>
                    <a:pt x="814493" y="157271"/>
                  </a:cubicBezTo>
                  <a:cubicBezTo>
                    <a:pt x="834693" y="157271"/>
                    <a:pt x="851069" y="141500"/>
                    <a:pt x="851069" y="122046"/>
                  </a:cubicBezTo>
                  <a:cubicBezTo>
                    <a:pt x="851069" y="102592"/>
                    <a:pt x="834693" y="86821"/>
                    <a:pt x="814493" y="86821"/>
                  </a:cubicBezTo>
                  <a:close/>
                  <a:moveTo>
                    <a:pt x="686493" y="86821"/>
                  </a:moveTo>
                  <a:cubicBezTo>
                    <a:pt x="666293" y="86821"/>
                    <a:pt x="649917" y="102592"/>
                    <a:pt x="649917" y="122046"/>
                  </a:cubicBezTo>
                  <a:cubicBezTo>
                    <a:pt x="649917" y="141500"/>
                    <a:pt x="666293" y="157271"/>
                    <a:pt x="686493" y="157271"/>
                  </a:cubicBezTo>
                  <a:cubicBezTo>
                    <a:pt x="706693" y="157271"/>
                    <a:pt x="723069" y="141500"/>
                    <a:pt x="723069" y="122046"/>
                  </a:cubicBezTo>
                  <a:cubicBezTo>
                    <a:pt x="723069" y="102592"/>
                    <a:pt x="706693" y="86821"/>
                    <a:pt x="686493" y="86821"/>
                  </a:cubicBezTo>
                  <a:close/>
                  <a:moveTo>
                    <a:pt x="553533" y="86821"/>
                  </a:moveTo>
                  <a:cubicBezTo>
                    <a:pt x="533333" y="86821"/>
                    <a:pt x="516957" y="102592"/>
                    <a:pt x="516957" y="122046"/>
                  </a:cubicBezTo>
                  <a:cubicBezTo>
                    <a:pt x="516957" y="141500"/>
                    <a:pt x="533333" y="157271"/>
                    <a:pt x="553533" y="157271"/>
                  </a:cubicBezTo>
                  <a:cubicBezTo>
                    <a:pt x="573733" y="157271"/>
                    <a:pt x="590109" y="141500"/>
                    <a:pt x="590109" y="122046"/>
                  </a:cubicBezTo>
                  <a:cubicBezTo>
                    <a:pt x="590109" y="102592"/>
                    <a:pt x="573733" y="86821"/>
                    <a:pt x="553533" y="86821"/>
                  </a:cubicBezTo>
                  <a:close/>
                  <a:moveTo>
                    <a:pt x="425534" y="86821"/>
                  </a:moveTo>
                  <a:cubicBezTo>
                    <a:pt x="405334" y="86821"/>
                    <a:pt x="388958" y="102592"/>
                    <a:pt x="388958" y="122046"/>
                  </a:cubicBezTo>
                  <a:cubicBezTo>
                    <a:pt x="388958" y="141500"/>
                    <a:pt x="405334" y="157271"/>
                    <a:pt x="425534" y="157271"/>
                  </a:cubicBezTo>
                  <a:cubicBezTo>
                    <a:pt x="445734" y="157271"/>
                    <a:pt x="462110" y="141500"/>
                    <a:pt x="462110" y="122046"/>
                  </a:cubicBezTo>
                  <a:cubicBezTo>
                    <a:pt x="462110" y="102592"/>
                    <a:pt x="445734" y="86821"/>
                    <a:pt x="425534" y="86821"/>
                  </a:cubicBezTo>
                  <a:close/>
                  <a:moveTo>
                    <a:pt x="297534" y="86821"/>
                  </a:moveTo>
                  <a:cubicBezTo>
                    <a:pt x="277334" y="86821"/>
                    <a:pt x="260958" y="102592"/>
                    <a:pt x="260958" y="122046"/>
                  </a:cubicBezTo>
                  <a:cubicBezTo>
                    <a:pt x="260958" y="141500"/>
                    <a:pt x="277334" y="157271"/>
                    <a:pt x="297534" y="157271"/>
                  </a:cubicBezTo>
                  <a:cubicBezTo>
                    <a:pt x="317734" y="157271"/>
                    <a:pt x="334110" y="141500"/>
                    <a:pt x="334110" y="122046"/>
                  </a:cubicBezTo>
                  <a:cubicBezTo>
                    <a:pt x="334110" y="102592"/>
                    <a:pt x="317734" y="86821"/>
                    <a:pt x="297534" y="86821"/>
                  </a:cubicBezTo>
                  <a:close/>
                  <a:moveTo>
                    <a:pt x="169535" y="86821"/>
                  </a:moveTo>
                  <a:cubicBezTo>
                    <a:pt x="149335" y="86821"/>
                    <a:pt x="132959" y="102592"/>
                    <a:pt x="132959" y="122046"/>
                  </a:cubicBezTo>
                  <a:cubicBezTo>
                    <a:pt x="132959" y="141500"/>
                    <a:pt x="149335" y="157271"/>
                    <a:pt x="169535" y="157271"/>
                  </a:cubicBezTo>
                  <a:cubicBezTo>
                    <a:pt x="189735" y="157271"/>
                    <a:pt x="206111" y="141500"/>
                    <a:pt x="206111" y="122046"/>
                  </a:cubicBezTo>
                  <a:cubicBezTo>
                    <a:pt x="206111" y="102592"/>
                    <a:pt x="189735" y="86821"/>
                    <a:pt x="169535" y="86821"/>
                  </a:cubicBezTo>
                  <a:close/>
                  <a:moveTo>
                    <a:pt x="0" y="0"/>
                  </a:moveTo>
                  <a:lnTo>
                    <a:pt x="964459" y="0"/>
                  </a:lnTo>
                  <a:lnTo>
                    <a:pt x="964459" y="244092"/>
                  </a:lnTo>
                  <a:lnTo>
                    <a:pt x="0" y="244092"/>
                  </a:lnTo>
                  <a:close/>
                </a:path>
              </a:pathLst>
            </a:custGeom>
            <a:grpFill/>
            <a:ln>
              <a:noFill/>
            </a:ln>
          </p:spPr>
          <p:txBody>
            <a:bodyPr vert="horz" wrap="square" lIns="87880" tIns="43940" rIns="87880" bIns="43940" numCol="1" anchor="t" anchorCtr="0" compatLnSpc="1">
              <a:prstTxWarp prst="textNoShape">
                <a:avLst/>
              </a:prstTxWarp>
              <a:noAutofit/>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691" b="0" i="0" u="none" strike="noStrike" kern="0" cap="none" spc="-68" normalizeH="0" baseline="0" noProof="0" dirty="0">
                <a:ln>
                  <a:noFill/>
                </a:ln>
                <a:solidFill>
                  <a:srgbClr val="D83B01"/>
                </a:solidFill>
                <a:effectLst/>
                <a:uLnTx/>
                <a:uFillTx/>
                <a:latin typeface="Segoe UI Semilight"/>
                <a:ea typeface="+mn-ea"/>
                <a:cs typeface="+mn-cs"/>
              </a:endParaRPr>
            </a:p>
          </p:txBody>
        </p:sp>
        <p:sp>
          <p:nvSpPr>
            <p:cNvPr id="203" name="Freeform: Shape 202">
              <a:extLst>
                <a:ext uri="{FF2B5EF4-FFF2-40B4-BE49-F238E27FC236}">
                  <a16:creationId xmlns:a16="http://schemas.microsoft.com/office/drawing/2014/main" id="{C65F41B2-7593-4854-92FE-811AB06003D9}"/>
                </a:ext>
              </a:extLst>
            </p:cNvPr>
            <p:cNvSpPr>
              <a:spLocks noChangeArrowheads="1"/>
            </p:cNvSpPr>
            <p:nvPr/>
          </p:nvSpPr>
          <p:spPr bwMode="auto">
            <a:xfrm>
              <a:off x="-2117244" y="3938475"/>
              <a:ext cx="964459" cy="244092"/>
            </a:xfrm>
            <a:custGeom>
              <a:avLst/>
              <a:gdLst>
                <a:gd name="connsiteX0" fmla="*/ 814493 w 964459"/>
                <a:gd name="connsiteY0" fmla="*/ 86821 h 244092"/>
                <a:gd name="connsiteX1" fmla="*/ 777917 w 964459"/>
                <a:gd name="connsiteY1" fmla="*/ 122046 h 244092"/>
                <a:gd name="connsiteX2" fmla="*/ 814493 w 964459"/>
                <a:gd name="connsiteY2" fmla="*/ 157271 h 244092"/>
                <a:gd name="connsiteX3" fmla="*/ 851069 w 964459"/>
                <a:gd name="connsiteY3" fmla="*/ 122046 h 244092"/>
                <a:gd name="connsiteX4" fmla="*/ 814493 w 964459"/>
                <a:gd name="connsiteY4" fmla="*/ 86821 h 244092"/>
                <a:gd name="connsiteX5" fmla="*/ 685503 w 964459"/>
                <a:gd name="connsiteY5" fmla="*/ 86821 h 244092"/>
                <a:gd name="connsiteX6" fmla="*/ 648927 w 964459"/>
                <a:gd name="connsiteY6" fmla="*/ 122046 h 244092"/>
                <a:gd name="connsiteX7" fmla="*/ 685503 w 964459"/>
                <a:gd name="connsiteY7" fmla="*/ 157271 h 244092"/>
                <a:gd name="connsiteX8" fmla="*/ 722079 w 964459"/>
                <a:gd name="connsiteY8" fmla="*/ 122046 h 244092"/>
                <a:gd name="connsiteX9" fmla="*/ 685503 w 964459"/>
                <a:gd name="connsiteY9" fmla="*/ 86821 h 244092"/>
                <a:gd name="connsiteX10" fmla="*/ 556511 w 964459"/>
                <a:gd name="connsiteY10" fmla="*/ 86821 h 244092"/>
                <a:gd name="connsiteX11" fmla="*/ 519935 w 964459"/>
                <a:gd name="connsiteY11" fmla="*/ 122046 h 244092"/>
                <a:gd name="connsiteX12" fmla="*/ 556511 w 964459"/>
                <a:gd name="connsiteY12" fmla="*/ 157271 h 244092"/>
                <a:gd name="connsiteX13" fmla="*/ 593087 w 964459"/>
                <a:gd name="connsiteY13" fmla="*/ 122046 h 244092"/>
                <a:gd name="connsiteX14" fmla="*/ 556511 w 964459"/>
                <a:gd name="connsiteY14" fmla="*/ 86821 h 244092"/>
                <a:gd name="connsiteX15" fmla="*/ 427519 w 964459"/>
                <a:gd name="connsiteY15" fmla="*/ 86821 h 244092"/>
                <a:gd name="connsiteX16" fmla="*/ 390943 w 964459"/>
                <a:gd name="connsiteY16" fmla="*/ 122046 h 244092"/>
                <a:gd name="connsiteX17" fmla="*/ 427519 w 964459"/>
                <a:gd name="connsiteY17" fmla="*/ 157271 h 244092"/>
                <a:gd name="connsiteX18" fmla="*/ 464095 w 964459"/>
                <a:gd name="connsiteY18" fmla="*/ 122046 h 244092"/>
                <a:gd name="connsiteX19" fmla="*/ 427519 w 964459"/>
                <a:gd name="connsiteY19" fmla="*/ 86821 h 244092"/>
                <a:gd name="connsiteX20" fmla="*/ 298527 w 964459"/>
                <a:gd name="connsiteY20" fmla="*/ 86821 h 244092"/>
                <a:gd name="connsiteX21" fmla="*/ 261951 w 964459"/>
                <a:gd name="connsiteY21" fmla="*/ 122046 h 244092"/>
                <a:gd name="connsiteX22" fmla="*/ 298527 w 964459"/>
                <a:gd name="connsiteY22" fmla="*/ 157271 h 244092"/>
                <a:gd name="connsiteX23" fmla="*/ 335103 w 964459"/>
                <a:gd name="connsiteY23" fmla="*/ 122046 h 244092"/>
                <a:gd name="connsiteX24" fmla="*/ 298527 w 964459"/>
                <a:gd name="connsiteY24" fmla="*/ 86821 h 244092"/>
                <a:gd name="connsiteX25" fmla="*/ 169535 w 964459"/>
                <a:gd name="connsiteY25" fmla="*/ 86821 h 244092"/>
                <a:gd name="connsiteX26" fmla="*/ 132959 w 964459"/>
                <a:gd name="connsiteY26" fmla="*/ 122046 h 244092"/>
                <a:gd name="connsiteX27" fmla="*/ 169535 w 964459"/>
                <a:gd name="connsiteY27" fmla="*/ 157271 h 244092"/>
                <a:gd name="connsiteX28" fmla="*/ 206111 w 964459"/>
                <a:gd name="connsiteY28" fmla="*/ 122046 h 244092"/>
                <a:gd name="connsiteX29" fmla="*/ 169535 w 964459"/>
                <a:gd name="connsiteY29" fmla="*/ 86821 h 244092"/>
                <a:gd name="connsiteX30" fmla="*/ 0 w 964459"/>
                <a:gd name="connsiteY30" fmla="*/ 0 h 244092"/>
                <a:gd name="connsiteX31" fmla="*/ 964459 w 964459"/>
                <a:gd name="connsiteY31" fmla="*/ 0 h 244092"/>
                <a:gd name="connsiteX32" fmla="*/ 964459 w 964459"/>
                <a:gd name="connsiteY32" fmla="*/ 244092 h 244092"/>
                <a:gd name="connsiteX33" fmla="*/ 0 w 964459"/>
                <a:gd name="connsiteY33" fmla="*/ 244092 h 244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64459" h="244092">
                  <a:moveTo>
                    <a:pt x="814493" y="86821"/>
                  </a:moveTo>
                  <a:cubicBezTo>
                    <a:pt x="794293" y="86821"/>
                    <a:pt x="777917" y="102592"/>
                    <a:pt x="777917" y="122046"/>
                  </a:cubicBezTo>
                  <a:cubicBezTo>
                    <a:pt x="777917" y="141500"/>
                    <a:pt x="794293" y="157271"/>
                    <a:pt x="814493" y="157271"/>
                  </a:cubicBezTo>
                  <a:cubicBezTo>
                    <a:pt x="834693" y="157271"/>
                    <a:pt x="851069" y="141500"/>
                    <a:pt x="851069" y="122046"/>
                  </a:cubicBezTo>
                  <a:cubicBezTo>
                    <a:pt x="851069" y="102592"/>
                    <a:pt x="834693" y="86821"/>
                    <a:pt x="814493" y="86821"/>
                  </a:cubicBezTo>
                  <a:close/>
                  <a:moveTo>
                    <a:pt x="685503" y="86821"/>
                  </a:moveTo>
                  <a:cubicBezTo>
                    <a:pt x="665303" y="86821"/>
                    <a:pt x="648927" y="102592"/>
                    <a:pt x="648927" y="122046"/>
                  </a:cubicBezTo>
                  <a:cubicBezTo>
                    <a:pt x="648927" y="141500"/>
                    <a:pt x="665303" y="157271"/>
                    <a:pt x="685503" y="157271"/>
                  </a:cubicBezTo>
                  <a:cubicBezTo>
                    <a:pt x="705703" y="157271"/>
                    <a:pt x="722079" y="141500"/>
                    <a:pt x="722079" y="122046"/>
                  </a:cubicBezTo>
                  <a:cubicBezTo>
                    <a:pt x="722079" y="102592"/>
                    <a:pt x="705703" y="86821"/>
                    <a:pt x="685503" y="86821"/>
                  </a:cubicBezTo>
                  <a:close/>
                  <a:moveTo>
                    <a:pt x="556511" y="86821"/>
                  </a:moveTo>
                  <a:cubicBezTo>
                    <a:pt x="536311" y="86821"/>
                    <a:pt x="519935" y="102592"/>
                    <a:pt x="519935" y="122046"/>
                  </a:cubicBezTo>
                  <a:cubicBezTo>
                    <a:pt x="519935" y="141500"/>
                    <a:pt x="536311" y="157271"/>
                    <a:pt x="556511" y="157271"/>
                  </a:cubicBezTo>
                  <a:cubicBezTo>
                    <a:pt x="576711" y="157271"/>
                    <a:pt x="593087" y="141500"/>
                    <a:pt x="593087" y="122046"/>
                  </a:cubicBezTo>
                  <a:cubicBezTo>
                    <a:pt x="593087" y="102592"/>
                    <a:pt x="576711" y="86821"/>
                    <a:pt x="556511" y="86821"/>
                  </a:cubicBezTo>
                  <a:close/>
                  <a:moveTo>
                    <a:pt x="427519" y="86821"/>
                  </a:moveTo>
                  <a:cubicBezTo>
                    <a:pt x="407319" y="86821"/>
                    <a:pt x="390943" y="102592"/>
                    <a:pt x="390943" y="122046"/>
                  </a:cubicBezTo>
                  <a:cubicBezTo>
                    <a:pt x="390943" y="141500"/>
                    <a:pt x="407319" y="157271"/>
                    <a:pt x="427519" y="157271"/>
                  </a:cubicBezTo>
                  <a:cubicBezTo>
                    <a:pt x="447719" y="157271"/>
                    <a:pt x="464095" y="141500"/>
                    <a:pt x="464095" y="122046"/>
                  </a:cubicBezTo>
                  <a:cubicBezTo>
                    <a:pt x="464095" y="102592"/>
                    <a:pt x="447719" y="86821"/>
                    <a:pt x="427519" y="86821"/>
                  </a:cubicBezTo>
                  <a:close/>
                  <a:moveTo>
                    <a:pt x="298527" y="86821"/>
                  </a:moveTo>
                  <a:cubicBezTo>
                    <a:pt x="278327" y="86821"/>
                    <a:pt x="261951" y="102592"/>
                    <a:pt x="261951" y="122046"/>
                  </a:cubicBezTo>
                  <a:cubicBezTo>
                    <a:pt x="261951" y="141500"/>
                    <a:pt x="278327" y="157271"/>
                    <a:pt x="298527" y="157271"/>
                  </a:cubicBezTo>
                  <a:cubicBezTo>
                    <a:pt x="318727" y="157271"/>
                    <a:pt x="335103" y="141500"/>
                    <a:pt x="335103" y="122046"/>
                  </a:cubicBezTo>
                  <a:cubicBezTo>
                    <a:pt x="335103" y="102592"/>
                    <a:pt x="318727" y="86821"/>
                    <a:pt x="298527" y="86821"/>
                  </a:cubicBezTo>
                  <a:close/>
                  <a:moveTo>
                    <a:pt x="169535" y="86821"/>
                  </a:moveTo>
                  <a:cubicBezTo>
                    <a:pt x="149335" y="86821"/>
                    <a:pt x="132959" y="102592"/>
                    <a:pt x="132959" y="122046"/>
                  </a:cubicBezTo>
                  <a:cubicBezTo>
                    <a:pt x="132959" y="141500"/>
                    <a:pt x="149335" y="157271"/>
                    <a:pt x="169535" y="157271"/>
                  </a:cubicBezTo>
                  <a:cubicBezTo>
                    <a:pt x="189735" y="157271"/>
                    <a:pt x="206111" y="141500"/>
                    <a:pt x="206111" y="122046"/>
                  </a:cubicBezTo>
                  <a:cubicBezTo>
                    <a:pt x="206111" y="102592"/>
                    <a:pt x="189735" y="86821"/>
                    <a:pt x="169535" y="86821"/>
                  </a:cubicBezTo>
                  <a:close/>
                  <a:moveTo>
                    <a:pt x="0" y="0"/>
                  </a:moveTo>
                  <a:lnTo>
                    <a:pt x="964459" y="0"/>
                  </a:lnTo>
                  <a:lnTo>
                    <a:pt x="964459" y="244092"/>
                  </a:lnTo>
                  <a:lnTo>
                    <a:pt x="0" y="244092"/>
                  </a:lnTo>
                  <a:close/>
                </a:path>
              </a:pathLst>
            </a:custGeom>
            <a:grpFill/>
            <a:ln>
              <a:noFill/>
            </a:ln>
          </p:spPr>
          <p:txBody>
            <a:bodyPr vert="horz" wrap="square" lIns="87880" tIns="43940" rIns="87880" bIns="43940" numCol="1" anchor="t" anchorCtr="0" compatLnSpc="1">
              <a:prstTxWarp prst="textNoShape">
                <a:avLst/>
              </a:prstTxWarp>
              <a:noAutofit/>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691" b="0" i="0" u="none" strike="noStrike" kern="0" cap="none" spc="-68" normalizeH="0" baseline="0" noProof="0" dirty="0">
                <a:ln>
                  <a:noFill/>
                </a:ln>
                <a:solidFill>
                  <a:srgbClr val="D83B01"/>
                </a:solidFill>
                <a:effectLst/>
                <a:uLnTx/>
                <a:uFillTx/>
                <a:latin typeface="Segoe UI Semilight"/>
                <a:ea typeface="+mn-ea"/>
                <a:cs typeface="+mn-cs"/>
              </a:endParaRPr>
            </a:p>
          </p:txBody>
        </p:sp>
      </p:grpSp>
      <p:grpSp>
        <p:nvGrpSpPr>
          <p:cNvPr id="206" name="Group 205">
            <a:extLst>
              <a:ext uri="{FF2B5EF4-FFF2-40B4-BE49-F238E27FC236}">
                <a16:creationId xmlns:a16="http://schemas.microsoft.com/office/drawing/2014/main" id="{636DCC1F-AED2-4B43-A5C6-38D41255A9F2}"/>
              </a:ext>
            </a:extLst>
          </p:cNvPr>
          <p:cNvGrpSpPr/>
          <p:nvPr/>
        </p:nvGrpSpPr>
        <p:grpSpPr>
          <a:xfrm>
            <a:off x="1125282" y="2789229"/>
            <a:ext cx="1297348" cy="1047397"/>
            <a:chOff x="1124660" y="2438555"/>
            <a:chExt cx="1323363" cy="1068399"/>
          </a:xfrm>
        </p:grpSpPr>
        <p:sp>
          <p:nvSpPr>
            <p:cNvPr id="207" name="Freeform 5">
              <a:extLst>
                <a:ext uri="{FF2B5EF4-FFF2-40B4-BE49-F238E27FC236}">
                  <a16:creationId xmlns:a16="http://schemas.microsoft.com/office/drawing/2014/main" id="{8B652D08-BBBD-49AA-8B14-CC6057EE7436}"/>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208" name="Group 207">
              <a:extLst>
                <a:ext uri="{FF2B5EF4-FFF2-40B4-BE49-F238E27FC236}">
                  <a16:creationId xmlns:a16="http://schemas.microsoft.com/office/drawing/2014/main" id="{C19EA3DC-7B0D-4048-990C-D05474106DEF}"/>
                </a:ext>
              </a:extLst>
            </p:cNvPr>
            <p:cNvGrpSpPr/>
            <p:nvPr/>
          </p:nvGrpSpPr>
          <p:grpSpPr>
            <a:xfrm>
              <a:off x="1124660" y="2438555"/>
              <a:ext cx="593820" cy="706058"/>
              <a:chOff x="6447047" y="5804307"/>
              <a:chExt cx="414034" cy="492291"/>
            </a:xfrm>
          </p:grpSpPr>
          <p:sp>
            <p:nvSpPr>
              <p:cNvPr id="209" name="Freeform 9">
                <a:extLst>
                  <a:ext uri="{FF2B5EF4-FFF2-40B4-BE49-F238E27FC236}">
                    <a16:creationId xmlns:a16="http://schemas.microsoft.com/office/drawing/2014/main" id="{0F55BA01-8A79-47CA-98D3-7F7A11DD1B48}"/>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210" name="Oval 8">
                <a:extLst>
                  <a:ext uri="{FF2B5EF4-FFF2-40B4-BE49-F238E27FC236}">
                    <a16:creationId xmlns:a16="http://schemas.microsoft.com/office/drawing/2014/main" id="{71F3A616-C4A8-4A05-9C38-C395757DD03C}"/>
                  </a:ext>
                </a:extLst>
              </p:cNvPr>
              <p:cNvSpPr>
                <a:spLocks noChangeArrowheads="1"/>
              </p:cNvSpPr>
              <p:nvPr/>
            </p:nvSpPr>
            <p:spPr bwMode="auto">
              <a:xfrm>
                <a:off x="6507270" y="5804307"/>
                <a:ext cx="293587" cy="290228"/>
              </a:xfrm>
              <a:prstGeom prst="ellipse">
                <a:avLst/>
              </a:prstGeom>
              <a:noFill/>
              <a:ln w="190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cxnSp>
        <p:nvCxnSpPr>
          <p:cNvPr id="211" name="Straight Arrow Connector 210">
            <a:extLst>
              <a:ext uri="{FF2B5EF4-FFF2-40B4-BE49-F238E27FC236}">
                <a16:creationId xmlns:a16="http://schemas.microsoft.com/office/drawing/2014/main" id="{13EEA71D-7197-417F-AAE5-0F6ABDA151E7}"/>
              </a:ext>
            </a:extLst>
          </p:cNvPr>
          <p:cNvCxnSpPr>
            <a:cxnSpLocks/>
          </p:cNvCxnSpPr>
          <p:nvPr/>
        </p:nvCxnSpPr>
        <p:spPr>
          <a:xfrm>
            <a:off x="5445652" y="3131907"/>
            <a:ext cx="0" cy="1630837"/>
          </a:xfrm>
          <a:prstGeom prst="straightConnector1">
            <a:avLst/>
          </a:prstGeom>
          <a:noFill/>
          <a:ln w="31750" cap="rnd" cmpd="sng" algn="ctr">
            <a:solidFill>
              <a:srgbClr val="353535"/>
            </a:solidFill>
            <a:prstDash val="sysDot"/>
            <a:headEnd type="none" w="med" len="med"/>
            <a:tailEnd type="triangle" w="med" len="med"/>
          </a:ln>
          <a:effectLst/>
        </p:spPr>
      </p:cxnSp>
      <p:sp useBgFill="1">
        <p:nvSpPr>
          <p:cNvPr id="212" name="Rectangle 211">
            <a:extLst>
              <a:ext uri="{FF2B5EF4-FFF2-40B4-BE49-F238E27FC236}">
                <a16:creationId xmlns:a16="http://schemas.microsoft.com/office/drawing/2014/main" id="{122C3D5D-D15F-470D-BA05-EB8E8BFABB28}"/>
              </a:ext>
            </a:extLst>
          </p:cNvPr>
          <p:cNvSpPr/>
          <p:nvPr/>
        </p:nvSpPr>
        <p:spPr>
          <a:xfrm>
            <a:off x="4921403" y="3829292"/>
            <a:ext cx="1053950" cy="319318"/>
          </a:xfrm>
          <a:prstGeom prst="rect">
            <a:avLst/>
          </a:prstGeom>
          <a:ln>
            <a:noFill/>
          </a:ln>
        </p:spPr>
        <p:txBody>
          <a:bodyPr wrap="square" lIns="0" tIns="0" rIns="0" bIns="0" anchor="ctr">
            <a:spAutoFit/>
          </a:bodyPr>
          <a:lstStyle/>
          <a:p>
            <a:pPr marL="0" marR="0" lvl="0" indent="0" algn="ctr"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Pass-through authentication</a:t>
            </a:r>
          </a:p>
        </p:txBody>
      </p:sp>
      <p:grpSp>
        <p:nvGrpSpPr>
          <p:cNvPr id="213" name="Group 212">
            <a:extLst>
              <a:ext uri="{FF2B5EF4-FFF2-40B4-BE49-F238E27FC236}">
                <a16:creationId xmlns:a16="http://schemas.microsoft.com/office/drawing/2014/main" id="{4E42E926-C232-4242-98B8-1EB61CF6117E}"/>
              </a:ext>
            </a:extLst>
          </p:cNvPr>
          <p:cNvGrpSpPr/>
          <p:nvPr/>
        </p:nvGrpSpPr>
        <p:grpSpPr>
          <a:xfrm>
            <a:off x="4083653" y="1759442"/>
            <a:ext cx="2671573" cy="1474510"/>
            <a:chOff x="4733428" y="2676962"/>
            <a:chExt cx="2725144" cy="1504077"/>
          </a:xfrm>
        </p:grpSpPr>
        <p:sp>
          <p:nvSpPr>
            <p:cNvPr id="214" name="Freeform: Shape 213">
              <a:extLst>
                <a:ext uri="{FF2B5EF4-FFF2-40B4-BE49-F238E27FC236}">
                  <a16:creationId xmlns:a16="http://schemas.microsoft.com/office/drawing/2014/main" id="{7A4D5C66-8AAB-4418-911B-77DD2C4AE8CE}"/>
                </a:ext>
              </a:extLst>
            </p:cNvPr>
            <p:cNvSpPr/>
            <p:nvPr/>
          </p:nvSpPr>
          <p:spPr bwMode="auto">
            <a:xfrm>
              <a:off x="4733428" y="2676962"/>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5" name="MS cloud text">
              <a:extLst>
                <a:ext uri="{FF2B5EF4-FFF2-40B4-BE49-F238E27FC236}">
                  <a16:creationId xmlns:a16="http://schemas.microsoft.com/office/drawing/2014/main" id="{B7B9DFA2-BD23-42EB-9514-4C891F15B0D9}"/>
                </a:ext>
              </a:extLst>
            </p:cNvPr>
            <p:cNvSpPr txBox="1">
              <a:spLocks/>
            </p:cNvSpPr>
            <p:nvPr/>
          </p:nvSpPr>
          <p:spPr>
            <a:xfrm>
              <a:off x="5019924" y="3233713"/>
              <a:ext cx="2391863" cy="40782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Microsoft Azure </a:t>
              </a:r>
              <a:b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b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Active Directory</a:t>
              </a:r>
            </a:p>
          </p:txBody>
        </p:sp>
      </p:grpSp>
      <p:grpSp>
        <p:nvGrpSpPr>
          <p:cNvPr id="216" name="Group 215">
            <a:extLst>
              <a:ext uri="{FF2B5EF4-FFF2-40B4-BE49-F238E27FC236}">
                <a16:creationId xmlns:a16="http://schemas.microsoft.com/office/drawing/2014/main" id="{05918247-9B26-4184-B463-4E5508399DB1}"/>
              </a:ext>
            </a:extLst>
          </p:cNvPr>
          <p:cNvGrpSpPr/>
          <p:nvPr/>
        </p:nvGrpSpPr>
        <p:grpSpPr>
          <a:xfrm>
            <a:off x="3927189" y="2629267"/>
            <a:ext cx="351521" cy="351521"/>
            <a:chOff x="7035946" y="2603673"/>
            <a:chExt cx="365760" cy="365760"/>
          </a:xfrm>
        </p:grpSpPr>
        <p:sp>
          <p:nvSpPr>
            <p:cNvPr id="217" name="Oval 216">
              <a:extLst>
                <a:ext uri="{FF2B5EF4-FFF2-40B4-BE49-F238E27FC236}">
                  <a16:creationId xmlns:a16="http://schemas.microsoft.com/office/drawing/2014/main" id="{602F311D-E426-42C2-BE3B-02F5F7F3FBDD}"/>
                </a:ext>
              </a:extLst>
            </p:cNvPr>
            <p:cNvSpPr/>
            <p:nvPr/>
          </p:nvSpPr>
          <p:spPr bwMode="auto">
            <a:xfrm>
              <a:off x="7058806" y="2626533"/>
              <a:ext cx="320040" cy="3200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Freeform: Shape 217">
              <a:extLst>
                <a:ext uri="{FF2B5EF4-FFF2-40B4-BE49-F238E27FC236}">
                  <a16:creationId xmlns:a16="http://schemas.microsoft.com/office/drawing/2014/main" id="{7792DD81-B745-40C5-8C32-2C81FDBC9CD8}"/>
                </a:ext>
              </a:extLst>
            </p:cNvPr>
            <p:cNvSpPr>
              <a:spLocks noChangeAspect="1"/>
            </p:cNvSpPr>
            <p:nvPr/>
          </p:nvSpPr>
          <p:spPr bwMode="auto">
            <a:xfrm>
              <a:off x="7035946" y="2603673"/>
              <a:ext cx="365760" cy="365760"/>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19" name="Straight Arrow Connector 218">
            <a:extLst>
              <a:ext uri="{FF2B5EF4-FFF2-40B4-BE49-F238E27FC236}">
                <a16:creationId xmlns:a16="http://schemas.microsoft.com/office/drawing/2014/main" id="{72C73B01-5F34-47A3-A82F-72BEDDCA4C97}"/>
              </a:ext>
            </a:extLst>
          </p:cNvPr>
          <p:cNvCxnSpPr>
            <a:cxnSpLocks/>
          </p:cNvCxnSpPr>
          <p:nvPr/>
        </p:nvCxnSpPr>
        <p:spPr>
          <a:xfrm>
            <a:off x="5681841" y="4999542"/>
            <a:ext cx="2488146" cy="0"/>
          </a:xfrm>
          <a:prstGeom prst="straightConnector1">
            <a:avLst/>
          </a:prstGeom>
          <a:noFill/>
          <a:ln w="31750" cap="rnd" cmpd="sng" algn="ctr">
            <a:solidFill>
              <a:srgbClr val="353535"/>
            </a:solidFill>
            <a:prstDash val="sysDot"/>
            <a:headEnd type="none" w="med" len="med"/>
            <a:tailEnd type="triangle" w="med" len="med"/>
          </a:ln>
          <a:effectLst/>
        </p:spPr>
      </p:cxnSp>
      <p:sp>
        <p:nvSpPr>
          <p:cNvPr id="220" name="Rectangle 219">
            <a:extLst>
              <a:ext uri="{FF2B5EF4-FFF2-40B4-BE49-F238E27FC236}">
                <a16:creationId xmlns:a16="http://schemas.microsoft.com/office/drawing/2014/main" id="{AFEC57CB-D2F1-4549-89A9-8A9B0D1FB3D4}"/>
              </a:ext>
            </a:extLst>
          </p:cNvPr>
          <p:cNvSpPr/>
          <p:nvPr/>
        </p:nvSpPr>
        <p:spPr>
          <a:xfrm>
            <a:off x="4987063" y="5201647"/>
            <a:ext cx="1434093" cy="386210"/>
          </a:xfrm>
          <a:prstGeom prst="rect">
            <a:avLst/>
          </a:prstGeom>
        </p:spPr>
        <p:txBody>
          <a:bodyPr wrap="square">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961" b="0" i="0" u="none" strike="noStrike" kern="0" cap="none" spc="0" normalizeH="0" baseline="0" noProof="0" dirty="0">
                <a:ln>
                  <a:noFill/>
                </a:ln>
                <a:solidFill>
                  <a:srgbClr val="353535"/>
                </a:solidFill>
                <a:effectLst/>
                <a:uLnTx/>
                <a:uFillTx/>
                <a:latin typeface="Segoe UI"/>
                <a:ea typeface="+mn-ea"/>
                <a:cs typeface="+mn-cs"/>
              </a:rPr>
              <a:t>Pass-through authentication agent</a:t>
            </a:r>
            <a:endParaRPr kumimoji="0" lang="en-US" sz="961" b="0" i="0" u="none" strike="noStrike" kern="1200" cap="none" spc="0" normalizeH="0" baseline="0" noProof="0" dirty="0">
              <a:ln>
                <a:noFill/>
              </a:ln>
              <a:solidFill>
                <a:srgbClr val="353535"/>
              </a:solidFill>
              <a:effectLst/>
              <a:uLnTx/>
              <a:uFillTx/>
              <a:latin typeface="Segoe UI"/>
              <a:ea typeface="+mn-ea"/>
              <a:cs typeface="+mn-cs"/>
            </a:endParaRPr>
          </a:p>
        </p:txBody>
      </p:sp>
      <p:sp>
        <p:nvSpPr>
          <p:cNvPr id="221" name="Freeform 192">
            <a:extLst>
              <a:ext uri="{FF2B5EF4-FFF2-40B4-BE49-F238E27FC236}">
                <a16:creationId xmlns:a16="http://schemas.microsoft.com/office/drawing/2014/main" id="{ABEED90A-6AB6-41D2-B10D-D014D2C428D7}"/>
              </a:ext>
            </a:extLst>
          </p:cNvPr>
          <p:cNvSpPr>
            <a:spLocks noEditPoints="1"/>
          </p:cNvSpPr>
          <p:nvPr/>
        </p:nvSpPr>
        <p:spPr bwMode="auto">
          <a:xfrm>
            <a:off x="5263208" y="4853770"/>
            <a:ext cx="335271" cy="291542"/>
          </a:xfrm>
          <a:custGeom>
            <a:avLst/>
            <a:gdLst>
              <a:gd name="T0" fmla="*/ 492 w 1062"/>
              <a:gd name="T1" fmla="*/ 463 h 926"/>
              <a:gd name="T2" fmla="*/ 492 w 1062"/>
              <a:gd name="T3" fmla="*/ 463 h 926"/>
              <a:gd name="T4" fmla="*/ 531 w 1062"/>
              <a:gd name="T5" fmla="*/ 424 h 926"/>
              <a:gd name="T6" fmla="*/ 570 w 1062"/>
              <a:gd name="T7" fmla="*/ 463 h 926"/>
              <a:gd name="T8" fmla="*/ 531 w 1062"/>
              <a:gd name="T9" fmla="*/ 503 h 926"/>
              <a:gd name="T10" fmla="*/ 492 w 1062"/>
              <a:gd name="T11" fmla="*/ 463 h 926"/>
              <a:gd name="T12" fmla="*/ 1035 w 1062"/>
              <a:gd name="T13" fmla="*/ 27 h 926"/>
              <a:gd name="T14" fmla="*/ 1035 w 1062"/>
              <a:gd name="T15" fmla="*/ 27 h 926"/>
              <a:gd name="T16" fmla="*/ 1035 w 1062"/>
              <a:gd name="T17" fmla="*/ 453 h 926"/>
              <a:gd name="T18" fmla="*/ 772 w 1062"/>
              <a:gd name="T19" fmla="*/ 453 h 926"/>
              <a:gd name="T20" fmla="*/ 702 w 1062"/>
              <a:gd name="T21" fmla="*/ 293 h 926"/>
              <a:gd name="T22" fmla="*/ 531 w 1062"/>
              <a:gd name="T23" fmla="*/ 222 h 926"/>
              <a:gd name="T24" fmla="*/ 360 w 1062"/>
              <a:gd name="T25" fmla="*/ 293 h 926"/>
              <a:gd name="T26" fmla="*/ 379 w 1062"/>
              <a:gd name="T27" fmla="*/ 311 h 926"/>
              <a:gd name="T28" fmla="*/ 531 w 1062"/>
              <a:gd name="T29" fmla="*/ 249 h 926"/>
              <a:gd name="T30" fmla="*/ 683 w 1062"/>
              <a:gd name="T31" fmla="*/ 311 h 926"/>
              <a:gd name="T32" fmla="*/ 746 w 1062"/>
              <a:gd name="T33" fmla="*/ 463 h 926"/>
              <a:gd name="T34" fmla="*/ 683 w 1062"/>
              <a:gd name="T35" fmla="*/ 615 h 926"/>
              <a:gd name="T36" fmla="*/ 531 w 1062"/>
              <a:gd name="T37" fmla="*/ 678 h 926"/>
              <a:gd name="T38" fmla="*/ 379 w 1062"/>
              <a:gd name="T39" fmla="*/ 615 h 926"/>
              <a:gd name="T40" fmla="*/ 360 w 1062"/>
              <a:gd name="T41" fmla="*/ 634 h 926"/>
              <a:gd name="T42" fmla="*/ 531 w 1062"/>
              <a:gd name="T43" fmla="*/ 704 h 926"/>
              <a:gd name="T44" fmla="*/ 702 w 1062"/>
              <a:gd name="T45" fmla="*/ 634 h 926"/>
              <a:gd name="T46" fmla="*/ 771 w 1062"/>
              <a:gd name="T47" fmla="*/ 480 h 926"/>
              <a:gd name="T48" fmla="*/ 1035 w 1062"/>
              <a:gd name="T49" fmla="*/ 480 h 926"/>
              <a:gd name="T50" fmla="*/ 1035 w 1062"/>
              <a:gd name="T51" fmla="*/ 899 h 926"/>
              <a:gd name="T52" fmla="*/ 27 w 1062"/>
              <a:gd name="T53" fmla="*/ 899 h 926"/>
              <a:gd name="T54" fmla="*/ 27 w 1062"/>
              <a:gd name="T55" fmla="*/ 480 h 926"/>
              <a:gd name="T56" fmla="*/ 467 w 1062"/>
              <a:gd name="T57" fmla="*/ 480 h 926"/>
              <a:gd name="T58" fmla="*/ 531 w 1062"/>
              <a:gd name="T59" fmla="*/ 529 h 926"/>
              <a:gd name="T60" fmla="*/ 597 w 1062"/>
              <a:gd name="T61" fmla="*/ 463 h 926"/>
              <a:gd name="T62" fmla="*/ 531 w 1062"/>
              <a:gd name="T63" fmla="*/ 397 h 926"/>
              <a:gd name="T64" fmla="*/ 466 w 1062"/>
              <a:gd name="T65" fmla="*/ 453 h 926"/>
              <a:gd name="T66" fmla="*/ 27 w 1062"/>
              <a:gd name="T67" fmla="*/ 453 h 926"/>
              <a:gd name="T68" fmla="*/ 27 w 1062"/>
              <a:gd name="T69" fmla="*/ 27 h 926"/>
              <a:gd name="T70" fmla="*/ 1035 w 1062"/>
              <a:gd name="T71" fmla="*/ 27 h 926"/>
              <a:gd name="T72" fmla="*/ 0 w 1062"/>
              <a:gd name="T73" fmla="*/ 926 h 926"/>
              <a:gd name="T74" fmla="*/ 0 w 1062"/>
              <a:gd name="T75" fmla="*/ 926 h 926"/>
              <a:gd name="T76" fmla="*/ 1062 w 1062"/>
              <a:gd name="T77" fmla="*/ 926 h 926"/>
              <a:gd name="T78" fmla="*/ 1062 w 1062"/>
              <a:gd name="T79" fmla="*/ 0 h 926"/>
              <a:gd name="T80" fmla="*/ 0 w 1062"/>
              <a:gd name="T81" fmla="*/ 0 h 926"/>
              <a:gd name="T82" fmla="*/ 0 w 1062"/>
              <a:gd name="T83" fmla="*/ 926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2" h="926">
                <a:moveTo>
                  <a:pt x="492" y="463"/>
                </a:moveTo>
                <a:lnTo>
                  <a:pt x="492" y="463"/>
                </a:lnTo>
                <a:cubicBezTo>
                  <a:pt x="492" y="442"/>
                  <a:pt x="509" y="424"/>
                  <a:pt x="531" y="424"/>
                </a:cubicBezTo>
                <a:cubicBezTo>
                  <a:pt x="553" y="424"/>
                  <a:pt x="570" y="442"/>
                  <a:pt x="570" y="463"/>
                </a:cubicBezTo>
                <a:cubicBezTo>
                  <a:pt x="570" y="485"/>
                  <a:pt x="553" y="503"/>
                  <a:pt x="531" y="503"/>
                </a:cubicBezTo>
                <a:cubicBezTo>
                  <a:pt x="509" y="503"/>
                  <a:pt x="492" y="485"/>
                  <a:pt x="492" y="463"/>
                </a:cubicBezTo>
                <a:close/>
                <a:moveTo>
                  <a:pt x="1035" y="27"/>
                </a:moveTo>
                <a:lnTo>
                  <a:pt x="1035" y="27"/>
                </a:lnTo>
                <a:lnTo>
                  <a:pt x="1035" y="453"/>
                </a:lnTo>
                <a:lnTo>
                  <a:pt x="772" y="453"/>
                </a:lnTo>
                <a:cubicBezTo>
                  <a:pt x="769" y="393"/>
                  <a:pt x="745" y="336"/>
                  <a:pt x="702" y="293"/>
                </a:cubicBezTo>
                <a:cubicBezTo>
                  <a:pt x="656" y="247"/>
                  <a:pt x="595" y="222"/>
                  <a:pt x="531" y="222"/>
                </a:cubicBezTo>
                <a:cubicBezTo>
                  <a:pt x="466" y="222"/>
                  <a:pt x="406" y="247"/>
                  <a:pt x="360" y="293"/>
                </a:cubicBezTo>
                <a:lnTo>
                  <a:pt x="379" y="311"/>
                </a:lnTo>
                <a:cubicBezTo>
                  <a:pt x="420" y="271"/>
                  <a:pt x="474" y="249"/>
                  <a:pt x="531" y="249"/>
                </a:cubicBezTo>
                <a:cubicBezTo>
                  <a:pt x="588" y="249"/>
                  <a:pt x="642" y="271"/>
                  <a:pt x="683" y="311"/>
                </a:cubicBezTo>
                <a:cubicBezTo>
                  <a:pt x="723" y="352"/>
                  <a:pt x="746" y="406"/>
                  <a:pt x="746" y="463"/>
                </a:cubicBezTo>
                <a:cubicBezTo>
                  <a:pt x="746" y="521"/>
                  <a:pt x="723" y="574"/>
                  <a:pt x="683" y="615"/>
                </a:cubicBezTo>
                <a:cubicBezTo>
                  <a:pt x="642" y="655"/>
                  <a:pt x="588" y="678"/>
                  <a:pt x="531" y="678"/>
                </a:cubicBezTo>
                <a:cubicBezTo>
                  <a:pt x="474" y="678"/>
                  <a:pt x="420" y="655"/>
                  <a:pt x="379" y="615"/>
                </a:cubicBezTo>
                <a:lnTo>
                  <a:pt x="360" y="634"/>
                </a:lnTo>
                <a:cubicBezTo>
                  <a:pt x="406" y="679"/>
                  <a:pt x="466" y="704"/>
                  <a:pt x="531" y="704"/>
                </a:cubicBezTo>
                <a:cubicBezTo>
                  <a:pt x="595" y="704"/>
                  <a:pt x="656" y="679"/>
                  <a:pt x="702" y="634"/>
                </a:cubicBezTo>
                <a:cubicBezTo>
                  <a:pt x="743" y="592"/>
                  <a:pt x="767" y="538"/>
                  <a:pt x="771" y="480"/>
                </a:cubicBezTo>
                <a:lnTo>
                  <a:pt x="1035" y="480"/>
                </a:lnTo>
                <a:lnTo>
                  <a:pt x="1035" y="899"/>
                </a:lnTo>
                <a:lnTo>
                  <a:pt x="27" y="899"/>
                </a:lnTo>
                <a:lnTo>
                  <a:pt x="27" y="480"/>
                </a:lnTo>
                <a:lnTo>
                  <a:pt x="467" y="480"/>
                </a:lnTo>
                <a:cubicBezTo>
                  <a:pt x="475" y="508"/>
                  <a:pt x="500" y="529"/>
                  <a:pt x="531" y="529"/>
                </a:cubicBezTo>
                <a:cubicBezTo>
                  <a:pt x="567" y="529"/>
                  <a:pt x="597" y="500"/>
                  <a:pt x="597" y="463"/>
                </a:cubicBezTo>
                <a:cubicBezTo>
                  <a:pt x="597" y="427"/>
                  <a:pt x="567" y="397"/>
                  <a:pt x="531" y="397"/>
                </a:cubicBezTo>
                <a:cubicBezTo>
                  <a:pt x="498" y="397"/>
                  <a:pt x="471" y="422"/>
                  <a:pt x="466" y="453"/>
                </a:cubicBezTo>
                <a:lnTo>
                  <a:pt x="27" y="453"/>
                </a:lnTo>
                <a:lnTo>
                  <a:pt x="27" y="27"/>
                </a:lnTo>
                <a:lnTo>
                  <a:pt x="1035" y="27"/>
                </a:lnTo>
                <a:close/>
                <a:moveTo>
                  <a:pt x="0" y="926"/>
                </a:moveTo>
                <a:lnTo>
                  <a:pt x="0" y="926"/>
                </a:lnTo>
                <a:lnTo>
                  <a:pt x="1062" y="926"/>
                </a:lnTo>
                <a:lnTo>
                  <a:pt x="1062" y="0"/>
                </a:lnTo>
                <a:lnTo>
                  <a:pt x="0" y="0"/>
                </a:lnTo>
                <a:lnTo>
                  <a:pt x="0" y="926"/>
                </a:lnTo>
                <a:close/>
              </a:path>
            </a:pathLst>
          </a:custGeom>
          <a:solidFill>
            <a:srgbClr val="E6E6E6">
              <a:lumMod val="10000"/>
            </a:srgbClr>
          </a:solidFill>
          <a:ln w="0">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22" name="Rectangle 221">
            <a:extLst>
              <a:ext uri="{FF2B5EF4-FFF2-40B4-BE49-F238E27FC236}">
                <a16:creationId xmlns:a16="http://schemas.microsoft.com/office/drawing/2014/main" id="{6B2DE0C9-B400-483D-9C7D-17A86FC1E20A}"/>
              </a:ext>
            </a:extLst>
          </p:cNvPr>
          <p:cNvSpPr/>
          <p:nvPr/>
        </p:nvSpPr>
        <p:spPr>
          <a:xfrm>
            <a:off x="6848608" y="2257201"/>
            <a:ext cx="2064780" cy="159663"/>
          </a:xfrm>
          <a:prstGeom prst="rect">
            <a:avLst/>
          </a:prstGeom>
          <a:noFill/>
          <a:ln>
            <a:noFill/>
          </a:ln>
        </p:spPr>
        <p:txBody>
          <a:bodyPr wrap="square" lIns="0" tIns="0" rIns="0" bIns="0" anchor="ctr">
            <a:spAutoFit/>
          </a:bodyPr>
          <a:lstStyle/>
          <a:p>
            <a:pPr marL="0" marR="0" lvl="0" indent="0" algn="l"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Office 365, SaaS, and LoB apps</a:t>
            </a:r>
          </a:p>
        </p:txBody>
      </p:sp>
      <p:grpSp>
        <p:nvGrpSpPr>
          <p:cNvPr id="223" name="Group 222">
            <a:extLst>
              <a:ext uri="{FF2B5EF4-FFF2-40B4-BE49-F238E27FC236}">
                <a16:creationId xmlns:a16="http://schemas.microsoft.com/office/drawing/2014/main" id="{0BF88046-1709-4EB6-AB1D-7EAC390EB03A}"/>
              </a:ext>
            </a:extLst>
          </p:cNvPr>
          <p:cNvGrpSpPr/>
          <p:nvPr/>
        </p:nvGrpSpPr>
        <p:grpSpPr>
          <a:xfrm>
            <a:off x="8169986" y="4801370"/>
            <a:ext cx="351521" cy="351521"/>
            <a:chOff x="7035946" y="2603673"/>
            <a:chExt cx="365760" cy="365760"/>
          </a:xfrm>
        </p:grpSpPr>
        <p:sp>
          <p:nvSpPr>
            <p:cNvPr id="224" name="Oval 223">
              <a:extLst>
                <a:ext uri="{FF2B5EF4-FFF2-40B4-BE49-F238E27FC236}">
                  <a16:creationId xmlns:a16="http://schemas.microsoft.com/office/drawing/2014/main" id="{5AD8B7DE-9320-4DD2-94B8-703BE5482FFC}"/>
                </a:ext>
              </a:extLst>
            </p:cNvPr>
            <p:cNvSpPr/>
            <p:nvPr/>
          </p:nvSpPr>
          <p:spPr bwMode="auto">
            <a:xfrm>
              <a:off x="7058806" y="2626533"/>
              <a:ext cx="320040" cy="3200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56819B68-D25B-4199-9A88-65CBEF57DD3F}"/>
                </a:ext>
              </a:extLst>
            </p:cNvPr>
            <p:cNvSpPr>
              <a:spLocks noChangeAspect="1"/>
            </p:cNvSpPr>
            <p:nvPr/>
          </p:nvSpPr>
          <p:spPr bwMode="auto">
            <a:xfrm>
              <a:off x="7035946" y="2603673"/>
              <a:ext cx="365760" cy="365760"/>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 name="Freeform 280">
            <a:extLst>
              <a:ext uri="{FF2B5EF4-FFF2-40B4-BE49-F238E27FC236}">
                <a16:creationId xmlns:a16="http://schemas.microsoft.com/office/drawing/2014/main" id="{D827BE5F-E4FC-4FF4-9A46-8BD024A89468}"/>
              </a:ext>
            </a:extLst>
          </p:cNvPr>
          <p:cNvSpPr/>
          <p:nvPr/>
        </p:nvSpPr>
        <p:spPr bwMode="auto">
          <a:xfrm>
            <a:off x="7309747" y="4570893"/>
            <a:ext cx="3067569" cy="175742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3" name="Picture 72">
            <a:extLst>
              <a:ext uri="{FF2B5EF4-FFF2-40B4-BE49-F238E27FC236}">
                <a16:creationId xmlns:a16="http://schemas.microsoft.com/office/drawing/2014/main" id="{40C4F551-DD6E-4535-87E8-65729D96BF5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70951" y="4695108"/>
            <a:ext cx="966683" cy="639917"/>
          </a:xfrm>
          <a:prstGeom prst="rect">
            <a:avLst/>
          </a:prstGeom>
        </p:spPr>
      </p:pic>
      <p:grpSp>
        <p:nvGrpSpPr>
          <p:cNvPr id="74" name="On-Premises Building">
            <a:extLst>
              <a:ext uri="{FF2B5EF4-FFF2-40B4-BE49-F238E27FC236}">
                <a16:creationId xmlns:a16="http://schemas.microsoft.com/office/drawing/2014/main" id="{6A648937-CC8C-4057-831D-083C756DF81D}"/>
              </a:ext>
            </a:extLst>
          </p:cNvPr>
          <p:cNvGrpSpPr/>
          <p:nvPr/>
        </p:nvGrpSpPr>
        <p:grpSpPr>
          <a:xfrm>
            <a:off x="7303007" y="5423661"/>
            <a:ext cx="717696" cy="1019692"/>
            <a:chOff x="2317171" y="4229228"/>
            <a:chExt cx="1593672" cy="2264264"/>
          </a:xfrm>
        </p:grpSpPr>
        <p:sp>
          <p:nvSpPr>
            <p:cNvPr id="75" name="Freeform 12">
              <a:extLst>
                <a:ext uri="{FF2B5EF4-FFF2-40B4-BE49-F238E27FC236}">
                  <a16:creationId xmlns:a16="http://schemas.microsoft.com/office/drawing/2014/main" id="{C1689AA7-A7AC-4E94-AFFA-291B6EE32A09}"/>
                </a:ext>
              </a:extLst>
            </p:cNvPr>
            <p:cNvSpPr/>
            <p:nvPr/>
          </p:nvSpPr>
          <p:spPr>
            <a:xfrm>
              <a:off x="3290093" y="4229228"/>
              <a:ext cx="49112" cy="125382"/>
            </a:xfrm>
            <a:custGeom>
              <a:avLst/>
              <a:gdLst>
                <a:gd name="f0" fmla="val 10800000"/>
                <a:gd name="f1" fmla="val 5400000"/>
                <a:gd name="f2" fmla="val 180"/>
                <a:gd name="f3" fmla="val w"/>
                <a:gd name="f4" fmla="val h"/>
                <a:gd name="f5" fmla="val 0"/>
                <a:gd name="f6" fmla="val 20"/>
                <a:gd name="f7" fmla="val 51"/>
                <a:gd name="f8" fmla="val 10"/>
                <a:gd name="f9" fmla="val 16"/>
                <a:gd name="f10" fmla="val 4"/>
                <a:gd name="f11" fmla="val 33"/>
                <a:gd name="f12" fmla="val 1"/>
                <a:gd name="f13" fmla="val 49"/>
                <a:gd name="f14" fmla="val 48"/>
                <a:gd name="f15" fmla="val 46"/>
                <a:gd name="f16" fmla="val 2"/>
                <a:gd name="f17" fmla="val 45"/>
                <a:gd name="f18" fmla="val 44"/>
                <a:gd name="f19" fmla="val 43"/>
                <a:gd name="f20" fmla="val 3"/>
                <a:gd name="f21" fmla="val 41"/>
                <a:gd name="f22" fmla="val 39"/>
                <a:gd name="f23" fmla="val 36"/>
                <a:gd name="f24" fmla="val 35"/>
                <a:gd name="f25" fmla="val 34"/>
                <a:gd name="f26" fmla="val 5"/>
                <a:gd name="f27" fmla="val 32"/>
                <a:gd name="f28" fmla="val 6"/>
                <a:gd name="f29" fmla="val 29"/>
                <a:gd name="f30" fmla="val 7"/>
                <a:gd name="f31" fmla="val 27"/>
                <a:gd name="f32" fmla="val 26"/>
                <a:gd name="f33" fmla="val 25"/>
                <a:gd name="f34" fmla="val 8"/>
                <a:gd name="f35" fmla="val 23"/>
                <a:gd name="f36" fmla="val 9"/>
                <a:gd name="f37" fmla="val 11"/>
                <a:gd name="f38" fmla="val 18"/>
                <a:gd name="f39" fmla="val 17"/>
                <a:gd name="f40" fmla="val 12"/>
                <a:gd name="f41" fmla="val 14"/>
                <a:gd name="f42" fmla="val 15"/>
                <a:gd name="f43" fmla="+- 0 0 -90"/>
                <a:gd name="f44" fmla="*/ f3 1 20"/>
                <a:gd name="f45" fmla="*/ f4 1 51"/>
                <a:gd name="f46" fmla="val f5"/>
                <a:gd name="f47" fmla="val f6"/>
                <a:gd name="f48" fmla="val f7"/>
                <a:gd name="f49" fmla="*/ f43 f0 1"/>
                <a:gd name="f50" fmla="+- f48 0 f46"/>
                <a:gd name="f51" fmla="+- f47 0 f46"/>
                <a:gd name="f52" fmla="*/ f49 1 f2"/>
                <a:gd name="f53" fmla="*/ f51 1 20"/>
                <a:gd name="f54" fmla="*/ f50 1 51"/>
                <a:gd name="f55" fmla="*/ 20 f51 1"/>
                <a:gd name="f56" fmla="*/ 0 f50 1"/>
                <a:gd name="f57" fmla="*/ 0 f51 1"/>
                <a:gd name="f58" fmla="*/ 51 f50 1"/>
                <a:gd name="f59" fmla="*/ 1 f51 1"/>
                <a:gd name="f60" fmla="*/ 46 f50 1"/>
                <a:gd name="f61" fmla="*/ 2 f51 1"/>
                <a:gd name="f62" fmla="*/ 43 f50 1"/>
                <a:gd name="f63" fmla="*/ 4 f51 1"/>
                <a:gd name="f64" fmla="*/ 36 f50 1"/>
                <a:gd name="f65" fmla="*/ 34 f50 1"/>
                <a:gd name="f66" fmla="*/ 7 f51 1"/>
                <a:gd name="f67" fmla="*/ 27 f50 1"/>
                <a:gd name="f68" fmla="*/ 25 f50 1"/>
                <a:gd name="f69" fmla="*/ 11 f51 1"/>
                <a:gd name="f70" fmla="*/ 18 f50 1"/>
                <a:gd name="f71" fmla="*/ 17 f50 1"/>
                <a:gd name="f72" fmla="*/ 15 f51 1"/>
                <a:gd name="f73" fmla="*/ 8 f50 1"/>
                <a:gd name="f74" fmla="+- f52 0 f1"/>
                <a:gd name="f75" fmla="*/ f55 1 20"/>
                <a:gd name="f76" fmla="*/ f56 1 51"/>
                <a:gd name="f77" fmla="*/ f57 1 20"/>
                <a:gd name="f78" fmla="*/ f58 1 51"/>
                <a:gd name="f79" fmla="*/ f59 1 20"/>
                <a:gd name="f80" fmla="*/ f60 1 51"/>
                <a:gd name="f81" fmla="*/ f61 1 20"/>
                <a:gd name="f82" fmla="*/ f62 1 51"/>
                <a:gd name="f83" fmla="*/ f63 1 20"/>
                <a:gd name="f84" fmla="*/ f64 1 51"/>
                <a:gd name="f85" fmla="*/ f65 1 51"/>
                <a:gd name="f86" fmla="*/ f66 1 20"/>
                <a:gd name="f87" fmla="*/ f67 1 51"/>
                <a:gd name="f88" fmla="*/ f68 1 51"/>
                <a:gd name="f89" fmla="*/ f69 1 20"/>
                <a:gd name="f90" fmla="*/ f70 1 51"/>
                <a:gd name="f91" fmla="*/ f71 1 51"/>
                <a:gd name="f92" fmla="*/ f72 1 20"/>
                <a:gd name="f93" fmla="*/ f73 1 51"/>
                <a:gd name="f94" fmla="*/ 0 1 f53"/>
                <a:gd name="f95" fmla="*/ f47 1 f53"/>
                <a:gd name="f96" fmla="*/ 0 1 f54"/>
                <a:gd name="f97" fmla="*/ f48 1 f54"/>
                <a:gd name="f98" fmla="*/ f75 1 f53"/>
                <a:gd name="f99" fmla="*/ f76 1 f54"/>
                <a:gd name="f100" fmla="*/ f77 1 f53"/>
                <a:gd name="f101" fmla="*/ f78 1 f54"/>
                <a:gd name="f102" fmla="*/ f79 1 f53"/>
                <a:gd name="f103" fmla="*/ f80 1 f54"/>
                <a:gd name="f104" fmla="*/ f81 1 f53"/>
                <a:gd name="f105" fmla="*/ f82 1 f54"/>
                <a:gd name="f106" fmla="*/ f83 1 f53"/>
                <a:gd name="f107" fmla="*/ f84 1 f54"/>
                <a:gd name="f108" fmla="*/ f85 1 f54"/>
                <a:gd name="f109" fmla="*/ f86 1 f53"/>
                <a:gd name="f110" fmla="*/ f87 1 f54"/>
                <a:gd name="f111" fmla="*/ f88 1 f54"/>
                <a:gd name="f112" fmla="*/ f89 1 f53"/>
                <a:gd name="f113" fmla="*/ f90 1 f54"/>
                <a:gd name="f114" fmla="*/ f91 1 f54"/>
                <a:gd name="f115" fmla="*/ f92 1 f53"/>
                <a:gd name="f116" fmla="*/ f93 1 f54"/>
                <a:gd name="f117" fmla="*/ f94 f44 1"/>
                <a:gd name="f118" fmla="*/ f95 f44 1"/>
                <a:gd name="f119" fmla="*/ f97 f45 1"/>
                <a:gd name="f120" fmla="*/ f96 f45 1"/>
                <a:gd name="f121" fmla="*/ f98 f44 1"/>
                <a:gd name="f122" fmla="*/ f99 f45 1"/>
                <a:gd name="f123" fmla="*/ f100 f44 1"/>
                <a:gd name="f124" fmla="*/ f101 f45 1"/>
                <a:gd name="f125" fmla="*/ f102 f44 1"/>
                <a:gd name="f126" fmla="*/ f103 f45 1"/>
                <a:gd name="f127" fmla="*/ f104 f44 1"/>
                <a:gd name="f128" fmla="*/ f105 f45 1"/>
                <a:gd name="f129" fmla="*/ f106 f44 1"/>
                <a:gd name="f130" fmla="*/ f107 f45 1"/>
                <a:gd name="f131" fmla="*/ f108 f45 1"/>
                <a:gd name="f132" fmla="*/ f109 f44 1"/>
                <a:gd name="f133" fmla="*/ f110 f45 1"/>
                <a:gd name="f134" fmla="*/ f111 f45 1"/>
                <a:gd name="f135" fmla="*/ f112 f44 1"/>
                <a:gd name="f136" fmla="*/ f113 f45 1"/>
                <a:gd name="f137" fmla="*/ f114 f45 1"/>
                <a:gd name="f138" fmla="*/ f115 f44 1"/>
                <a:gd name="f139" fmla="*/ f116 f45 1"/>
              </a:gdLst>
              <a:ahLst/>
              <a:cxnLst>
                <a:cxn ang="3cd4">
                  <a:pos x="hc" y="t"/>
                </a:cxn>
                <a:cxn ang="0">
                  <a:pos x="r" y="vc"/>
                </a:cxn>
                <a:cxn ang="cd4">
                  <a:pos x="hc" y="b"/>
                </a:cxn>
                <a:cxn ang="cd2">
                  <a:pos x="l" y="vc"/>
                </a:cxn>
                <a:cxn ang="f74">
                  <a:pos x="f121" y="f122"/>
                </a:cxn>
                <a:cxn ang="f74">
                  <a:pos x="f123" y="f124"/>
                </a:cxn>
                <a:cxn ang="f74">
                  <a:pos x="f123" y="f124"/>
                </a:cxn>
                <a:cxn ang="f74">
                  <a:pos x="f125" y="f126"/>
                </a:cxn>
                <a:cxn ang="f74">
                  <a:pos x="f127" y="f128"/>
                </a:cxn>
                <a:cxn ang="f74">
                  <a:pos x="f129" y="f130"/>
                </a:cxn>
                <a:cxn ang="f74">
                  <a:pos x="f129" y="f131"/>
                </a:cxn>
                <a:cxn ang="f74">
                  <a:pos x="f132" y="f133"/>
                </a:cxn>
                <a:cxn ang="f74">
                  <a:pos x="f132" y="f134"/>
                </a:cxn>
                <a:cxn ang="f74">
                  <a:pos x="f135" y="f136"/>
                </a:cxn>
                <a:cxn ang="f74">
                  <a:pos x="f135" y="f137"/>
                </a:cxn>
                <a:cxn ang="f74">
                  <a:pos x="f138" y="f139"/>
                </a:cxn>
                <a:cxn ang="f74">
                  <a:pos x="f138" y="f139"/>
                </a:cxn>
                <a:cxn ang="f74">
                  <a:pos x="f121" y="f122"/>
                </a:cxn>
                <a:cxn ang="f74">
                  <a:pos x="f121" y="f122"/>
                </a:cxn>
                <a:cxn ang="f74">
                  <a:pos x="f121" y="f122"/>
                </a:cxn>
                <a:cxn ang="f74">
                  <a:pos x="f121" y="f122"/>
                </a:cxn>
              </a:cxnLst>
              <a:rect l="f117" t="f120" r="f118" b="f119"/>
              <a:pathLst>
                <a:path w="20" h="51">
                  <a:moveTo>
                    <a:pt x="f6" y="f5"/>
                  </a:moveTo>
                  <a:cubicBezTo>
                    <a:pt x="f8" y="f9"/>
                    <a:pt x="f10" y="f11"/>
                    <a:pt x="f5" y="f7"/>
                  </a:cubicBezTo>
                  <a:cubicBezTo>
                    <a:pt x="f5" y="f7"/>
                    <a:pt x="f5" y="f7"/>
                    <a:pt x="f5" y="f7"/>
                  </a:cubicBezTo>
                  <a:cubicBezTo>
                    <a:pt x="f12" y="f13"/>
                    <a:pt x="f12" y="f14"/>
                    <a:pt x="f12" y="f15"/>
                  </a:cubicBezTo>
                  <a:cubicBezTo>
                    <a:pt x="f16" y="f17"/>
                    <a:pt x="f16" y="f18"/>
                    <a:pt x="f16" y="f19"/>
                  </a:cubicBezTo>
                  <a:cubicBezTo>
                    <a:pt x="f20" y="f21"/>
                    <a:pt x="f20" y="f22"/>
                    <a:pt x="f10" y="f23"/>
                  </a:cubicBezTo>
                  <a:cubicBezTo>
                    <a:pt x="f10" y="f23"/>
                    <a:pt x="f10" y="f24"/>
                    <a:pt x="f10" y="f25"/>
                  </a:cubicBezTo>
                  <a:cubicBezTo>
                    <a:pt x="f26" y="f27"/>
                    <a:pt x="f28" y="f29"/>
                    <a:pt x="f30" y="f31"/>
                  </a:cubicBezTo>
                  <a:cubicBezTo>
                    <a:pt x="f30" y="f32"/>
                    <a:pt x="f30" y="f32"/>
                    <a:pt x="f30" y="f33"/>
                  </a:cubicBezTo>
                  <a:cubicBezTo>
                    <a:pt x="f34" y="f35"/>
                    <a:pt x="f36" y="f6"/>
                    <a:pt x="f37" y="f38"/>
                  </a:cubicBezTo>
                  <a:cubicBezTo>
                    <a:pt x="f37" y="f39"/>
                    <a:pt x="f37" y="f39"/>
                    <a:pt x="f37" y="f39"/>
                  </a:cubicBezTo>
                  <a:cubicBezTo>
                    <a:pt x="f40" y="f41"/>
                    <a:pt x="f41" y="f37"/>
                    <a:pt x="f42" y="f34"/>
                  </a:cubicBezTo>
                  <a:cubicBezTo>
                    <a:pt x="f42" y="f34"/>
                    <a:pt x="f42" y="f34"/>
                    <a:pt x="f42" y="f34"/>
                  </a:cubicBezTo>
                  <a:cubicBezTo>
                    <a:pt x="f39" y="f26"/>
                    <a:pt x="f38" y="f20"/>
                    <a:pt x="f6" y="f5"/>
                  </a:cubicBezTo>
                  <a:moveTo>
                    <a:pt x="f6" y="f5"/>
                  </a:moveTo>
                  <a:cubicBezTo>
                    <a:pt x="f6" y="f5"/>
                    <a:pt x="f6" y="f5"/>
                    <a:pt x="f6" y="f5"/>
                  </a:cubicBezTo>
                  <a:cubicBezTo>
                    <a:pt x="f6" y="f5"/>
                    <a:pt x="f6" y="f5"/>
                    <a:pt x="f6" y="f5"/>
                  </a:cubicBez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6" name="Rectangle 14">
              <a:extLst>
                <a:ext uri="{FF2B5EF4-FFF2-40B4-BE49-F238E27FC236}">
                  <a16:creationId xmlns:a16="http://schemas.microsoft.com/office/drawing/2014/main" id="{31ECD585-2DEB-496A-B7F5-63217DDC2C61}"/>
                </a:ext>
              </a:extLst>
            </p:cNvPr>
            <p:cNvSpPr/>
            <p:nvPr/>
          </p:nvSpPr>
          <p:spPr>
            <a:xfrm>
              <a:off x="2923291" y="4354619"/>
              <a:ext cx="987552" cy="2138873"/>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7" name="Rectangle 15">
              <a:extLst>
                <a:ext uri="{FF2B5EF4-FFF2-40B4-BE49-F238E27FC236}">
                  <a16:creationId xmlns:a16="http://schemas.microsoft.com/office/drawing/2014/main" id="{16872AB6-99C5-4FBB-83A6-03507E5D5570}"/>
                </a:ext>
              </a:extLst>
            </p:cNvPr>
            <p:cNvSpPr/>
            <p:nvPr/>
          </p:nvSpPr>
          <p:spPr>
            <a:xfrm>
              <a:off x="2923291" y="4354619"/>
              <a:ext cx="987552" cy="2138873"/>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8" name="Rectangle 16">
              <a:extLst>
                <a:ext uri="{FF2B5EF4-FFF2-40B4-BE49-F238E27FC236}">
                  <a16:creationId xmlns:a16="http://schemas.microsoft.com/office/drawing/2014/main" id="{D1C824B1-44DF-4FA1-86AD-2EC2C712EFBF}"/>
                </a:ext>
              </a:extLst>
            </p:cNvPr>
            <p:cNvSpPr/>
            <p:nvPr/>
          </p:nvSpPr>
          <p:spPr>
            <a:xfrm>
              <a:off x="3022567" y="5372328"/>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9" name="Rectangle 17">
              <a:extLst>
                <a:ext uri="{FF2B5EF4-FFF2-40B4-BE49-F238E27FC236}">
                  <a16:creationId xmlns:a16="http://schemas.microsoft.com/office/drawing/2014/main" id="{CCC9540A-D030-40AD-B4E6-7F56D9DAE95E}"/>
                </a:ext>
              </a:extLst>
            </p:cNvPr>
            <p:cNvSpPr/>
            <p:nvPr/>
          </p:nvSpPr>
          <p:spPr>
            <a:xfrm>
              <a:off x="3022567" y="5372328"/>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0" name="Rectangle 18">
              <a:extLst>
                <a:ext uri="{FF2B5EF4-FFF2-40B4-BE49-F238E27FC236}">
                  <a16:creationId xmlns:a16="http://schemas.microsoft.com/office/drawing/2014/main" id="{064D52D3-8C65-4D07-A1EE-FAF28D97769A}"/>
                </a:ext>
              </a:extLst>
            </p:cNvPr>
            <p:cNvSpPr/>
            <p:nvPr/>
          </p:nvSpPr>
          <p:spPr>
            <a:xfrm>
              <a:off x="3022567" y="5594893"/>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1" name="Rectangle 19">
              <a:extLst>
                <a:ext uri="{FF2B5EF4-FFF2-40B4-BE49-F238E27FC236}">
                  <a16:creationId xmlns:a16="http://schemas.microsoft.com/office/drawing/2014/main" id="{0E48B6C3-91D5-4871-85AF-DA863A1DB746}"/>
                </a:ext>
              </a:extLst>
            </p:cNvPr>
            <p:cNvSpPr/>
            <p:nvPr/>
          </p:nvSpPr>
          <p:spPr>
            <a:xfrm>
              <a:off x="3022567" y="5594893"/>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2" name="Rectangle 20">
              <a:extLst>
                <a:ext uri="{FF2B5EF4-FFF2-40B4-BE49-F238E27FC236}">
                  <a16:creationId xmlns:a16="http://schemas.microsoft.com/office/drawing/2014/main" id="{6A81AAA5-8E43-4EBF-977D-19E95798166A}"/>
                </a:ext>
              </a:extLst>
            </p:cNvPr>
            <p:cNvSpPr/>
            <p:nvPr/>
          </p:nvSpPr>
          <p:spPr>
            <a:xfrm>
              <a:off x="3022567" y="5815364"/>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3" name="Rectangle 21">
              <a:extLst>
                <a:ext uri="{FF2B5EF4-FFF2-40B4-BE49-F238E27FC236}">
                  <a16:creationId xmlns:a16="http://schemas.microsoft.com/office/drawing/2014/main" id="{749E42E0-7AE2-4412-A828-AAD6AB69564C}"/>
                </a:ext>
              </a:extLst>
            </p:cNvPr>
            <p:cNvSpPr/>
            <p:nvPr/>
          </p:nvSpPr>
          <p:spPr>
            <a:xfrm>
              <a:off x="3022567" y="5815364"/>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4" name="Rectangle 22">
              <a:extLst>
                <a:ext uri="{FF2B5EF4-FFF2-40B4-BE49-F238E27FC236}">
                  <a16:creationId xmlns:a16="http://schemas.microsoft.com/office/drawing/2014/main" id="{3CE99A07-58E3-41BB-A394-FC7383521547}"/>
                </a:ext>
              </a:extLst>
            </p:cNvPr>
            <p:cNvSpPr/>
            <p:nvPr/>
          </p:nvSpPr>
          <p:spPr>
            <a:xfrm>
              <a:off x="3022567" y="6034783"/>
              <a:ext cx="794229"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5" name="Rectangle 23">
              <a:extLst>
                <a:ext uri="{FF2B5EF4-FFF2-40B4-BE49-F238E27FC236}">
                  <a16:creationId xmlns:a16="http://schemas.microsoft.com/office/drawing/2014/main" id="{37B04EDE-9272-4F21-8A22-730B3F27E267}"/>
                </a:ext>
              </a:extLst>
            </p:cNvPr>
            <p:cNvSpPr/>
            <p:nvPr/>
          </p:nvSpPr>
          <p:spPr>
            <a:xfrm>
              <a:off x="3022567" y="6034783"/>
              <a:ext cx="794229"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6" name="Rectangle 24">
              <a:extLst>
                <a:ext uri="{FF2B5EF4-FFF2-40B4-BE49-F238E27FC236}">
                  <a16:creationId xmlns:a16="http://schemas.microsoft.com/office/drawing/2014/main" id="{1FDCDF25-1A27-4C5D-87C2-ED1D03C78567}"/>
                </a:ext>
              </a:extLst>
            </p:cNvPr>
            <p:cNvSpPr/>
            <p:nvPr/>
          </p:nvSpPr>
          <p:spPr>
            <a:xfrm>
              <a:off x="3022567" y="4708830"/>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7" name="Rectangle 25">
              <a:extLst>
                <a:ext uri="{FF2B5EF4-FFF2-40B4-BE49-F238E27FC236}">
                  <a16:creationId xmlns:a16="http://schemas.microsoft.com/office/drawing/2014/main" id="{53369191-1325-4BB1-867F-3AFD10C97570}"/>
                </a:ext>
              </a:extLst>
            </p:cNvPr>
            <p:cNvSpPr/>
            <p:nvPr/>
          </p:nvSpPr>
          <p:spPr>
            <a:xfrm>
              <a:off x="3022567" y="4929301"/>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8" name="Rectangle 26">
              <a:extLst>
                <a:ext uri="{FF2B5EF4-FFF2-40B4-BE49-F238E27FC236}">
                  <a16:creationId xmlns:a16="http://schemas.microsoft.com/office/drawing/2014/main" id="{40FB30F2-A316-4887-883D-657B7C692B96}"/>
                </a:ext>
              </a:extLst>
            </p:cNvPr>
            <p:cNvSpPr/>
            <p:nvPr/>
          </p:nvSpPr>
          <p:spPr>
            <a:xfrm>
              <a:off x="3022567" y="5151857"/>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9" name="Rectangle 27">
              <a:extLst>
                <a:ext uri="{FF2B5EF4-FFF2-40B4-BE49-F238E27FC236}">
                  <a16:creationId xmlns:a16="http://schemas.microsoft.com/office/drawing/2014/main" id="{F0AE8D56-F32D-4B49-978A-495F90BD6723}"/>
                </a:ext>
              </a:extLst>
            </p:cNvPr>
            <p:cNvSpPr/>
            <p:nvPr/>
          </p:nvSpPr>
          <p:spPr>
            <a:xfrm>
              <a:off x="3022567" y="5151857"/>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0" name="Rectangle 28">
              <a:extLst>
                <a:ext uri="{FF2B5EF4-FFF2-40B4-BE49-F238E27FC236}">
                  <a16:creationId xmlns:a16="http://schemas.microsoft.com/office/drawing/2014/main" id="{4152AC57-ECA6-4FA6-A58A-8875B72AF0F0}"/>
                </a:ext>
              </a:extLst>
            </p:cNvPr>
            <p:cNvSpPr/>
            <p:nvPr/>
          </p:nvSpPr>
          <p:spPr>
            <a:xfrm>
              <a:off x="3022567" y="4488359"/>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1" name="Freeform 29">
              <a:extLst>
                <a:ext uri="{FF2B5EF4-FFF2-40B4-BE49-F238E27FC236}">
                  <a16:creationId xmlns:a16="http://schemas.microsoft.com/office/drawing/2014/main" id="{9F10759A-33E6-4470-AE9E-99F2885B3A32}"/>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close/>
                </a:path>
              </a:pathLst>
            </a:custGeom>
            <a:solidFill>
              <a:srgbClr val="737373"/>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2" name="Freeform 30">
              <a:extLst>
                <a:ext uri="{FF2B5EF4-FFF2-40B4-BE49-F238E27FC236}">
                  <a16:creationId xmlns:a16="http://schemas.microsoft.com/office/drawing/2014/main" id="{B884E512-670F-4D2F-B7ED-8243673B46A8}"/>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3" name="Rectangle 31">
              <a:extLst>
                <a:ext uri="{FF2B5EF4-FFF2-40B4-BE49-F238E27FC236}">
                  <a16:creationId xmlns:a16="http://schemas.microsoft.com/office/drawing/2014/main" id="{6E1261DC-73F5-446A-8345-A47EA9F645EA}"/>
                </a:ext>
              </a:extLst>
            </p:cNvPr>
            <p:cNvSpPr/>
            <p:nvPr/>
          </p:nvSpPr>
          <p:spPr>
            <a:xfrm>
              <a:off x="3022567" y="5372328"/>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4" name="Rectangle 32">
              <a:extLst>
                <a:ext uri="{FF2B5EF4-FFF2-40B4-BE49-F238E27FC236}">
                  <a16:creationId xmlns:a16="http://schemas.microsoft.com/office/drawing/2014/main" id="{671B1E4B-0491-4B28-88DB-ABA5454C86FE}"/>
                </a:ext>
              </a:extLst>
            </p:cNvPr>
            <p:cNvSpPr/>
            <p:nvPr/>
          </p:nvSpPr>
          <p:spPr>
            <a:xfrm>
              <a:off x="3022567" y="5372328"/>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5" name="Rectangle 33">
              <a:extLst>
                <a:ext uri="{FF2B5EF4-FFF2-40B4-BE49-F238E27FC236}">
                  <a16:creationId xmlns:a16="http://schemas.microsoft.com/office/drawing/2014/main" id="{A84364EA-E6E5-40D4-9CDF-40B059EF6520}"/>
                </a:ext>
              </a:extLst>
            </p:cNvPr>
            <p:cNvSpPr/>
            <p:nvPr/>
          </p:nvSpPr>
          <p:spPr>
            <a:xfrm>
              <a:off x="3022567" y="5594893"/>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6" name="Rectangle 34">
              <a:extLst>
                <a:ext uri="{FF2B5EF4-FFF2-40B4-BE49-F238E27FC236}">
                  <a16:creationId xmlns:a16="http://schemas.microsoft.com/office/drawing/2014/main" id="{BC03F053-9104-4F31-8DEC-45A8DA268D6C}"/>
                </a:ext>
              </a:extLst>
            </p:cNvPr>
            <p:cNvSpPr/>
            <p:nvPr/>
          </p:nvSpPr>
          <p:spPr>
            <a:xfrm>
              <a:off x="3022567" y="5594893"/>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7" name="Rectangle 35">
              <a:extLst>
                <a:ext uri="{FF2B5EF4-FFF2-40B4-BE49-F238E27FC236}">
                  <a16:creationId xmlns:a16="http://schemas.microsoft.com/office/drawing/2014/main" id="{D8A38429-483A-4AA1-AB8E-18E65032195E}"/>
                </a:ext>
              </a:extLst>
            </p:cNvPr>
            <p:cNvSpPr/>
            <p:nvPr/>
          </p:nvSpPr>
          <p:spPr>
            <a:xfrm>
              <a:off x="3022567" y="5815364"/>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8" name="Rectangle 36">
              <a:extLst>
                <a:ext uri="{FF2B5EF4-FFF2-40B4-BE49-F238E27FC236}">
                  <a16:creationId xmlns:a16="http://schemas.microsoft.com/office/drawing/2014/main" id="{0259F80C-5F72-4D39-947B-84386EF84F3B}"/>
                </a:ext>
              </a:extLst>
            </p:cNvPr>
            <p:cNvSpPr/>
            <p:nvPr/>
          </p:nvSpPr>
          <p:spPr>
            <a:xfrm>
              <a:off x="3022567" y="5815364"/>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9" name="Rectangle 37">
              <a:extLst>
                <a:ext uri="{FF2B5EF4-FFF2-40B4-BE49-F238E27FC236}">
                  <a16:creationId xmlns:a16="http://schemas.microsoft.com/office/drawing/2014/main" id="{7070481F-E100-4F58-8D3E-E63810993E21}"/>
                </a:ext>
              </a:extLst>
            </p:cNvPr>
            <p:cNvSpPr/>
            <p:nvPr/>
          </p:nvSpPr>
          <p:spPr>
            <a:xfrm>
              <a:off x="3022567" y="6034783"/>
              <a:ext cx="443090"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0" name="Rectangle 38">
              <a:extLst>
                <a:ext uri="{FF2B5EF4-FFF2-40B4-BE49-F238E27FC236}">
                  <a16:creationId xmlns:a16="http://schemas.microsoft.com/office/drawing/2014/main" id="{848AE07D-72A4-4A8C-B2F5-725C2A9A68B0}"/>
                </a:ext>
              </a:extLst>
            </p:cNvPr>
            <p:cNvSpPr/>
            <p:nvPr/>
          </p:nvSpPr>
          <p:spPr>
            <a:xfrm>
              <a:off x="3022567" y="6034783"/>
              <a:ext cx="443090"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1" name="Rectangle 39">
              <a:extLst>
                <a:ext uri="{FF2B5EF4-FFF2-40B4-BE49-F238E27FC236}">
                  <a16:creationId xmlns:a16="http://schemas.microsoft.com/office/drawing/2014/main" id="{718D2E06-557B-470A-AC9A-2C3C7ABC22BE}"/>
                </a:ext>
              </a:extLst>
            </p:cNvPr>
            <p:cNvSpPr/>
            <p:nvPr/>
          </p:nvSpPr>
          <p:spPr>
            <a:xfrm>
              <a:off x="3022567" y="5151857"/>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2" name="Rectangle 40">
              <a:extLst>
                <a:ext uri="{FF2B5EF4-FFF2-40B4-BE49-F238E27FC236}">
                  <a16:creationId xmlns:a16="http://schemas.microsoft.com/office/drawing/2014/main" id="{1E1872A5-681A-4422-BB38-6FBAD124D020}"/>
                </a:ext>
              </a:extLst>
            </p:cNvPr>
            <p:cNvSpPr/>
            <p:nvPr/>
          </p:nvSpPr>
          <p:spPr>
            <a:xfrm>
              <a:off x="3022567" y="5151857"/>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3" name="Rectangle 41">
              <a:extLst>
                <a:ext uri="{FF2B5EF4-FFF2-40B4-BE49-F238E27FC236}">
                  <a16:creationId xmlns:a16="http://schemas.microsoft.com/office/drawing/2014/main" id="{B067DFD0-6BD4-4C02-86E2-3B20082D2F18}"/>
                </a:ext>
              </a:extLst>
            </p:cNvPr>
            <p:cNvSpPr/>
            <p:nvPr/>
          </p:nvSpPr>
          <p:spPr>
            <a:xfrm>
              <a:off x="2317171" y="5260534"/>
              <a:ext cx="987552" cy="1232958"/>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4" name="Rectangle 42">
              <a:extLst>
                <a:ext uri="{FF2B5EF4-FFF2-40B4-BE49-F238E27FC236}">
                  <a16:creationId xmlns:a16="http://schemas.microsoft.com/office/drawing/2014/main" id="{C35BEB10-EAE7-40E8-A7F9-B130689DFB21}"/>
                </a:ext>
              </a:extLst>
            </p:cNvPr>
            <p:cNvSpPr/>
            <p:nvPr/>
          </p:nvSpPr>
          <p:spPr>
            <a:xfrm>
              <a:off x="2859539" y="6242718"/>
              <a:ext cx="128537"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5" name="Rectangle 43">
              <a:extLst>
                <a:ext uri="{FF2B5EF4-FFF2-40B4-BE49-F238E27FC236}">
                  <a16:creationId xmlns:a16="http://schemas.microsoft.com/office/drawing/2014/main" id="{23AEA5F6-818F-4B5A-90DE-7060FEB20773}"/>
                </a:ext>
              </a:extLst>
            </p:cNvPr>
            <p:cNvSpPr/>
            <p:nvPr/>
          </p:nvSpPr>
          <p:spPr>
            <a:xfrm>
              <a:off x="2639040" y="6242718"/>
              <a:ext cx="125400"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6" name="Rectangle 44">
              <a:extLst>
                <a:ext uri="{FF2B5EF4-FFF2-40B4-BE49-F238E27FC236}">
                  <a16:creationId xmlns:a16="http://schemas.microsoft.com/office/drawing/2014/main" id="{74852918-C164-4DC8-B8F7-BA28B09520C0}"/>
                </a:ext>
              </a:extLst>
            </p:cNvPr>
            <p:cNvSpPr/>
            <p:nvPr/>
          </p:nvSpPr>
          <p:spPr>
            <a:xfrm>
              <a:off x="2415396" y="5372328"/>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7" name="Rectangle 45">
              <a:extLst>
                <a:ext uri="{FF2B5EF4-FFF2-40B4-BE49-F238E27FC236}">
                  <a16:creationId xmlns:a16="http://schemas.microsoft.com/office/drawing/2014/main" id="{2BF29084-FBEB-47E9-A374-F4216F00A1CC}"/>
                </a:ext>
              </a:extLst>
            </p:cNvPr>
            <p:cNvSpPr/>
            <p:nvPr/>
          </p:nvSpPr>
          <p:spPr>
            <a:xfrm>
              <a:off x="2415396" y="5594893"/>
              <a:ext cx="795271"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8" name="Rectangle 46">
              <a:extLst>
                <a:ext uri="{FF2B5EF4-FFF2-40B4-BE49-F238E27FC236}">
                  <a16:creationId xmlns:a16="http://schemas.microsoft.com/office/drawing/2014/main" id="{9428228A-E9AF-4159-B27D-48ADE5883ED4}"/>
                </a:ext>
              </a:extLst>
            </p:cNvPr>
            <p:cNvSpPr/>
            <p:nvPr/>
          </p:nvSpPr>
          <p:spPr>
            <a:xfrm>
              <a:off x="2415396" y="5815364"/>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9" name="Rectangle 47">
              <a:extLst>
                <a:ext uri="{FF2B5EF4-FFF2-40B4-BE49-F238E27FC236}">
                  <a16:creationId xmlns:a16="http://schemas.microsoft.com/office/drawing/2014/main" id="{0A7753F5-4EDC-48CD-9900-BE7B5A79AF59}"/>
                </a:ext>
              </a:extLst>
            </p:cNvPr>
            <p:cNvSpPr/>
            <p:nvPr/>
          </p:nvSpPr>
          <p:spPr>
            <a:xfrm>
              <a:off x="2415396" y="6034783"/>
              <a:ext cx="795271"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grpSp>
      <p:sp>
        <p:nvSpPr>
          <p:cNvPr id="110" name="Text">
            <a:extLst>
              <a:ext uri="{FF2B5EF4-FFF2-40B4-BE49-F238E27FC236}">
                <a16:creationId xmlns:a16="http://schemas.microsoft.com/office/drawing/2014/main" id="{05116AC3-D7C7-4341-B39C-395350C1AA8B}"/>
              </a:ext>
            </a:extLst>
          </p:cNvPr>
          <p:cNvSpPr/>
          <p:nvPr/>
        </p:nvSpPr>
        <p:spPr>
          <a:xfrm>
            <a:off x="8092612" y="5370690"/>
            <a:ext cx="1508183" cy="470693"/>
          </a:xfrm>
          <a:prstGeom prst="rect">
            <a:avLst/>
          </a:prstGeom>
        </p:spPr>
        <p:txBody>
          <a:bodyPr wrap="square">
            <a:spAutoFit/>
          </a:bodyPr>
          <a:lstStyle/>
          <a:p>
            <a:pPr marL="0" marR="0" lvl="0" indent="0" algn="ctr" defTabSz="896182"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Semilight"/>
                <a:ea typeface="+mn-ea"/>
                <a:cs typeface="+mn-cs"/>
              </a:rPr>
              <a:t>Windows Server Active Directory</a:t>
            </a:r>
          </a:p>
        </p:txBody>
      </p:sp>
      <p:sp>
        <p:nvSpPr>
          <p:cNvPr id="111" name="Text">
            <a:extLst>
              <a:ext uri="{FF2B5EF4-FFF2-40B4-BE49-F238E27FC236}">
                <a16:creationId xmlns:a16="http://schemas.microsoft.com/office/drawing/2014/main" id="{1D68DC31-174D-455E-BB4F-80015DA2A9DB}"/>
              </a:ext>
            </a:extLst>
          </p:cNvPr>
          <p:cNvSpPr/>
          <p:nvPr/>
        </p:nvSpPr>
        <p:spPr>
          <a:xfrm>
            <a:off x="8011558" y="6038676"/>
            <a:ext cx="2365757" cy="267028"/>
          </a:xfrm>
          <a:prstGeom prst="rect">
            <a:avLst/>
          </a:prstGeom>
        </p:spPr>
        <p:txBody>
          <a:bodyPr wrap="square">
            <a:spAutoFit/>
          </a:bodyPr>
          <a:lstStyle/>
          <a:p>
            <a:pPr marL="0" marR="0" lvl="0" indent="0" algn="l" defTabSz="896182" rtl="0" eaLnBrk="1" fontAlgn="auto" latinLnBrk="0" hangingPunct="1">
              <a:lnSpc>
                <a:spcPct val="90000"/>
              </a:lnSpc>
              <a:spcBef>
                <a:spcPts val="0"/>
              </a:spcBef>
              <a:spcAft>
                <a:spcPts val="0"/>
              </a:spcAft>
              <a:buClrTx/>
              <a:buSzTx/>
              <a:buFontTx/>
              <a:buNone/>
              <a:tabLst/>
              <a:defRPr/>
            </a:pPr>
            <a:r>
              <a:rPr kumimoji="0" lang="en-US" sz="1274" b="0" i="0" u="none" strike="noStrike" kern="0" cap="none" spc="0" normalizeH="0" baseline="0" noProof="0" dirty="0">
                <a:ln>
                  <a:noFill/>
                </a:ln>
                <a:solidFill>
                  <a:srgbClr val="000000"/>
                </a:solidFill>
                <a:effectLst/>
                <a:uLnTx/>
                <a:uFillTx/>
                <a:latin typeface="Segoe UI Semilight"/>
                <a:ea typeface="+mn-ea"/>
                <a:cs typeface="+mn-cs"/>
              </a:rPr>
              <a:t>On-premises / Private cloud </a:t>
            </a:r>
          </a:p>
        </p:txBody>
      </p:sp>
    </p:spTree>
    <p:extLst>
      <p:ext uri="{BB962C8B-B14F-4D97-AF65-F5344CB8AC3E}">
        <p14:creationId xmlns:p14="http://schemas.microsoft.com/office/powerpoint/2010/main" val="27317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4.16667E-7 -3.7037E-7 L 0.09583 -0.04421 " pathEditMode="relative" rAng="0" ptsTypes="AA">
                                      <p:cBhvr>
                                        <p:cTn id="6" dur="2000" fill="hold"/>
                                        <p:tgtEl>
                                          <p:spTgt spid="199"/>
                                        </p:tgtEl>
                                        <p:attrNameLst>
                                          <p:attrName>ppt_x</p:attrName>
                                          <p:attrName>ppt_y</p:attrName>
                                        </p:attrNameLst>
                                      </p:cBhvr>
                                      <p:rCtr x="4792" y="-2222"/>
                                    </p:animMotion>
                                  </p:childTnLst>
                                </p:cTn>
                              </p:par>
                              <p:par>
                                <p:cTn id="7" presetID="22" presetClass="entr" presetSubtype="8" fill="hold" nodeType="withEffect">
                                  <p:stCondLst>
                                    <p:cond delay="250"/>
                                  </p:stCondLst>
                                  <p:childTnLst>
                                    <p:set>
                                      <p:cBhvr>
                                        <p:cTn id="8" dur="1" fill="hold">
                                          <p:stCondLst>
                                            <p:cond delay="0"/>
                                          </p:stCondLst>
                                        </p:cTn>
                                        <p:tgtEl>
                                          <p:spTgt spid="198"/>
                                        </p:tgtEl>
                                        <p:attrNameLst>
                                          <p:attrName>style.visibility</p:attrName>
                                        </p:attrNameLst>
                                      </p:cBhvr>
                                      <p:to>
                                        <p:strVal val="visible"/>
                                      </p:to>
                                    </p:set>
                                    <p:animEffect transition="in" filter="wipe(left)">
                                      <p:cBhvr>
                                        <p:cTn id="9" dur="500"/>
                                        <p:tgtEl>
                                          <p:spTgt spid="198"/>
                                        </p:tgtEl>
                                      </p:cBhvr>
                                    </p:animEffect>
                                  </p:childTnLst>
                                </p:cTn>
                              </p:par>
                            </p:childTnLst>
                          </p:cTn>
                        </p:par>
                        <p:par>
                          <p:cTn id="10" fill="hold">
                            <p:stCondLst>
                              <p:cond delay="2000"/>
                            </p:stCondLst>
                            <p:childTnLst>
                              <p:par>
                                <p:cTn id="11" presetID="63" presetClass="path" presetSubtype="0" accel="50000" decel="50000" fill="hold" nodeType="afterEffect">
                                  <p:stCondLst>
                                    <p:cond delay="0"/>
                                  </p:stCondLst>
                                  <p:childTnLst>
                                    <p:animMotion origin="layout" path="M 0.09583 -0.04421 L 0.20664 -0.09653 " pathEditMode="relative" rAng="0" ptsTypes="AA">
                                      <p:cBhvr>
                                        <p:cTn id="12" dur="2000" fill="hold"/>
                                        <p:tgtEl>
                                          <p:spTgt spid="199"/>
                                        </p:tgtEl>
                                        <p:attrNameLst>
                                          <p:attrName>ppt_x</p:attrName>
                                          <p:attrName>ppt_y</p:attrName>
                                        </p:attrNameLst>
                                      </p:cBhvr>
                                      <p:rCtr x="5534" y="-2616"/>
                                    </p:animMotion>
                                  </p:childTnLst>
                                </p:cTn>
                              </p:par>
                              <p:par>
                                <p:cTn id="13" presetID="10" presetClass="entr" presetSubtype="0" fill="hold" nodeType="withEffect">
                                  <p:stCondLst>
                                    <p:cond delay="1500"/>
                                  </p:stCondLst>
                                  <p:childTnLst>
                                    <p:set>
                                      <p:cBhvr>
                                        <p:cTn id="14" dur="1" fill="hold">
                                          <p:stCondLst>
                                            <p:cond delay="0"/>
                                          </p:stCondLst>
                                        </p:cTn>
                                        <p:tgtEl>
                                          <p:spTgt spid="216"/>
                                        </p:tgtEl>
                                        <p:attrNameLst>
                                          <p:attrName>style.visibility</p:attrName>
                                        </p:attrNameLst>
                                      </p:cBhvr>
                                      <p:to>
                                        <p:strVal val="visible"/>
                                      </p:to>
                                    </p:set>
                                    <p:animEffect transition="in" filter="fade">
                                      <p:cBhvr>
                                        <p:cTn id="15" dur="500"/>
                                        <p:tgtEl>
                                          <p:spTgt spid="216"/>
                                        </p:tgtEl>
                                      </p:cBhvr>
                                    </p:animEffect>
                                  </p:childTnLst>
                                </p:cTn>
                              </p:par>
                            </p:childTnLst>
                          </p:cTn>
                        </p:par>
                        <p:par>
                          <p:cTn id="16" fill="hold">
                            <p:stCondLst>
                              <p:cond delay="4000"/>
                            </p:stCondLst>
                            <p:childTnLst>
                              <p:par>
                                <p:cTn id="17" presetID="22" presetClass="entr" presetSubtype="1" fill="hold" nodeType="afterEffect">
                                  <p:stCondLst>
                                    <p:cond delay="0"/>
                                  </p:stCondLst>
                                  <p:childTnLst>
                                    <p:set>
                                      <p:cBhvr>
                                        <p:cTn id="18" dur="1" fill="hold">
                                          <p:stCondLst>
                                            <p:cond delay="0"/>
                                          </p:stCondLst>
                                        </p:cTn>
                                        <p:tgtEl>
                                          <p:spTgt spid="211"/>
                                        </p:tgtEl>
                                        <p:attrNameLst>
                                          <p:attrName>style.visibility</p:attrName>
                                        </p:attrNameLst>
                                      </p:cBhvr>
                                      <p:to>
                                        <p:strVal val="visible"/>
                                      </p:to>
                                    </p:set>
                                    <p:animEffect transition="in" filter="wipe(up)">
                                      <p:cBhvr>
                                        <p:cTn id="19" dur="500"/>
                                        <p:tgtEl>
                                          <p:spTgt spid="2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2"/>
                                        </p:tgtEl>
                                        <p:attrNameLst>
                                          <p:attrName>style.visibility</p:attrName>
                                        </p:attrNameLst>
                                      </p:cBhvr>
                                      <p:to>
                                        <p:strVal val="visible"/>
                                      </p:to>
                                    </p:set>
                                    <p:animEffect transition="in" filter="fade">
                                      <p:cBhvr>
                                        <p:cTn id="22" dur="500"/>
                                        <p:tgtEl>
                                          <p:spTgt spid="2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1"/>
                                        </p:tgtEl>
                                        <p:attrNameLst>
                                          <p:attrName>style.visibility</p:attrName>
                                        </p:attrNameLst>
                                      </p:cBhvr>
                                      <p:to>
                                        <p:strVal val="visible"/>
                                      </p:to>
                                    </p:set>
                                    <p:animEffect transition="in" filter="fade">
                                      <p:cBhvr>
                                        <p:cTn id="25" dur="500"/>
                                        <p:tgtEl>
                                          <p:spTgt spid="221"/>
                                        </p:tgtEl>
                                      </p:cBhvr>
                                    </p:animEffect>
                                  </p:childTnLst>
                                </p:cTn>
                              </p:par>
                            </p:childTnLst>
                          </p:cTn>
                        </p:par>
                        <p:par>
                          <p:cTn id="26" fill="hold">
                            <p:stCondLst>
                              <p:cond delay="4500"/>
                            </p:stCondLst>
                            <p:childTnLst>
                              <p:par>
                                <p:cTn id="27" presetID="10" presetClass="entr" presetSubtype="0" fill="hold" grpId="0" nodeType="afterEffect">
                                  <p:stCondLst>
                                    <p:cond delay="0"/>
                                  </p:stCondLst>
                                  <p:childTnLst>
                                    <p:set>
                                      <p:cBhvr>
                                        <p:cTn id="28" dur="1" fill="hold">
                                          <p:stCondLst>
                                            <p:cond delay="0"/>
                                          </p:stCondLst>
                                        </p:cTn>
                                        <p:tgtEl>
                                          <p:spTgt spid="220"/>
                                        </p:tgtEl>
                                        <p:attrNameLst>
                                          <p:attrName>style.visibility</p:attrName>
                                        </p:attrNameLst>
                                      </p:cBhvr>
                                      <p:to>
                                        <p:strVal val="visible"/>
                                      </p:to>
                                    </p:set>
                                    <p:animEffect transition="in" filter="fade">
                                      <p:cBhvr>
                                        <p:cTn id="29" dur="500"/>
                                        <p:tgtEl>
                                          <p:spTgt spid="220"/>
                                        </p:tgtEl>
                                      </p:cBhvr>
                                    </p:animEffect>
                                  </p:childTnLst>
                                </p:cTn>
                              </p:par>
                              <p:par>
                                <p:cTn id="30" presetID="22" presetClass="entr" presetSubtype="8" fill="hold" nodeType="withEffect">
                                  <p:stCondLst>
                                    <p:cond delay="0"/>
                                  </p:stCondLst>
                                  <p:childTnLst>
                                    <p:set>
                                      <p:cBhvr>
                                        <p:cTn id="31" dur="1" fill="hold">
                                          <p:stCondLst>
                                            <p:cond delay="0"/>
                                          </p:stCondLst>
                                        </p:cTn>
                                        <p:tgtEl>
                                          <p:spTgt spid="219"/>
                                        </p:tgtEl>
                                        <p:attrNameLst>
                                          <p:attrName>style.visibility</p:attrName>
                                        </p:attrNameLst>
                                      </p:cBhvr>
                                      <p:to>
                                        <p:strVal val="visible"/>
                                      </p:to>
                                    </p:set>
                                    <p:animEffect transition="in" filter="wipe(left)">
                                      <p:cBhvr>
                                        <p:cTn id="32" dur="500"/>
                                        <p:tgtEl>
                                          <p:spTgt spid="219"/>
                                        </p:tgtEl>
                                      </p:cBhvr>
                                    </p:animEffect>
                                  </p:childTnLst>
                                </p:cTn>
                              </p:par>
                            </p:childTnLst>
                          </p:cTn>
                        </p:par>
                        <p:par>
                          <p:cTn id="33" fill="hold">
                            <p:stCondLst>
                              <p:cond delay="5000"/>
                            </p:stCondLst>
                            <p:childTnLst>
                              <p:par>
                                <p:cTn id="34" presetID="10" presetClass="entr" presetSubtype="0" fill="hold" nodeType="afterEffect">
                                  <p:stCondLst>
                                    <p:cond delay="0"/>
                                  </p:stCondLst>
                                  <p:childTnLst>
                                    <p:set>
                                      <p:cBhvr>
                                        <p:cTn id="35" dur="1" fill="hold">
                                          <p:stCondLst>
                                            <p:cond delay="0"/>
                                          </p:stCondLst>
                                        </p:cTn>
                                        <p:tgtEl>
                                          <p:spTgt spid="223"/>
                                        </p:tgtEl>
                                        <p:attrNameLst>
                                          <p:attrName>style.visibility</p:attrName>
                                        </p:attrNameLst>
                                      </p:cBhvr>
                                      <p:to>
                                        <p:strVal val="visible"/>
                                      </p:to>
                                    </p:set>
                                    <p:animEffect transition="in" filter="fade">
                                      <p:cBhvr>
                                        <p:cTn id="36" dur="500"/>
                                        <p:tgtEl>
                                          <p:spTgt spid="2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2" grpId="0" animBg="1"/>
      <p:bldP spid="220" grpId="0"/>
      <p:bldP spid="22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CE774-E50A-4E0D-A057-59AAB280E106}"/>
              </a:ext>
            </a:extLst>
          </p:cNvPr>
          <p:cNvSpPr>
            <a:spLocks noGrp="1"/>
          </p:cNvSpPr>
          <p:nvPr>
            <p:ph type="title"/>
          </p:nvPr>
        </p:nvSpPr>
        <p:spPr/>
        <p:txBody>
          <a:bodyPr/>
          <a:lstStyle/>
          <a:p>
            <a:pPr algn="ctr"/>
            <a:r>
              <a:rPr lang="en-US" sz="4000" dirty="0"/>
              <a:t>Azure AD Connect authentication options</a:t>
            </a:r>
            <a:br>
              <a:rPr lang="en-US" sz="4000" dirty="0"/>
            </a:br>
            <a:br>
              <a:rPr lang="en-US" sz="900" dirty="0"/>
            </a:br>
            <a:r>
              <a:rPr lang="en-US" sz="2400" spc="0" dirty="0">
                <a:solidFill>
                  <a:schemeClr val="tx1"/>
                </a:solidFill>
                <a:latin typeface="Segoe UI" panose="020B0502040204020203" pitchFamily="34" charset="0"/>
              </a:rPr>
              <a:t>Password Hash synchronization</a:t>
            </a:r>
            <a:endParaRPr lang="en-US" sz="2400" spc="0" dirty="0">
              <a:solidFill>
                <a:srgbClr val="353535"/>
              </a:solidFill>
              <a:latin typeface="Segoe UI" panose="020B0502040204020203" pitchFamily="34" charset="0"/>
            </a:endParaRPr>
          </a:p>
        </p:txBody>
      </p:sp>
      <p:sp>
        <p:nvSpPr>
          <p:cNvPr id="68" name="Rectangle 67">
            <a:extLst>
              <a:ext uri="{FF2B5EF4-FFF2-40B4-BE49-F238E27FC236}">
                <a16:creationId xmlns:a16="http://schemas.microsoft.com/office/drawing/2014/main" id="{6D734AA4-1238-49C7-A4D8-8BD170E7FA86}"/>
              </a:ext>
            </a:extLst>
          </p:cNvPr>
          <p:cNvSpPr/>
          <p:nvPr/>
        </p:nvSpPr>
        <p:spPr bwMode="auto">
          <a:xfrm>
            <a:off x="-1371779" y="486"/>
            <a:ext cx="1279979" cy="6857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art 2 of 4</a:t>
            </a:r>
          </a:p>
        </p:txBody>
      </p:sp>
      <p:sp>
        <p:nvSpPr>
          <p:cNvPr id="188" name="Freeform: Shape 187">
            <a:extLst>
              <a:ext uri="{FF2B5EF4-FFF2-40B4-BE49-F238E27FC236}">
                <a16:creationId xmlns:a16="http://schemas.microsoft.com/office/drawing/2014/main" id="{FC3A2F28-0562-4840-B976-D885EF1E5E30}"/>
              </a:ext>
            </a:extLst>
          </p:cNvPr>
          <p:cNvSpPr/>
          <p:nvPr/>
        </p:nvSpPr>
        <p:spPr>
          <a:xfrm flipH="1">
            <a:off x="4713300" y="1538390"/>
            <a:ext cx="2064547" cy="1357552"/>
          </a:xfrm>
          <a:custGeom>
            <a:avLst/>
            <a:gdLst>
              <a:gd name="connsiteX0" fmla="*/ 1627536 w 2877656"/>
              <a:gd name="connsiteY0" fmla="*/ 0 h 1892217"/>
              <a:gd name="connsiteX1" fmla="*/ 2425623 w 2877656"/>
              <a:gd name="connsiteY1" fmla="*/ 798431 h 1892217"/>
              <a:gd name="connsiteX2" fmla="*/ 2424542 w 2877656"/>
              <a:gd name="connsiteY2" fmla="*/ 836297 h 1892217"/>
              <a:gd name="connsiteX3" fmla="*/ 2877656 w 2877656"/>
              <a:gd name="connsiteY3" fmla="*/ 1361011 h 1892217"/>
              <a:gd name="connsiteX4" fmla="*/ 2347761 w 2877656"/>
              <a:gd name="connsiteY4" fmla="*/ 1892217 h 1892217"/>
              <a:gd name="connsiteX5" fmla="*/ 2316400 w 2877656"/>
              <a:gd name="connsiteY5" fmla="*/ 1891135 h 1892217"/>
              <a:gd name="connsiteX6" fmla="*/ 656421 w 2877656"/>
              <a:gd name="connsiteY6" fmla="*/ 1891135 h 1892217"/>
              <a:gd name="connsiteX7" fmla="*/ 621816 w 2877656"/>
              <a:gd name="connsiteY7" fmla="*/ 1892217 h 1892217"/>
              <a:gd name="connsiteX8" fmla="*/ 588292 w 2877656"/>
              <a:gd name="connsiteY8" fmla="*/ 1891135 h 1892217"/>
              <a:gd name="connsiteX9" fmla="*/ 587211 w 2877656"/>
              <a:gd name="connsiteY9" fmla="*/ 1891135 h 1892217"/>
              <a:gd name="connsiteX10" fmla="*/ 0 w 2877656"/>
              <a:gd name="connsiteY10" fmla="*/ 1270133 h 1892217"/>
              <a:gd name="connsiteX11" fmla="*/ 287658 w 2877656"/>
              <a:gd name="connsiteY11" fmla="*/ 745419 h 1892217"/>
              <a:gd name="connsiteX12" fmla="*/ 287658 w 2877656"/>
              <a:gd name="connsiteY12" fmla="*/ 736764 h 1892217"/>
              <a:gd name="connsiteX13" fmla="*/ 732121 w 2877656"/>
              <a:gd name="connsiteY13" fmla="*/ 292109 h 1892217"/>
              <a:gd name="connsiteX14" fmla="*/ 962463 w 2877656"/>
              <a:gd name="connsiteY14" fmla="*/ 357022 h 1892217"/>
              <a:gd name="connsiteX15" fmla="*/ 1627536 w 2877656"/>
              <a:gd name="connsiteY15" fmla="*/ 0 h 189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7656" h="1892217">
                <a:moveTo>
                  <a:pt x="1627536" y="0"/>
                </a:moveTo>
                <a:cubicBezTo>
                  <a:pt x="2067673" y="0"/>
                  <a:pt x="2425623" y="357022"/>
                  <a:pt x="2425623" y="798431"/>
                </a:cubicBezTo>
                <a:cubicBezTo>
                  <a:pt x="2425623" y="810332"/>
                  <a:pt x="2424542" y="823315"/>
                  <a:pt x="2424542" y="836297"/>
                </a:cubicBezTo>
                <a:cubicBezTo>
                  <a:pt x="2680838" y="873081"/>
                  <a:pt x="2877656" y="1093786"/>
                  <a:pt x="2877656" y="1361011"/>
                </a:cubicBezTo>
                <a:cubicBezTo>
                  <a:pt x="2877656" y="1655284"/>
                  <a:pt x="2640825" y="1892217"/>
                  <a:pt x="2347761" y="1892217"/>
                </a:cubicBezTo>
                <a:cubicBezTo>
                  <a:pt x="2336947" y="1892217"/>
                  <a:pt x="2326132" y="1892217"/>
                  <a:pt x="2316400" y="1891135"/>
                </a:cubicBezTo>
                <a:cubicBezTo>
                  <a:pt x="2316400" y="1891135"/>
                  <a:pt x="2316400" y="1891135"/>
                  <a:pt x="656421" y="1891135"/>
                </a:cubicBezTo>
                <a:cubicBezTo>
                  <a:pt x="644526" y="1892217"/>
                  <a:pt x="633712" y="1892217"/>
                  <a:pt x="621816" y="1892217"/>
                </a:cubicBezTo>
                <a:cubicBezTo>
                  <a:pt x="611002" y="1892217"/>
                  <a:pt x="599106" y="1892217"/>
                  <a:pt x="588292" y="1891135"/>
                </a:cubicBezTo>
                <a:cubicBezTo>
                  <a:pt x="588292" y="1891135"/>
                  <a:pt x="588292" y="1891135"/>
                  <a:pt x="587211" y="1891135"/>
                </a:cubicBezTo>
                <a:cubicBezTo>
                  <a:pt x="259541" y="1873825"/>
                  <a:pt x="0" y="1602272"/>
                  <a:pt x="0" y="1270133"/>
                </a:cubicBezTo>
                <a:cubicBezTo>
                  <a:pt x="0" y="1049429"/>
                  <a:pt x="114631" y="855771"/>
                  <a:pt x="287658" y="745419"/>
                </a:cubicBezTo>
                <a:cubicBezTo>
                  <a:pt x="287658" y="742173"/>
                  <a:pt x="287658" y="740009"/>
                  <a:pt x="287658" y="736764"/>
                </a:cubicBezTo>
                <a:cubicBezTo>
                  <a:pt x="287658" y="491176"/>
                  <a:pt x="486639" y="292109"/>
                  <a:pt x="732121" y="292109"/>
                </a:cubicBezTo>
                <a:cubicBezTo>
                  <a:pt x="816472" y="292109"/>
                  <a:pt x="895415" y="315911"/>
                  <a:pt x="962463" y="357022"/>
                </a:cubicBezTo>
                <a:cubicBezTo>
                  <a:pt x="1105210" y="141727"/>
                  <a:pt x="1349611" y="0"/>
                  <a:pt x="1627536" y="0"/>
                </a:cubicBezTo>
                <a:close/>
              </a:path>
            </a:pathLst>
          </a:custGeom>
          <a:blipFill dpi="0" rotWithShape="1">
            <a:blip r:embed="rId3" cstate="print">
              <a:extLst>
                <a:ext uri="{28A0092B-C50C-407E-A947-70E740481C1C}">
                  <a14:useLocalDpi xmlns:a14="http://schemas.microsoft.com/office/drawing/2010/main" val="0"/>
                </a:ext>
              </a:extLst>
            </a:blip>
            <a:srcRect/>
            <a:stretch>
              <a:fillRect/>
            </a:stretch>
          </a:blipFill>
          <a:ln w="12700" cap="flat" cmpd="sng" algn="ctr">
            <a:solidFill>
              <a:srgbClr val="0078D7"/>
            </a:solidFill>
            <a:prstDash val="solid"/>
          </a:ln>
          <a:effectLst/>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353535"/>
              </a:solidFill>
              <a:effectLst/>
              <a:uLnTx/>
              <a:uFillTx/>
              <a:latin typeface="Segoe UI Semilight"/>
              <a:ea typeface="+mn-ea"/>
              <a:cs typeface="+mn-cs"/>
            </a:endParaRPr>
          </a:p>
        </p:txBody>
      </p:sp>
      <p:cxnSp>
        <p:nvCxnSpPr>
          <p:cNvPr id="189" name="Straight Arrow Connector 156">
            <a:extLst>
              <a:ext uri="{FF2B5EF4-FFF2-40B4-BE49-F238E27FC236}">
                <a16:creationId xmlns:a16="http://schemas.microsoft.com/office/drawing/2014/main" id="{0EC8FA63-B74C-4FB5-81CF-E573FE7F6F4A}"/>
              </a:ext>
            </a:extLst>
          </p:cNvPr>
          <p:cNvCxnSpPr>
            <a:cxnSpLocks/>
          </p:cNvCxnSpPr>
          <p:nvPr/>
        </p:nvCxnSpPr>
        <p:spPr>
          <a:xfrm>
            <a:off x="6755226" y="2679628"/>
            <a:ext cx="2097634" cy="1855599"/>
          </a:xfrm>
          <a:prstGeom prst="curvedConnector2">
            <a:avLst/>
          </a:prstGeom>
          <a:noFill/>
          <a:ln w="31750" cap="rnd" cmpd="sng" algn="ctr">
            <a:solidFill>
              <a:srgbClr val="353535"/>
            </a:solidFill>
            <a:prstDash val="sysDot"/>
            <a:headEnd type="triangle" w="med" len="med"/>
            <a:tailEnd type="triangle" w="med" len="med"/>
          </a:ln>
          <a:effectLst/>
        </p:spPr>
      </p:cxnSp>
      <p:cxnSp>
        <p:nvCxnSpPr>
          <p:cNvPr id="190" name="Straight Arrow Connector 189">
            <a:extLst>
              <a:ext uri="{FF2B5EF4-FFF2-40B4-BE49-F238E27FC236}">
                <a16:creationId xmlns:a16="http://schemas.microsoft.com/office/drawing/2014/main" id="{E70BB962-8802-422E-816C-B41189F63110}"/>
              </a:ext>
            </a:extLst>
          </p:cNvPr>
          <p:cNvCxnSpPr>
            <a:cxnSpLocks/>
          </p:cNvCxnSpPr>
          <p:nvPr/>
        </p:nvCxnSpPr>
        <p:spPr>
          <a:xfrm flipV="1">
            <a:off x="2339178" y="2792477"/>
            <a:ext cx="1592019" cy="428148"/>
          </a:xfrm>
          <a:prstGeom prst="straightConnector1">
            <a:avLst/>
          </a:prstGeom>
          <a:noFill/>
          <a:ln w="31750" cap="rnd" cmpd="sng" algn="ctr">
            <a:solidFill>
              <a:srgbClr val="353535"/>
            </a:solidFill>
            <a:prstDash val="sysDot"/>
            <a:headEnd type="none" w="med" len="med"/>
            <a:tailEnd type="triangle" w="med" len="med"/>
          </a:ln>
          <a:effectLst/>
        </p:spPr>
      </p:cxnSp>
      <p:sp>
        <p:nvSpPr>
          <p:cNvPr id="191" name="Rectangle 190">
            <a:extLst>
              <a:ext uri="{FF2B5EF4-FFF2-40B4-BE49-F238E27FC236}">
                <a16:creationId xmlns:a16="http://schemas.microsoft.com/office/drawing/2014/main" id="{6A49D02B-294F-4042-BE95-F55E7F981DA1}"/>
              </a:ext>
            </a:extLst>
          </p:cNvPr>
          <p:cNvSpPr/>
          <p:nvPr/>
        </p:nvSpPr>
        <p:spPr>
          <a:xfrm>
            <a:off x="8660457" y="3281796"/>
            <a:ext cx="1560994" cy="319327"/>
          </a:xfrm>
          <a:prstGeom prst="rect">
            <a:avLst/>
          </a:prstGeom>
          <a:noFill/>
          <a:ln>
            <a:noFill/>
          </a:ln>
        </p:spPr>
        <p:txBody>
          <a:bodyPr wrap="square" lIns="0" tIns="0" rIns="0" bIns="0" anchor="ctr">
            <a:spAutoFit/>
          </a:bodyPr>
          <a:lstStyle/>
          <a:p>
            <a:pPr marL="0" marR="0" lvl="0" indent="0" algn="l"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Password Hash synchronization</a:t>
            </a:r>
          </a:p>
        </p:txBody>
      </p:sp>
      <p:sp>
        <p:nvSpPr>
          <p:cNvPr id="197" name="Freeform 280">
            <a:extLst>
              <a:ext uri="{FF2B5EF4-FFF2-40B4-BE49-F238E27FC236}">
                <a16:creationId xmlns:a16="http://schemas.microsoft.com/office/drawing/2014/main" id="{9FEE990B-E608-4860-AF8F-9A624CDEF9FA}"/>
              </a:ext>
            </a:extLst>
          </p:cNvPr>
          <p:cNvSpPr/>
          <p:nvPr/>
        </p:nvSpPr>
        <p:spPr bwMode="auto">
          <a:xfrm>
            <a:off x="7309747" y="4570893"/>
            <a:ext cx="3067569" cy="175742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98" name="Picture 197">
            <a:extLst>
              <a:ext uri="{FF2B5EF4-FFF2-40B4-BE49-F238E27FC236}">
                <a16:creationId xmlns:a16="http://schemas.microsoft.com/office/drawing/2014/main" id="{57490309-B272-49CB-B206-FE577AF3DE5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70951" y="4695108"/>
            <a:ext cx="966683" cy="639917"/>
          </a:xfrm>
          <a:prstGeom prst="rect">
            <a:avLst/>
          </a:prstGeom>
        </p:spPr>
      </p:pic>
      <p:grpSp>
        <p:nvGrpSpPr>
          <p:cNvPr id="199" name="Group 198">
            <a:extLst>
              <a:ext uri="{FF2B5EF4-FFF2-40B4-BE49-F238E27FC236}">
                <a16:creationId xmlns:a16="http://schemas.microsoft.com/office/drawing/2014/main" id="{6B132349-9A38-4692-886B-3147A5CF8C93}"/>
              </a:ext>
            </a:extLst>
          </p:cNvPr>
          <p:cNvGrpSpPr/>
          <p:nvPr/>
        </p:nvGrpSpPr>
        <p:grpSpPr>
          <a:xfrm>
            <a:off x="1125282" y="2789229"/>
            <a:ext cx="1297348" cy="1047397"/>
            <a:chOff x="1124660" y="2438555"/>
            <a:chExt cx="1323363" cy="1068399"/>
          </a:xfrm>
        </p:grpSpPr>
        <p:sp>
          <p:nvSpPr>
            <p:cNvPr id="200" name="Freeform 5">
              <a:extLst>
                <a:ext uri="{FF2B5EF4-FFF2-40B4-BE49-F238E27FC236}">
                  <a16:creationId xmlns:a16="http://schemas.microsoft.com/office/drawing/2014/main" id="{33C90264-FCFA-4DEF-81ED-02A154B2BA56}"/>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201" name="Group 200">
              <a:extLst>
                <a:ext uri="{FF2B5EF4-FFF2-40B4-BE49-F238E27FC236}">
                  <a16:creationId xmlns:a16="http://schemas.microsoft.com/office/drawing/2014/main" id="{696DF2C8-A375-4669-88E8-0663EEFD4629}"/>
                </a:ext>
              </a:extLst>
            </p:cNvPr>
            <p:cNvGrpSpPr/>
            <p:nvPr/>
          </p:nvGrpSpPr>
          <p:grpSpPr>
            <a:xfrm>
              <a:off x="1124660" y="2438555"/>
              <a:ext cx="593820" cy="706058"/>
              <a:chOff x="6447047" y="5804307"/>
              <a:chExt cx="414034" cy="492291"/>
            </a:xfrm>
          </p:grpSpPr>
          <p:sp>
            <p:nvSpPr>
              <p:cNvPr id="202" name="Freeform 9">
                <a:extLst>
                  <a:ext uri="{FF2B5EF4-FFF2-40B4-BE49-F238E27FC236}">
                    <a16:creationId xmlns:a16="http://schemas.microsoft.com/office/drawing/2014/main" id="{76467117-881F-4A74-8B40-42FC9BFBFE47}"/>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203" name="Oval 8">
                <a:extLst>
                  <a:ext uri="{FF2B5EF4-FFF2-40B4-BE49-F238E27FC236}">
                    <a16:creationId xmlns:a16="http://schemas.microsoft.com/office/drawing/2014/main" id="{5B890C9F-1331-4B9D-AFB1-2336B1DCD190}"/>
                  </a:ext>
                </a:extLst>
              </p:cNvPr>
              <p:cNvSpPr>
                <a:spLocks noChangeArrowheads="1"/>
              </p:cNvSpPr>
              <p:nvPr/>
            </p:nvSpPr>
            <p:spPr bwMode="auto">
              <a:xfrm>
                <a:off x="6507270" y="5804307"/>
                <a:ext cx="293587" cy="290228"/>
              </a:xfrm>
              <a:prstGeom prst="ellipse">
                <a:avLst/>
              </a:prstGeom>
              <a:noFill/>
              <a:ln w="190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grpSp>
        <p:nvGrpSpPr>
          <p:cNvPr id="204" name="Group 203">
            <a:extLst>
              <a:ext uri="{FF2B5EF4-FFF2-40B4-BE49-F238E27FC236}">
                <a16:creationId xmlns:a16="http://schemas.microsoft.com/office/drawing/2014/main" id="{EF1BEC51-4028-4993-ADDF-89D890D555CA}"/>
              </a:ext>
            </a:extLst>
          </p:cNvPr>
          <p:cNvGrpSpPr/>
          <p:nvPr/>
        </p:nvGrpSpPr>
        <p:grpSpPr>
          <a:xfrm>
            <a:off x="8202462" y="3252004"/>
            <a:ext cx="367409" cy="378910"/>
            <a:chOff x="7596294" y="4477333"/>
            <a:chExt cx="374776" cy="386508"/>
          </a:xfrm>
        </p:grpSpPr>
        <p:sp>
          <p:nvSpPr>
            <p:cNvPr id="205" name="Oval 204">
              <a:extLst>
                <a:ext uri="{FF2B5EF4-FFF2-40B4-BE49-F238E27FC236}">
                  <a16:creationId xmlns:a16="http://schemas.microsoft.com/office/drawing/2014/main" id="{E2565234-7A1A-41AE-92B1-84C105A108E0}"/>
                </a:ext>
              </a:extLst>
            </p:cNvPr>
            <p:cNvSpPr/>
            <p:nvPr/>
          </p:nvSpPr>
          <p:spPr bwMode="auto">
            <a:xfrm>
              <a:off x="7596294" y="4484497"/>
              <a:ext cx="374776" cy="37477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Freeform 149">
              <a:extLst>
                <a:ext uri="{FF2B5EF4-FFF2-40B4-BE49-F238E27FC236}">
                  <a16:creationId xmlns:a16="http://schemas.microsoft.com/office/drawing/2014/main" id="{91B1D728-709E-4942-97BC-DBCE984BC14B}"/>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207" name="Group 206">
            <a:extLst>
              <a:ext uri="{FF2B5EF4-FFF2-40B4-BE49-F238E27FC236}">
                <a16:creationId xmlns:a16="http://schemas.microsoft.com/office/drawing/2014/main" id="{C220404D-FC84-44B0-A383-71D1A008C366}"/>
              </a:ext>
            </a:extLst>
          </p:cNvPr>
          <p:cNvGrpSpPr/>
          <p:nvPr/>
        </p:nvGrpSpPr>
        <p:grpSpPr>
          <a:xfrm>
            <a:off x="4083653" y="1759442"/>
            <a:ext cx="2671573" cy="1474510"/>
            <a:chOff x="4733428" y="2676962"/>
            <a:chExt cx="2725144" cy="1504077"/>
          </a:xfrm>
        </p:grpSpPr>
        <p:sp>
          <p:nvSpPr>
            <p:cNvPr id="208" name="Freeform: Shape 207">
              <a:extLst>
                <a:ext uri="{FF2B5EF4-FFF2-40B4-BE49-F238E27FC236}">
                  <a16:creationId xmlns:a16="http://schemas.microsoft.com/office/drawing/2014/main" id="{2DAAAB4F-A9CB-4B08-BF64-D44C608B873C}"/>
                </a:ext>
              </a:extLst>
            </p:cNvPr>
            <p:cNvSpPr/>
            <p:nvPr/>
          </p:nvSpPr>
          <p:spPr bwMode="auto">
            <a:xfrm>
              <a:off x="4733428" y="2676962"/>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MS cloud text">
              <a:extLst>
                <a:ext uri="{FF2B5EF4-FFF2-40B4-BE49-F238E27FC236}">
                  <a16:creationId xmlns:a16="http://schemas.microsoft.com/office/drawing/2014/main" id="{0F9F7A4C-658C-482F-AFCF-1F8A1C3AA273}"/>
                </a:ext>
              </a:extLst>
            </p:cNvPr>
            <p:cNvSpPr txBox="1">
              <a:spLocks/>
            </p:cNvSpPr>
            <p:nvPr/>
          </p:nvSpPr>
          <p:spPr>
            <a:xfrm>
              <a:off x="5019924" y="3233713"/>
              <a:ext cx="2391863" cy="40782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Microsoft Azure </a:t>
              </a:r>
              <a:b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b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Active Directory</a:t>
              </a:r>
            </a:p>
          </p:txBody>
        </p:sp>
      </p:grpSp>
      <p:grpSp>
        <p:nvGrpSpPr>
          <p:cNvPr id="210" name="Group 209">
            <a:extLst>
              <a:ext uri="{FF2B5EF4-FFF2-40B4-BE49-F238E27FC236}">
                <a16:creationId xmlns:a16="http://schemas.microsoft.com/office/drawing/2014/main" id="{6025090A-CB1E-4AC3-9B1F-DC0245001506}"/>
              </a:ext>
            </a:extLst>
          </p:cNvPr>
          <p:cNvGrpSpPr/>
          <p:nvPr/>
        </p:nvGrpSpPr>
        <p:grpSpPr>
          <a:xfrm>
            <a:off x="3927189" y="2629267"/>
            <a:ext cx="351521" cy="351521"/>
            <a:chOff x="7035946" y="2603673"/>
            <a:chExt cx="365760" cy="365760"/>
          </a:xfrm>
        </p:grpSpPr>
        <p:sp>
          <p:nvSpPr>
            <p:cNvPr id="211" name="Oval 210">
              <a:extLst>
                <a:ext uri="{FF2B5EF4-FFF2-40B4-BE49-F238E27FC236}">
                  <a16:creationId xmlns:a16="http://schemas.microsoft.com/office/drawing/2014/main" id="{D0FDE28B-1C42-4B1D-AE06-C9A163210325}"/>
                </a:ext>
              </a:extLst>
            </p:cNvPr>
            <p:cNvSpPr/>
            <p:nvPr/>
          </p:nvSpPr>
          <p:spPr bwMode="auto">
            <a:xfrm>
              <a:off x="7058806" y="2626533"/>
              <a:ext cx="320040" cy="3200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Freeform: Shape 211">
              <a:extLst>
                <a:ext uri="{FF2B5EF4-FFF2-40B4-BE49-F238E27FC236}">
                  <a16:creationId xmlns:a16="http://schemas.microsoft.com/office/drawing/2014/main" id="{3FF6483D-CCA3-4DE6-849B-476BD847F61B}"/>
                </a:ext>
              </a:extLst>
            </p:cNvPr>
            <p:cNvSpPr>
              <a:spLocks noChangeAspect="1"/>
            </p:cNvSpPr>
            <p:nvPr/>
          </p:nvSpPr>
          <p:spPr bwMode="auto">
            <a:xfrm>
              <a:off x="7035946" y="2603673"/>
              <a:ext cx="365760" cy="365760"/>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3" name="Rectangle 212">
            <a:extLst>
              <a:ext uri="{FF2B5EF4-FFF2-40B4-BE49-F238E27FC236}">
                <a16:creationId xmlns:a16="http://schemas.microsoft.com/office/drawing/2014/main" id="{2E5A38E6-D141-404C-ADDC-C658ADFAF16B}"/>
              </a:ext>
            </a:extLst>
          </p:cNvPr>
          <p:cNvSpPr/>
          <p:nvPr/>
        </p:nvSpPr>
        <p:spPr>
          <a:xfrm>
            <a:off x="6848608" y="2257201"/>
            <a:ext cx="2064780" cy="159663"/>
          </a:xfrm>
          <a:prstGeom prst="rect">
            <a:avLst/>
          </a:prstGeom>
          <a:noFill/>
          <a:ln>
            <a:noFill/>
          </a:ln>
        </p:spPr>
        <p:txBody>
          <a:bodyPr wrap="square" lIns="0" tIns="0" rIns="0" bIns="0" anchor="ctr">
            <a:spAutoFit/>
          </a:bodyPr>
          <a:lstStyle/>
          <a:p>
            <a:pPr marL="0" marR="0" lvl="0" indent="0" algn="l"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Office 365, SaaS, and LoB apps</a:t>
            </a:r>
          </a:p>
        </p:txBody>
      </p:sp>
      <p:grpSp>
        <p:nvGrpSpPr>
          <p:cNvPr id="215" name="On-Premises Building">
            <a:extLst>
              <a:ext uri="{FF2B5EF4-FFF2-40B4-BE49-F238E27FC236}">
                <a16:creationId xmlns:a16="http://schemas.microsoft.com/office/drawing/2014/main" id="{291A36E8-A18A-4AED-AC53-5209C9266176}"/>
              </a:ext>
            </a:extLst>
          </p:cNvPr>
          <p:cNvGrpSpPr/>
          <p:nvPr/>
        </p:nvGrpSpPr>
        <p:grpSpPr>
          <a:xfrm>
            <a:off x="7303007" y="5423661"/>
            <a:ext cx="717696" cy="1019692"/>
            <a:chOff x="2317171" y="4229228"/>
            <a:chExt cx="1593672" cy="2264264"/>
          </a:xfrm>
        </p:grpSpPr>
        <p:sp>
          <p:nvSpPr>
            <p:cNvPr id="217" name="Freeform 12">
              <a:extLst>
                <a:ext uri="{FF2B5EF4-FFF2-40B4-BE49-F238E27FC236}">
                  <a16:creationId xmlns:a16="http://schemas.microsoft.com/office/drawing/2014/main" id="{1EF4E64A-6954-42B8-8F6A-FFBC39AF58ED}"/>
                </a:ext>
              </a:extLst>
            </p:cNvPr>
            <p:cNvSpPr/>
            <p:nvPr/>
          </p:nvSpPr>
          <p:spPr>
            <a:xfrm>
              <a:off x="3290093" y="4229228"/>
              <a:ext cx="49112" cy="125382"/>
            </a:xfrm>
            <a:custGeom>
              <a:avLst/>
              <a:gdLst>
                <a:gd name="f0" fmla="val 10800000"/>
                <a:gd name="f1" fmla="val 5400000"/>
                <a:gd name="f2" fmla="val 180"/>
                <a:gd name="f3" fmla="val w"/>
                <a:gd name="f4" fmla="val h"/>
                <a:gd name="f5" fmla="val 0"/>
                <a:gd name="f6" fmla="val 20"/>
                <a:gd name="f7" fmla="val 51"/>
                <a:gd name="f8" fmla="val 10"/>
                <a:gd name="f9" fmla="val 16"/>
                <a:gd name="f10" fmla="val 4"/>
                <a:gd name="f11" fmla="val 33"/>
                <a:gd name="f12" fmla="val 1"/>
                <a:gd name="f13" fmla="val 49"/>
                <a:gd name="f14" fmla="val 48"/>
                <a:gd name="f15" fmla="val 46"/>
                <a:gd name="f16" fmla="val 2"/>
                <a:gd name="f17" fmla="val 45"/>
                <a:gd name="f18" fmla="val 44"/>
                <a:gd name="f19" fmla="val 43"/>
                <a:gd name="f20" fmla="val 3"/>
                <a:gd name="f21" fmla="val 41"/>
                <a:gd name="f22" fmla="val 39"/>
                <a:gd name="f23" fmla="val 36"/>
                <a:gd name="f24" fmla="val 35"/>
                <a:gd name="f25" fmla="val 34"/>
                <a:gd name="f26" fmla="val 5"/>
                <a:gd name="f27" fmla="val 32"/>
                <a:gd name="f28" fmla="val 6"/>
                <a:gd name="f29" fmla="val 29"/>
                <a:gd name="f30" fmla="val 7"/>
                <a:gd name="f31" fmla="val 27"/>
                <a:gd name="f32" fmla="val 26"/>
                <a:gd name="f33" fmla="val 25"/>
                <a:gd name="f34" fmla="val 8"/>
                <a:gd name="f35" fmla="val 23"/>
                <a:gd name="f36" fmla="val 9"/>
                <a:gd name="f37" fmla="val 11"/>
                <a:gd name="f38" fmla="val 18"/>
                <a:gd name="f39" fmla="val 17"/>
                <a:gd name="f40" fmla="val 12"/>
                <a:gd name="f41" fmla="val 14"/>
                <a:gd name="f42" fmla="val 15"/>
                <a:gd name="f43" fmla="+- 0 0 -90"/>
                <a:gd name="f44" fmla="*/ f3 1 20"/>
                <a:gd name="f45" fmla="*/ f4 1 51"/>
                <a:gd name="f46" fmla="val f5"/>
                <a:gd name="f47" fmla="val f6"/>
                <a:gd name="f48" fmla="val f7"/>
                <a:gd name="f49" fmla="*/ f43 f0 1"/>
                <a:gd name="f50" fmla="+- f48 0 f46"/>
                <a:gd name="f51" fmla="+- f47 0 f46"/>
                <a:gd name="f52" fmla="*/ f49 1 f2"/>
                <a:gd name="f53" fmla="*/ f51 1 20"/>
                <a:gd name="f54" fmla="*/ f50 1 51"/>
                <a:gd name="f55" fmla="*/ 20 f51 1"/>
                <a:gd name="f56" fmla="*/ 0 f50 1"/>
                <a:gd name="f57" fmla="*/ 0 f51 1"/>
                <a:gd name="f58" fmla="*/ 51 f50 1"/>
                <a:gd name="f59" fmla="*/ 1 f51 1"/>
                <a:gd name="f60" fmla="*/ 46 f50 1"/>
                <a:gd name="f61" fmla="*/ 2 f51 1"/>
                <a:gd name="f62" fmla="*/ 43 f50 1"/>
                <a:gd name="f63" fmla="*/ 4 f51 1"/>
                <a:gd name="f64" fmla="*/ 36 f50 1"/>
                <a:gd name="f65" fmla="*/ 34 f50 1"/>
                <a:gd name="f66" fmla="*/ 7 f51 1"/>
                <a:gd name="f67" fmla="*/ 27 f50 1"/>
                <a:gd name="f68" fmla="*/ 25 f50 1"/>
                <a:gd name="f69" fmla="*/ 11 f51 1"/>
                <a:gd name="f70" fmla="*/ 18 f50 1"/>
                <a:gd name="f71" fmla="*/ 17 f50 1"/>
                <a:gd name="f72" fmla="*/ 15 f51 1"/>
                <a:gd name="f73" fmla="*/ 8 f50 1"/>
                <a:gd name="f74" fmla="+- f52 0 f1"/>
                <a:gd name="f75" fmla="*/ f55 1 20"/>
                <a:gd name="f76" fmla="*/ f56 1 51"/>
                <a:gd name="f77" fmla="*/ f57 1 20"/>
                <a:gd name="f78" fmla="*/ f58 1 51"/>
                <a:gd name="f79" fmla="*/ f59 1 20"/>
                <a:gd name="f80" fmla="*/ f60 1 51"/>
                <a:gd name="f81" fmla="*/ f61 1 20"/>
                <a:gd name="f82" fmla="*/ f62 1 51"/>
                <a:gd name="f83" fmla="*/ f63 1 20"/>
                <a:gd name="f84" fmla="*/ f64 1 51"/>
                <a:gd name="f85" fmla="*/ f65 1 51"/>
                <a:gd name="f86" fmla="*/ f66 1 20"/>
                <a:gd name="f87" fmla="*/ f67 1 51"/>
                <a:gd name="f88" fmla="*/ f68 1 51"/>
                <a:gd name="f89" fmla="*/ f69 1 20"/>
                <a:gd name="f90" fmla="*/ f70 1 51"/>
                <a:gd name="f91" fmla="*/ f71 1 51"/>
                <a:gd name="f92" fmla="*/ f72 1 20"/>
                <a:gd name="f93" fmla="*/ f73 1 51"/>
                <a:gd name="f94" fmla="*/ 0 1 f53"/>
                <a:gd name="f95" fmla="*/ f47 1 f53"/>
                <a:gd name="f96" fmla="*/ 0 1 f54"/>
                <a:gd name="f97" fmla="*/ f48 1 f54"/>
                <a:gd name="f98" fmla="*/ f75 1 f53"/>
                <a:gd name="f99" fmla="*/ f76 1 f54"/>
                <a:gd name="f100" fmla="*/ f77 1 f53"/>
                <a:gd name="f101" fmla="*/ f78 1 f54"/>
                <a:gd name="f102" fmla="*/ f79 1 f53"/>
                <a:gd name="f103" fmla="*/ f80 1 f54"/>
                <a:gd name="f104" fmla="*/ f81 1 f53"/>
                <a:gd name="f105" fmla="*/ f82 1 f54"/>
                <a:gd name="f106" fmla="*/ f83 1 f53"/>
                <a:gd name="f107" fmla="*/ f84 1 f54"/>
                <a:gd name="f108" fmla="*/ f85 1 f54"/>
                <a:gd name="f109" fmla="*/ f86 1 f53"/>
                <a:gd name="f110" fmla="*/ f87 1 f54"/>
                <a:gd name="f111" fmla="*/ f88 1 f54"/>
                <a:gd name="f112" fmla="*/ f89 1 f53"/>
                <a:gd name="f113" fmla="*/ f90 1 f54"/>
                <a:gd name="f114" fmla="*/ f91 1 f54"/>
                <a:gd name="f115" fmla="*/ f92 1 f53"/>
                <a:gd name="f116" fmla="*/ f93 1 f54"/>
                <a:gd name="f117" fmla="*/ f94 f44 1"/>
                <a:gd name="f118" fmla="*/ f95 f44 1"/>
                <a:gd name="f119" fmla="*/ f97 f45 1"/>
                <a:gd name="f120" fmla="*/ f96 f45 1"/>
                <a:gd name="f121" fmla="*/ f98 f44 1"/>
                <a:gd name="f122" fmla="*/ f99 f45 1"/>
                <a:gd name="f123" fmla="*/ f100 f44 1"/>
                <a:gd name="f124" fmla="*/ f101 f45 1"/>
                <a:gd name="f125" fmla="*/ f102 f44 1"/>
                <a:gd name="f126" fmla="*/ f103 f45 1"/>
                <a:gd name="f127" fmla="*/ f104 f44 1"/>
                <a:gd name="f128" fmla="*/ f105 f45 1"/>
                <a:gd name="f129" fmla="*/ f106 f44 1"/>
                <a:gd name="f130" fmla="*/ f107 f45 1"/>
                <a:gd name="f131" fmla="*/ f108 f45 1"/>
                <a:gd name="f132" fmla="*/ f109 f44 1"/>
                <a:gd name="f133" fmla="*/ f110 f45 1"/>
                <a:gd name="f134" fmla="*/ f111 f45 1"/>
                <a:gd name="f135" fmla="*/ f112 f44 1"/>
                <a:gd name="f136" fmla="*/ f113 f45 1"/>
                <a:gd name="f137" fmla="*/ f114 f45 1"/>
                <a:gd name="f138" fmla="*/ f115 f44 1"/>
                <a:gd name="f139" fmla="*/ f116 f45 1"/>
              </a:gdLst>
              <a:ahLst/>
              <a:cxnLst>
                <a:cxn ang="3cd4">
                  <a:pos x="hc" y="t"/>
                </a:cxn>
                <a:cxn ang="0">
                  <a:pos x="r" y="vc"/>
                </a:cxn>
                <a:cxn ang="cd4">
                  <a:pos x="hc" y="b"/>
                </a:cxn>
                <a:cxn ang="cd2">
                  <a:pos x="l" y="vc"/>
                </a:cxn>
                <a:cxn ang="f74">
                  <a:pos x="f121" y="f122"/>
                </a:cxn>
                <a:cxn ang="f74">
                  <a:pos x="f123" y="f124"/>
                </a:cxn>
                <a:cxn ang="f74">
                  <a:pos x="f123" y="f124"/>
                </a:cxn>
                <a:cxn ang="f74">
                  <a:pos x="f125" y="f126"/>
                </a:cxn>
                <a:cxn ang="f74">
                  <a:pos x="f127" y="f128"/>
                </a:cxn>
                <a:cxn ang="f74">
                  <a:pos x="f129" y="f130"/>
                </a:cxn>
                <a:cxn ang="f74">
                  <a:pos x="f129" y="f131"/>
                </a:cxn>
                <a:cxn ang="f74">
                  <a:pos x="f132" y="f133"/>
                </a:cxn>
                <a:cxn ang="f74">
                  <a:pos x="f132" y="f134"/>
                </a:cxn>
                <a:cxn ang="f74">
                  <a:pos x="f135" y="f136"/>
                </a:cxn>
                <a:cxn ang="f74">
                  <a:pos x="f135" y="f137"/>
                </a:cxn>
                <a:cxn ang="f74">
                  <a:pos x="f138" y="f139"/>
                </a:cxn>
                <a:cxn ang="f74">
                  <a:pos x="f138" y="f139"/>
                </a:cxn>
                <a:cxn ang="f74">
                  <a:pos x="f121" y="f122"/>
                </a:cxn>
                <a:cxn ang="f74">
                  <a:pos x="f121" y="f122"/>
                </a:cxn>
                <a:cxn ang="f74">
                  <a:pos x="f121" y="f122"/>
                </a:cxn>
                <a:cxn ang="f74">
                  <a:pos x="f121" y="f122"/>
                </a:cxn>
              </a:cxnLst>
              <a:rect l="f117" t="f120" r="f118" b="f119"/>
              <a:pathLst>
                <a:path w="20" h="51">
                  <a:moveTo>
                    <a:pt x="f6" y="f5"/>
                  </a:moveTo>
                  <a:cubicBezTo>
                    <a:pt x="f8" y="f9"/>
                    <a:pt x="f10" y="f11"/>
                    <a:pt x="f5" y="f7"/>
                  </a:cubicBezTo>
                  <a:cubicBezTo>
                    <a:pt x="f5" y="f7"/>
                    <a:pt x="f5" y="f7"/>
                    <a:pt x="f5" y="f7"/>
                  </a:cubicBezTo>
                  <a:cubicBezTo>
                    <a:pt x="f12" y="f13"/>
                    <a:pt x="f12" y="f14"/>
                    <a:pt x="f12" y="f15"/>
                  </a:cubicBezTo>
                  <a:cubicBezTo>
                    <a:pt x="f16" y="f17"/>
                    <a:pt x="f16" y="f18"/>
                    <a:pt x="f16" y="f19"/>
                  </a:cubicBezTo>
                  <a:cubicBezTo>
                    <a:pt x="f20" y="f21"/>
                    <a:pt x="f20" y="f22"/>
                    <a:pt x="f10" y="f23"/>
                  </a:cubicBezTo>
                  <a:cubicBezTo>
                    <a:pt x="f10" y="f23"/>
                    <a:pt x="f10" y="f24"/>
                    <a:pt x="f10" y="f25"/>
                  </a:cubicBezTo>
                  <a:cubicBezTo>
                    <a:pt x="f26" y="f27"/>
                    <a:pt x="f28" y="f29"/>
                    <a:pt x="f30" y="f31"/>
                  </a:cubicBezTo>
                  <a:cubicBezTo>
                    <a:pt x="f30" y="f32"/>
                    <a:pt x="f30" y="f32"/>
                    <a:pt x="f30" y="f33"/>
                  </a:cubicBezTo>
                  <a:cubicBezTo>
                    <a:pt x="f34" y="f35"/>
                    <a:pt x="f36" y="f6"/>
                    <a:pt x="f37" y="f38"/>
                  </a:cubicBezTo>
                  <a:cubicBezTo>
                    <a:pt x="f37" y="f39"/>
                    <a:pt x="f37" y="f39"/>
                    <a:pt x="f37" y="f39"/>
                  </a:cubicBezTo>
                  <a:cubicBezTo>
                    <a:pt x="f40" y="f41"/>
                    <a:pt x="f41" y="f37"/>
                    <a:pt x="f42" y="f34"/>
                  </a:cubicBezTo>
                  <a:cubicBezTo>
                    <a:pt x="f42" y="f34"/>
                    <a:pt x="f42" y="f34"/>
                    <a:pt x="f42" y="f34"/>
                  </a:cubicBezTo>
                  <a:cubicBezTo>
                    <a:pt x="f39" y="f26"/>
                    <a:pt x="f38" y="f20"/>
                    <a:pt x="f6" y="f5"/>
                  </a:cubicBezTo>
                  <a:moveTo>
                    <a:pt x="f6" y="f5"/>
                  </a:moveTo>
                  <a:cubicBezTo>
                    <a:pt x="f6" y="f5"/>
                    <a:pt x="f6" y="f5"/>
                    <a:pt x="f6" y="f5"/>
                  </a:cubicBezTo>
                  <a:cubicBezTo>
                    <a:pt x="f6" y="f5"/>
                    <a:pt x="f6" y="f5"/>
                    <a:pt x="f6" y="f5"/>
                  </a:cubicBez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8" name="Rectangle 14">
              <a:extLst>
                <a:ext uri="{FF2B5EF4-FFF2-40B4-BE49-F238E27FC236}">
                  <a16:creationId xmlns:a16="http://schemas.microsoft.com/office/drawing/2014/main" id="{A1F8B14C-22FB-41FE-98F1-C6625C77C1FC}"/>
                </a:ext>
              </a:extLst>
            </p:cNvPr>
            <p:cNvSpPr/>
            <p:nvPr/>
          </p:nvSpPr>
          <p:spPr>
            <a:xfrm>
              <a:off x="2923291" y="4354619"/>
              <a:ext cx="987552" cy="2138873"/>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9" name="Rectangle 15">
              <a:extLst>
                <a:ext uri="{FF2B5EF4-FFF2-40B4-BE49-F238E27FC236}">
                  <a16:creationId xmlns:a16="http://schemas.microsoft.com/office/drawing/2014/main" id="{BA395851-603A-45DF-BAF7-EE887548B936}"/>
                </a:ext>
              </a:extLst>
            </p:cNvPr>
            <p:cNvSpPr/>
            <p:nvPr/>
          </p:nvSpPr>
          <p:spPr>
            <a:xfrm>
              <a:off x="2923291" y="4354619"/>
              <a:ext cx="987552" cy="2138873"/>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0" name="Rectangle 16">
              <a:extLst>
                <a:ext uri="{FF2B5EF4-FFF2-40B4-BE49-F238E27FC236}">
                  <a16:creationId xmlns:a16="http://schemas.microsoft.com/office/drawing/2014/main" id="{F10D27F3-F06C-4EA0-BB8E-9D40DDA051FA}"/>
                </a:ext>
              </a:extLst>
            </p:cNvPr>
            <p:cNvSpPr/>
            <p:nvPr/>
          </p:nvSpPr>
          <p:spPr>
            <a:xfrm>
              <a:off x="3022567" y="5372328"/>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1" name="Rectangle 17">
              <a:extLst>
                <a:ext uri="{FF2B5EF4-FFF2-40B4-BE49-F238E27FC236}">
                  <a16:creationId xmlns:a16="http://schemas.microsoft.com/office/drawing/2014/main" id="{E367B328-DBB3-4BA8-99B1-34E05DC91E12}"/>
                </a:ext>
              </a:extLst>
            </p:cNvPr>
            <p:cNvSpPr/>
            <p:nvPr/>
          </p:nvSpPr>
          <p:spPr>
            <a:xfrm>
              <a:off x="3022567" y="5372328"/>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2" name="Rectangle 18">
              <a:extLst>
                <a:ext uri="{FF2B5EF4-FFF2-40B4-BE49-F238E27FC236}">
                  <a16:creationId xmlns:a16="http://schemas.microsoft.com/office/drawing/2014/main" id="{83BFDE57-7540-4CB0-8A21-673A89433489}"/>
                </a:ext>
              </a:extLst>
            </p:cNvPr>
            <p:cNvSpPr/>
            <p:nvPr/>
          </p:nvSpPr>
          <p:spPr>
            <a:xfrm>
              <a:off x="3022567" y="5594893"/>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3" name="Rectangle 19">
              <a:extLst>
                <a:ext uri="{FF2B5EF4-FFF2-40B4-BE49-F238E27FC236}">
                  <a16:creationId xmlns:a16="http://schemas.microsoft.com/office/drawing/2014/main" id="{6C63C5A6-3B20-448A-A03C-1F4CA528A33C}"/>
                </a:ext>
              </a:extLst>
            </p:cNvPr>
            <p:cNvSpPr/>
            <p:nvPr/>
          </p:nvSpPr>
          <p:spPr>
            <a:xfrm>
              <a:off x="3022567" y="5594893"/>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4" name="Rectangle 20">
              <a:extLst>
                <a:ext uri="{FF2B5EF4-FFF2-40B4-BE49-F238E27FC236}">
                  <a16:creationId xmlns:a16="http://schemas.microsoft.com/office/drawing/2014/main" id="{BA8A525D-1664-4442-ABE6-59F31DDF9452}"/>
                </a:ext>
              </a:extLst>
            </p:cNvPr>
            <p:cNvSpPr/>
            <p:nvPr/>
          </p:nvSpPr>
          <p:spPr>
            <a:xfrm>
              <a:off x="3022567" y="5815364"/>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5" name="Rectangle 21">
              <a:extLst>
                <a:ext uri="{FF2B5EF4-FFF2-40B4-BE49-F238E27FC236}">
                  <a16:creationId xmlns:a16="http://schemas.microsoft.com/office/drawing/2014/main" id="{3B39D0ED-A275-494F-8AF7-FDEEC05439CA}"/>
                </a:ext>
              </a:extLst>
            </p:cNvPr>
            <p:cNvSpPr/>
            <p:nvPr/>
          </p:nvSpPr>
          <p:spPr>
            <a:xfrm>
              <a:off x="3022567" y="5815364"/>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6" name="Rectangle 22">
              <a:extLst>
                <a:ext uri="{FF2B5EF4-FFF2-40B4-BE49-F238E27FC236}">
                  <a16:creationId xmlns:a16="http://schemas.microsoft.com/office/drawing/2014/main" id="{7748FEA5-5F00-49A2-B394-69490D92A194}"/>
                </a:ext>
              </a:extLst>
            </p:cNvPr>
            <p:cNvSpPr/>
            <p:nvPr/>
          </p:nvSpPr>
          <p:spPr>
            <a:xfrm>
              <a:off x="3022567" y="6034783"/>
              <a:ext cx="794229"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7" name="Rectangle 23">
              <a:extLst>
                <a:ext uri="{FF2B5EF4-FFF2-40B4-BE49-F238E27FC236}">
                  <a16:creationId xmlns:a16="http://schemas.microsoft.com/office/drawing/2014/main" id="{79CEBEB5-D699-47E9-8E52-2956AD81BEA0}"/>
                </a:ext>
              </a:extLst>
            </p:cNvPr>
            <p:cNvSpPr/>
            <p:nvPr/>
          </p:nvSpPr>
          <p:spPr>
            <a:xfrm>
              <a:off x="3022567" y="6034783"/>
              <a:ext cx="794229"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8" name="Rectangle 24">
              <a:extLst>
                <a:ext uri="{FF2B5EF4-FFF2-40B4-BE49-F238E27FC236}">
                  <a16:creationId xmlns:a16="http://schemas.microsoft.com/office/drawing/2014/main" id="{404789C0-0260-4961-85E6-85F7D2FFE144}"/>
                </a:ext>
              </a:extLst>
            </p:cNvPr>
            <p:cNvSpPr/>
            <p:nvPr/>
          </p:nvSpPr>
          <p:spPr>
            <a:xfrm>
              <a:off x="3022567" y="4708830"/>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9" name="Rectangle 25">
              <a:extLst>
                <a:ext uri="{FF2B5EF4-FFF2-40B4-BE49-F238E27FC236}">
                  <a16:creationId xmlns:a16="http://schemas.microsoft.com/office/drawing/2014/main" id="{9818400B-920A-42CA-9287-FADB14DAAC9A}"/>
                </a:ext>
              </a:extLst>
            </p:cNvPr>
            <p:cNvSpPr/>
            <p:nvPr/>
          </p:nvSpPr>
          <p:spPr>
            <a:xfrm>
              <a:off x="3022567" y="4929301"/>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0" name="Rectangle 26">
              <a:extLst>
                <a:ext uri="{FF2B5EF4-FFF2-40B4-BE49-F238E27FC236}">
                  <a16:creationId xmlns:a16="http://schemas.microsoft.com/office/drawing/2014/main" id="{8DF44DE9-5637-4222-99A2-780C169D9011}"/>
                </a:ext>
              </a:extLst>
            </p:cNvPr>
            <p:cNvSpPr/>
            <p:nvPr/>
          </p:nvSpPr>
          <p:spPr>
            <a:xfrm>
              <a:off x="3022567" y="5151857"/>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1" name="Rectangle 27">
              <a:extLst>
                <a:ext uri="{FF2B5EF4-FFF2-40B4-BE49-F238E27FC236}">
                  <a16:creationId xmlns:a16="http://schemas.microsoft.com/office/drawing/2014/main" id="{0466DD3E-2AF4-4722-A3CE-4DC2A64BB0CF}"/>
                </a:ext>
              </a:extLst>
            </p:cNvPr>
            <p:cNvSpPr/>
            <p:nvPr/>
          </p:nvSpPr>
          <p:spPr>
            <a:xfrm>
              <a:off x="3022567" y="5151857"/>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2" name="Rectangle 28">
              <a:extLst>
                <a:ext uri="{FF2B5EF4-FFF2-40B4-BE49-F238E27FC236}">
                  <a16:creationId xmlns:a16="http://schemas.microsoft.com/office/drawing/2014/main" id="{2B777BCC-E051-43B3-B302-193DC0E7BA41}"/>
                </a:ext>
              </a:extLst>
            </p:cNvPr>
            <p:cNvSpPr/>
            <p:nvPr/>
          </p:nvSpPr>
          <p:spPr>
            <a:xfrm>
              <a:off x="3022567" y="4488359"/>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3" name="Freeform 29">
              <a:extLst>
                <a:ext uri="{FF2B5EF4-FFF2-40B4-BE49-F238E27FC236}">
                  <a16:creationId xmlns:a16="http://schemas.microsoft.com/office/drawing/2014/main" id="{6E7CA0E3-F93C-4239-A3A5-61846080C85A}"/>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close/>
                </a:path>
              </a:pathLst>
            </a:custGeom>
            <a:solidFill>
              <a:srgbClr val="737373"/>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4" name="Freeform 30">
              <a:extLst>
                <a:ext uri="{FF2B5EF4-FFF2-40B4-BE49-F238E27FC236}">
                  <a16:creationId xmlns:a16="http://schemas.microsoft.com/office/drawing/2014/main" id="{5A31903C-D79A-4F38-9E94-2CFE2C6A9F70}"/>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5" name="Rectangle 31">
              <a:extLst>
                <a:ext uri="{FF2B5EF4-FFF2-40B4-BE49-F238E27FC236}">
                  <a16:creationId xmlns:a16="http://schemas.microsoft.com/office/drawing/2014/main" id="{EBF63410-37EA-44C0-999E-09C8845EB450}"/>
                </a:ext>
              </a:extLst>
            </p:cNvPr>
            <p:cNvSpPr/>
            <p:nvPr/>
          </p:nvSpPr>
          <p:spPr>
            <a:xfrm>
              <a:off x="3022567" y="5372328"/>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6" name="Rectangle 32">
              <a:extLst>
                <a:ext uri="{FF2B5EF4-FFF2-40B4-BE49-F238E27FC236}">
                  <a16:creationId xmlns:a16="http://schemas.microsoft.com/office/drawing/2014/main" id="{3CD0FBC4-4E71-4C30-ADA5-99905E95F82E}"/>
                </a:ext>
              </a:extLst>
            </p:cNvPr>
            <p:cNvSpPr/>
            <p:nvPr/>
          </p:nvSpPr>
          <p:spPr>
            <a:xfrm>
              <a:off x="3022567" y="5372328"/>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7" name="Rectangle 33">
              <a:extLst>
                <a:ext uri="{FF2B5EF4-FFF2-40B4-BE49-F238E27FC236}">
                  <a16:creationId xmlns:a16="http://schemas.microsoft.com/office/drawing/2014/main" id="{57A48B25-7471-4E90-BFD7-B646ADD60F8C}"/>
                </a:ext>
              </a:extLst>
            </p:cNvPr>
            <p:cNvSpPr/>
            <p:nvPr/>
          </p:nvSpPr>
          <p:spPr>
            <a:xfrm>
              <a:off x="3022567" y="5594893"/>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8" name="Rectangle 34">
              <a:extLst>
                <a:ext uri="{FF2B5EF4-FFF2-40B4-BE49-F238E27FC236}">
                  <a16:creationId xmlns:a16="http://schemas.microsoft.com/office/drawing/2014/main" id="{6875687A-5060-49B9-8E70-EEF5F2C95960}"/>
                </a:ext>
              </a:extLst>
            </p:cNvPr>
            <p:cNvSpPr/>
            <p:nvPr/>
          </p:nvSpPr>
          <p:spPr>
            <a:xfrm>
              <a:off x="3022567" y="5594893"/>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9" name="Rectangle 35">
              <a:extLst>
                <a:ext uri="{FF2B5EF4-FFF2-40B4-BE49-F238E27FC236}">
                  <a16:creationId xmlns:a16="http://schemas.microsoft.com/office/drawing/2014/main" id="{E5C100A3-9A33-4AD4-B6F7-3AF675453CFE}"/>
                </a:ext>
              </a:extLst>
            </p:cNvPr>
            <p:cNvSpPr/>
            <p:nvPr/>
          </p:nvSpPr>
          <p:spPr>
            <a:xfrm>
              <a:off x="3022567" y="5815364"/>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0" name="Rectangle 36">
              <a:extLst>
                <a:ext uri="{FF2B5EF4-FFF2-40B4-BE49-F238E27FC236}">
                  <a16:creationId xmlns:a16="http://schemas.microsoft.com/office/drawing/2014/main" id="{3F773450-E7C1-42C9-B03D-882E8579CF1C}"/>
                </a:ext>
              </a:extLst>
            </p:cNvPr>
            <p:cNvSpPr/>
            <p:nvPr/>
          </p:nvSpPr>
          <p:spPr>
            <a:xfrm>
              <a:off x="3022567" y="5815364"/>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1" name="Rectangle 37">
              <a:extLst>
                <a:ext uri="{FF2B5EF4-FFF2-40B4-BE49-F238E27FC236}">
                  <a16:creationId xmlns:a16="http://schemas.microsoft.com/office/drawing/2014/main" id="{712E668F-B2B1-42C2-AD49-5C80B46D3B60}"/>
                </a:ext>
              </a:extLst>
            </p:cNvPr>
            <p:cNvSpPr/>
            <p:nvPr/>
          </p:nvSpPr>
          <p:spPr>
            <a:xfrm>
              <a:off x="3022567" y="6034783"/>
              <a:ext cx="443090"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2" name="Rectangle 38">
              <a:extLst>
                <a:ext uri="{FF2B5EF4-FFF2-40B4-BE49-F238E27FC236}">
                  <a16:creationId xmlns:a16="http://schemas.microsoft.com/office/drawing/2014/main" id="{3343FF3E-281E-4324-A8B7-513CAB17D9BD}"/>
                </a:ext>
              </a:extLst>
            </p:cNvPr>
            <p:cNvSpPr/>
            <p:nvPr/>
          </p:nvSpPr>
          <p:spPr>
            <a:xfrm>
              <a:off x="3022567" y="6034783"/>
              <a:ext cx="443090"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3" name="Rectangle 39">
              <a:extLst>
                <a:ext uri="{FF2B5EF4-FFF2-40B4-BE49-F238E27FC236}">
                  <a16:creationId xmlns:a16="http://schemas.microsoft.com/office/drawing/2014/main" id="{7D622CC3-6E25-4622-9C34-DCEEE5B3235B}"/>
                </a:ext>
              </a:extLst>
            </p:cNvPr>
            <p:cNvSpPr/>
            <p:nvPr/>
          </p:nvSpPr>
          <p:spPr>
            <a:xfrm>
              <a:off x="3022567" y="5151857"/>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4" name="Rectangle 40">
              <a:extLst>
                <a:ext uri="{FF2B5EF4-FFF2-40B4-BE49-F238E27FC236}">
                  <a16:creationId xmlns:a16="http://schemas.microsoft.com/office/drawing/2014/main" id="{234A1C81-0697-4434-AC8D-8E6EA7610D29}"/>
                </a:ext>
              </a:extLst>
            </p:cNvPr>
            <p:cNvSpPr/>
            <p:nvPr/>
          </p:nvSpPr>
          <p:spPr>
            <a:xfrm>
              <a:off x="3022567" y="5151857"/>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5" name="Rectangle 41">
              <a:extLst>
                <a:ext uri="{FF2B5EF4-FFF2-40B4-BE49-F238E27FC236}">
                  <a16:creationId xmlns:a16="http://schemas.microsoft.com/office/drawing/2014/main" id="{473B4C5C-0A78-4261-9216-0B124F07DA68}"/>
                </a:ext>
              </a:extLst>
            </p:cNvPr>
            <p:cNvSpPr/>
            <p:nvPr/>
          </p:nvSpPr>
          <p:spPr>
            <a:xfrm>
              <a:off x="2317171" y="5260534"/>
              <a:ext cx="987552" cy="1232958"/>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6" name="Rectangle 42">
              <a:extLst>
                <a:ext uri="{FF2B5EF4-FFF2-40B4-BE49-F238E27FC236}">
                  <a16:creationId xmlns:a16="http://schemas.microsoft.com/office/drawing/2014/main" id="{221237B7-942A-44DE-9A15-37083622AF34}"/>
                </a:ext>
              </a:extLst>
            </p:cNvPr>
            <p:cNvSpPr/>
            <p:nvPr/>
          </p:nvSpPr>
          <p:spPr>
            <a:xfrm>
              <a:off x="2859539" y="6242718"/>
              <a:ext cx="128537"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7" name="Rectangle 43">
              <a:extLst>
                <a:ext uri="{FF2B5EF4-FFF2-40B4-BE49-F238E27FC236}">
                  <a16:creationId xmlns:a16="http://schemas.microsoft.com/office/drawing/2014/main" id="{19DFA3D1-D0C3-4C13-BA3A-063A7A84D118}"/>
                </a:ext>
              </a:extLst>
            </p:cNvPr>
            <p:cNvSpPr/>
            <p:nvPr/>
          </p:nvSpPr>
          <p:spPr>
            <a:xfrm>
              <a:off x="2639040" y="6242718"/>
              <a:ext cx="125400"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8" name="Rectangle 44">
              <a:extLst>
                <a:ext uri="{FF2B5EF4-FFF2-40B4-BE49-F238E27FC236}">
                  <a16:creationId xmlns:a16="http://schemas.microsoft.com/office/drawing/2014/main" id="{AD4A1731-EE06-42CE-AAB8-7A14625C58C9}"/>
                </a:ext>
              </a:extLst>
            </p:cNvPr>
            <p:cNvSpPr/>
            <p:nvPr/>
          </p:nvSpPr>
          <p:spPr>
            <a:xfrm>
              <a:off x="2415396" y="5372328"/>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9" name="Rectangle 45">
              <a:extLst>
                <a:ext uri="{FF2B5EF4-FFF2-40B4-BE49-F238E27FC236}">
                  <a16:creationId xmlns:a16="http://schemas.microsoft.com/office/drawing/2014/main" id="{5E4D4704-A929-4947-A1CE-F2DDD1C08BB3}"/>
                </a:ext>
              </a:extLst>
            </p:cNvPr>
            <p:cNvSpPr/>
            <p:nvPr/>
          </p:nvSpPr>
          <p:spPr>
            <a:xfrm>
              <a:off x="2415396" y="5594893"/>
              <a:ext cx="795271"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50" name="Rectangle 46">
              <a:extLst>
                <a:ext uri="{FF2B5EF4-FFF2-40B4-BE49-F238E27FC236}">
                  <a16:creationId xmlns:a16="http://schemas.microsoft.com/office/drawing/2014/main" id="{7BF94087-C031-47A2-880C-57A91D16C595}"/>
                </a:ext>
              </a:extLst>
            </p:cNvPr>
            <p:cNvSpPr/>
            <p:nvPr/>
          </p:nvSpPr>
          <p:spPr>
            <a:xfrm>
              <a:off x="2415396" y="5815364"/>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51" name="Rectangle 47">
              <a:extLst>
                <a:ext uri="{FF2B5EF4-FFF2-40B4-BE49-F238E27FC236}">
                  <a16:creationId xmlns:a16="http://schemas.microsoft.com/office/drawing/2014/main" id="{D69654CB-F6A3-4BA4-8450-667A4C9ECFDD}"/>
                </a:ext>
              </a:extLst>
            </p:cNvPr>
            <p:cNvSpPr/>
            <p:nvPr/>
          </p:nvSpPr>
          <p:spPr>
            <a:xfrm>
              <a:off x="2415396" y="6034783"/>
              <a:ext cx="795271"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grpSp>
      <p:sp>
        <p:nvSpPr>
          <p:cNvPr id="64" name="Text">
            <a:extLst>
              <a:ext uri="{FF2B5EF4-FFF2-40B4-BE49-F238E27FC236}">
                <a16:creationId xmlns:a16="http://schemas.microsoft.com/office/drawing/2014/main" id="{51E7DA10-A56F-47A5-AA02-02B032A7982D}"/>
              </a:ext>
            </a:extLst>
          </p:cNvPr>
          <p:cNvSpPr/>
          <p:nvPr/>
        </p:nvSpPr>
        <p:spPr>
          <a:xfrm>
            <a:off x="8092612" y="5370690"/>
            <a:ext cx="1508183" cy="470693"/>
          </a:xfrm>
          <a:prstGeom prst="rect">
            <a:avLst/>
          </a:prstGeom>
        </p:spPr>
        <p:txBody>
          <a:bodyPr wrap="square">
            <a:spAutoFit/>
          </a:bodyPr>
          <a:lstStyle/>
          <a:p>
            <a:pPr marL="0" marR="0" lvl="0" indent="0" algn="ctr" defTabSz="896182"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Semilight"/>
                <a:ea typeface="+mn-ea"/>
                <a:cs typeface="+mn-cs"/>
              </a:rPr>
              <a:t>Windows Server Active Directory</a:t>
            </a:r>
          </a:p>
        </p:txBody>
      </p:sp>
      <p:sp>
        <p:nvSpPr>
          <p:cNvPr id="66" name="Text">
            <a:extLst>
              <a:ext uri="{FF2B5EF4-FFF2-40B4-BE49-F238E27FC236}">
                <a16:creationId xmlns:a16="http://schemas.microsoft.com/office/drawing/2014/main" id="{FE31B80C-4694-4BDB-ABF1-2A42587A9FA3}"/>
              </a:ext>
            </a:extLst>
          </p:cNvPr>
          <p:cNvSpPr/>
          <p:nvPr/>
        </p:nvSpPr>
        <p:spPr>
          <a:xfrm>
            <a:off x="8011558" y="6038676"/>
            <a:ext cx="2365757" cy="267028"/>
          </a:xfrm>
          <a:prstGeom prst="rect">
            <a:avLst/>
          </a:prstGeom>
        </p:spPr>
        <p:txBody>
          <a:bodyPr wrap="square">
            <a:spAutoFit/>
          </a:bodyPr>
          <a:lstStyle/>
          <a:p>
            <a:pPr marL="0" marR="0" lvl="0" indent="0" algn="l" defTabSz="896182" rtl="0" eaLnBrk="1" fontAlgn="auto" latinLnBrk="0" hangingPunct="1">
              <a:lnSpc>
                <a:spcPct val="90000"/>
              </a:lnSpc>
              <a:spcBef>
                <a:spcPts val="0"/>
              </a:spcBef>
              <a:spcAft>
                <a:spcPts val="0"/>
              </a:spcAft>
              <a:buClrTx/>
              <a:buSzTx/>
              <a:buFontTx/>
              <a:buNone/>
              <a:tabLst/>
              <a:defRPr/>
            </a:pPr>
            <a:r>
              <a:rPr kumimoji="0" lang="en-US" sz="1274" b="0" i="0" u="none" strike="noStrike" kern="0" cap="none" spc="0" normalizeH="0" baseline="0" noProof="0" dirty="0">
                <a:ln>
                  <a:noFill/>
                </a:ln>
                <a:solidFill>
                  <a:srgbClr val="000000"/>
                </a:solidFill>
                <a:effectLst/>
                <a:uLnTx/>
                <a:uFillTx/>
                <a:latin typeface="Segoe UI Semilight"/>
                <a:ea typeface="+mn-ea"/>
                <a:cs typeface="+mn-cs"/>
              </a:rPr>
              <a:t>On-premises / Private cloud </a:t>
            </a:r>
          </a:p>
        </p:txBody>
      </p:sp>
    </p:spTree>
    <p:extLst>
      <p:ext uri="{BB962C8B-B14F-4D97-AF65-F5344CB8AC3E}">
        <p14:creationId xmlns:p14="http://schemas.microsoft.com/office/powerpoint/2010/main" val="250017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89"/>
                                        </p:tgtEl>
                                        <p:attrNameLst>
                                          <p:attrName>style.visibility</p:attrName>
                                        </p:attrNameLst>
                                      </p:cBhvr>
                                      <p:to>
                                        <p:strVal val="visible"/>
                                      </p:to>
                                    </p:set>
                                    <p:animEffect transition="in" filter="barn(outHorizontal)">
                                      <p:cBhvr>
                                        <p:cTn id="7" dur="500"/>
                                        <p:tgtEl>
                                          <p:spTgt spid="18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4"/>
                                        </p:tgtEl>
                                        <p:attrNameLst>
                                          <p:attrName>style.visibility</p:attrName>
                                        </p:attrNameLst>
                                      </p:cBhvr>
                                      <p:to>
                                        <p:strVal val="visible"/>
                                      </p:to>
                                    </p:set>
                                    <p:animEffect transition="in" filter="fade">
                                      <p:cBhvr>
                                        <p:cTn id="11" dur="500"/>
                                        <p:tgtEl>
                                          <p:spTgt spid="204"/>
                                        </p:tgtEl>
                                      </p:cBhvr>
                                    </p:animEffect>
                                  </p:childTnLst>
                                </p:cTn>
                              </p:par>
                              <p:par>
                                <p:cTn id="12" presetID="8" presetClass="emph" presetSubtype="0" fill="hold" nodeType="withEffect">
                                  <p:stCondLst>
                                    <p:cond delay="0"/>
                                  </p:stCondLst>
                                  <p:childTnLst>
                                    <p:animRot by="21600000">
                                      <p:cBhvr>
                                        <p:cTn id="13" dur="1500" fill="hold"/>
                                        <p:tgtEl>
                                          <p:spTgt spid="204"/>
                                        </p:tgtEl>
                                        <p:attrNameLst>
                                          <p:attrName>r</p:attrName>
                                        </p:attrNameLst>
                                      </p:cBhvr>
                                    </p:animRot>
                                  </p:childTnLst>
                                </p:cTn>
                              </p:par>
                              <p:par>
                                <p:cTn id="14" presetID="10" presetClass="entr" presetSubtype="0" fill="hold" grpId="0" nodeType="withEffect">
                                  <p:stCondLst>
                                    <p:cond delay="400"/>
                                  </p:stCondLst>
                                  <p:childTnLst>
                                    <p:set>
                                      <p:cBhvr>
                                        <p:cTn id="15" dur="1" fill="hold">
                                          <p:stCondLst>
                                            <p:cond delay="0"/>
                                          </p:stCondLst>
                                        </p:cTn>
                                        <p:tgtEl>
                                          <p:spTgt spid="191"/>
                                        </p:tgtEl>
                                        <p:attrNameLst>
                                          <p:attrName>style.visibility</p:attrName>
                                        </p:attrNameLst>
                                      </p:cBhvr>
                                      <p:to>
                                        <p:strVal val="visible"/>
                                      </p:to>
                                    </p:set>
                                    <p:animEffect transition="in" filter="fade">
                                      <p:cBhvr>
                                        <p:cTn id="16"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CE774-E50A-4E0D-A057-59AAB280E106}"/>
              </a:ext>
            </a:extLst>
          </p:cNvPr>
          <p:cNvSpPr>
            <a:spLocks noGrp="1"/>
          </p:cNvSpPr>
          <p:nvPr>
            <p:ph type="title"/>
          </p:nvPr>
        </p:nvSpPr>
        <p:spPr/>
        <p:txBody>
          <a:bodyPr/>
          <a:lstStyle/>
          <a:p>
            <a:pPr algn="ctr"/>
            <a:r>
              <a:rPr lang="en-US" sz="4000" dirty="0"/>
              <a:t>Azure AD Connect authentication options</a:t>
            </a:r>
            <a:br>
              <a:rPr lang="en-US" sz="4000" dirty="0"/>
            </a:br>
            <a:br>
              <a:rPr lang="en-US" sz="900" dirty="0"/>
            </a:br>
            <a:r>
              <a:rPr lang="en-US" sz="2400" spc="0" dirty="0">
                <a:solidFill>
                  <a:schemeClr val="tx1"/>
                </a:solidFill>
                <a:latin typeface="Segoe UI" panose="020B0502040204020203" pitchFamily="34" charset="0"/>
              </a:rPr>
              <a:t>Federation via ADFS</a:t>
            </a:r>
            <a:endParaRPr lang="en-US" sz="2400" spc="0" dirty="0">
              <a:solidFill>
                <a:srgbClr val="353535"/>
              </a:solidFill>
              <a:latin typeface="Segoe UI" panose="020B0502040204020203" pitchFamily="34" charset="0"/>
            </a:endParaRPr>
          </a:p>
        </p:txBody>
      </p:sp>
      <p:sp>
        <p:nvSpPr>
          <p:cNvPr id="68" name="Rectangle 67">
            <a:extLst>
              <a:ext uri="{FF2B5EF4-FFF2-40B4-BE49-F238E27FC236}">
                <a16:creationId xmlns:a16="http://schemas.microsoft.com/office/drawing/2014/main" id="{EF1E1D66-6762-4DA9-9B8C-9A3AC55BC471}"/>
              </a:ext>
            </a:extLst>
          </p:cNvPr>
          <p:cNvSpPr/>
          <p:nvPr/>
        </p:nvSpPr>
        <p:spPr bwMode="auto">
          <a:xfrm>
            <a:off x="-1371779" y="486"/>
            <a:ext cx="1279979" cy="6857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art 3 of 4</a:t>
            </a:r>
          </a:p>
        </p:txBody>
      </p:sp>
      <p:sp>
        <p:nvSpPr>
          <p:cNvPr id="182" name="Freeform: Shape 181">
            <a:extLst>
              <a:ext uri="{FF2B5EF4-FFF2-40B4-BE49-F238E27FC236}">
                <a16:creationId xmlns:a16="http://schemas.microsoft.com/office/drawing/2014/main" id="{D3CA5F25-C985-4B86-9566-907D064D92F1}"/>
              </a:ext>
            </a:extLst>
          </p:cNvPr>
          <p:cNvSpPr/>
          <p:nvPr/>
        </p:nvSpPr>
        <p:spPr>
          <a:xfrm flipH="1">
            <a:off x="4713300" y="1538390"/>
            <a:ext cx="2064547" cy="1357552"/>
          </a:xfrm>
          <a:custGeom>
            <a:avLst/>
            <a:gdLst>
              <a:gd name="connsiteX0" fmla="*/ 1627536 w 2877656"/>
              <a:gd name="connsiteY0" fmla="*/ 0 h 1892217"/>
              <a:gd name="connsiteX1" fmla="*/ 2425623 w 2877656"/>
              <a:gd name="connsiteY1" fmla="*/ 798431 h 1892217"/>
              <a:gd name="connsiteX2" fmla="*/ 2424542 w 2877656"/>
              <a:gd name="connsiteY2" fmla="*/ 836297 h 1892217"/>
              <a:gd name="connsiteX3" fmla="*/ 2877656 w 2877656"/>
              <a:gd name="connsiteY3" fmla="*/ 1361011 h 1892217"/>
              <a:gd name="connsiteX4" fmla="*/ 2347761 w 2877656"/>
              <a:gd name="connsiteY4" fmla="*/ 1892217 h 1892217"/>
              <a:gd name="connsiteX5" fmla="*/ 2316400 w 2877656"/>
              <a:gd name="connsiteY5" fmla="*/ 1891135 h 1892217"/>
              <a:gd name="connsiteX6" fmla="*/ 656421 w 2877656"/>
              <a:gd name="connsiteY6" fmla="*/ 1891135 h 1892217"/>
              <a:gd name="connsiteX7" fmla="*/ 621816 w 2877656"/>
              <a:gd name="connsiteY7" fmla="*/ 1892217 h 1892217"/>
              <a:gd name="connsiteX8" fmla="*/ 588292 w 2877656"/>
              <a:gd name="connsiteY8" fmla="*/ 1891135 h 1892217"/>
              <a:gd name="connsiteX9" fmla="*/ 587211 w 2877656"/>
              <a:gd name="connsiteY9" fmla="*/ 1891135 h 1892217"/>
              <a:gd name="connsiteX10" fmla="*/ 0 w 2877656"/>
              <a:gd name="connsiteY10" fmla="*/ 1270133 h 1892217"/>
              <a:gd name="connsiteX11" fmla="*/ 287658 w 2877656"/>
              <a:gd name="connsiteY11" fmla="*/ 745419 h 1892217"/>
              <a:gd name="connsiteX12" fmla="*/ 287658 w 2877656"/>
              <a:gd name="connsiteY12" fmla="*/ 736764 h 1892217"/>
              <a:gd name="connsiteX13" fmla="*/ 732121 w 2877656"/>
              <a:gd name="connsiteY13" fmla="*/ 292109 h 1892217"/>
              <a:gd name="connsiteX14" fmla="*/ 962463 w 2877656"/>
              <a:gd name="connsiteY14" fmla="*/ 357022 h 1892217"/>
              <a:gd name="connsiteX15" fmla="*/ 1627536 w 2877656"/>
              <a:gd name="connsiteY15" fmla="*/ 0 h 189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7656" h="1892217">
                <a:moveTo>
                  <a:pt x="1627536" y="0"/>
                </a:moveTo>
                <a:cubicBezTo>
                  <a:pt x="2067673" y="0"/>
                  <a:pt x="2425623" y="357022"/>
                  <a:pt x="2425623" y="798431"/>
                </a:cubicBezTo>
                <a:cubicBezTo>
                  <a:pt x="2425623" y="810332"/>
                  <a:pt x="2424542" y="823315"/>
                  <a:pt x="2424542" y="836297"/>
                </a:cubicBezTo>
                <a:cubicBezTo>
                  <a:pt x="2680838" y="873081"/>
                  <a:pt x="2877656" y="1093786"/>
                  <a:pt x="2877656" y="1361011"/>
                </a:cubicBezTo>
                <a:cubicBezTo>
                  <a:pt x="2877656" y="1655284"/>
                  <a:pt x="2640825" y="1892217"/>
                  <a:pt x="2347761" y="1892217"/>
                </a:cubicBezTo>
                <a:cubicBezTo>
                  <a:pt x="2336947" y="1892217"/>
                  <a:pt x="2326132" y="1892217"/>
                  <a:pt x="2316400" y="1891135"/>
                </a:cubicBezTo>
                <a:cubicBezTo>
                  <a:pt x="2316400" y="1891135"/>
                  <a:pt x="2316400" y="1891135"/>
                  <a:pt x="656421" y="1891135"/>
                </a:cubicBezTo>
                <a:cubicBezTo>
                  <a:pt x="644526" y="1892217"/>
                  <a:pt x="633712" y="1892217"/>
                  <a:pt x="621816" y="1892217"/>
                </a:cubicBezTo>
                <a:cubicBezTo>
                  <a:pt x="611002" y="1892217"/>
                  <a:pt x="599106" y="1892217"/>
                  <a:pt x="588292" y="1891135"/>
                </a:cubicBezTo>
                <a:cubicBezTo>
                  <a:pt x="588292" y="1891135"/>
                  <a:pt x="588292" y="1891135"/>
                  <a:pt x="587211" y="1891135"/>
                </a:cubicBezTo>
                <a:cubicBezTo>
                  <a:pt x="259541" y="1873825"/>
                  <a:pt x="0" y="1602272"/>
                  <a:pt x="0" y="1270133"/>
                </a:cubicBezTo>
                <a:cubicBezTo>
                  <a:pt x="0" y="1049429"/>
                  <a:pt x="114631" y="855771"/>
                  <a:pt x="287658" y="745419"/>
                </a:cubicBezTo>
                <a:cubicBezTo>
                  <a:pt x="287658" y="742173"/>
                  <a:pt x="287658" y="740009"/>
                  <a:pt x="287658" y="736764"/>
                </a:cubicBezTo>
                <a:cubicBezTo>
                  <a:pt x="287658" y="491176"/>
                  <a:pt x="486639" y="292109"/>
                  <a:pt x="732121" y="292109"/>
                </a:cubicBezTo>
                <a:cubicBezTo>
                  <a:pt x="816472" y="292109"/>
                  <a:pt x="895415" y="315911"/>
                  <a:pt x="962463" y="357022"/>
                </a:cubicBezTo>
                <a:cubicBezTo>
                  <a:pt x="1105210" y="141727"/>
                  <a:pt x="1349611" y="0"/>
                  <a:pt x="1627536" y="0"/>
                </a:cubicBezTo>
                <a:close/>
              </a:path>
            </a:pathLst>
          </a:custGeom>
          <a:blipFill dpi="0" rotWithShape="1">
            <a:blip r:embed="rId3" cstate="print">
              <a:extLst>
                <a:ext uri="{28A0092B-C50C-407E-A947-70E740481C1C}">
                  <a14:useLocalDpi xmlns:a14="http://schemas.microsoft.com/office/drawing/2010/main" val="0"/>
                </a:ext>
              </a:extLst>
            </a:blip>
            <a:srcRect/>
            <a:stretch>
              <a:fillRect/>
            </a:stretch>
          </a:blipFill>
          <a:ln w="12700" cap="flat" cmpd="sng" algn="ctr">
            <a:solidFill>
              <a:srgbClr val="0078D7"/>
            </a:solidFill>
            <a:prstDash val="solid"/>
          </a:ln>
          <a:effectLst/>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353535"/>
              </a:solidFill>
              <a:effectLst/>
              <a:uLnTx/>
              <a:uFillTx/>
              <a:latin typeface="Segoe UI Semilight"/>
              <a:ea typeface="+mn-ea"/>
              <a:cs typeface="+mn-cs"/>
            </a:endParaRPr>
          </a:p>
        </p:txBody>
      </p:sp>
      <p:cxnSp>
        <p:nvCxnSpPr>
          <p:cNvPr id="183" name="Straight Arrow Connector 182">
            <a:extLst>
              <a:ext uri="{FF2B5EF4-FFF2-40B4-BE49-F238E27FC236}">
                <a16:creationId xmlns:a16="http://schemas.microsoft.com/office/drawing/2014/main" id="{81E88723-AF31-49CF-AADF-4917B24DE68B}"/>
              </a:ext>
            </a:extLst>
          </p:cNvPr>
          <p:cNvCxnSpPr>
            <a:cxnSpLocks/>
          </p:cNvCxnSpPr>
          <p:nvPr/>
        </p:nvCxnSpPr>
        <p:spPr>
          <a:xfrm flipV="1">
            <a:off x="2339178" y="2792477"/>
            <a:ext cx="1592019" cy="428148"/>
          </a:xfrm>
          <a:prstGeom prst="straightConnector1">
            <a:avLst/>
          </a:prstGeom>
          <a:noFill/>
          <a:ln w="31750" cap="rnd" cmpd="sng" algn="ctr">
            <a:solidFill>
              <a:srgbClr val="353535"/>
            </a:solidFill>
            <a:prstDash val="sysDot"/>
            <a:headEnd type="none" w="med" len="med"/>
            <a:tailEnd type="triangle" w="med" len="med"/>
          </a:ln>
          <a:effectLst/>
        </p:spPr>
      </p:cxnSp>
      <p:grpSp>
        <p:nvGrpSpPr>
          <p:cNvPr id="191" name="Group 190">
            <a:extLst>
              <a:ext uri="{FF2B5EF4-FFF2-40B4-BE49-F238E27FC236}">
                <a16:creationId xmlns:a16="http://schemas.microsoft.com/office/drawing/2014/main" id="{F671BA0C-DD29-4614-B52C-C55AEC050953}"/>
              </a:ext>
            </a:extLst>
          </p:cNvPr>
          <p:cNvGrpSpPr/>
          <p:nvPr/>
        </p:nvGrpSpPr>
        <p:grpSpPr>
          <a:xfrm>
            <a:off x="1125282" y="2789229"/>
            <a:ext cx="1297348" cy="1047397"/>
            <a:chOff x="1124660" y="2438555"/>
            <a:chExt cx="1323363" cy="1068399"/>
          </a:xfrm>
        </p:grpSpPr>
        <p:sp>
          <p:nvSpPr>
            <p:cNvPr id="192" name="Freeform 5">
              <a:extLst>
                <a:ext uri="{FF2B5EF4-FFF2-40B4-BE49-F238E27FC236}">
                  <a16:creationId xmlns:a16="http://schemas.microsoft.com/office/drawing/2014/main" id="{FBAD90EB-8DD0-46E7-BED1-6F4E7ED35E6F}"/>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193" name="Group 192">
              <a:extLst>
                <a:ext uri="{FF2B5EF4-FFF2-40B4-BE49-F238E27FC236}">
                  <a16:creationId xmlns:a16="http://schemas.microsoft.com/office/drawing/2014/main" id="{1BEF0882-C75F-4237-AA08-0ECF7DD25704}"/>
                </a:ext>
              </a:extLst>
            </p:cNvPr>
            <p:cNvGrpSpPr/>
            <p:nvPr/>
          </p:nvGrpSpPr>
          <p:grpSpPr>
            <a:xfrm>
              <a:off x="1124660" y="2438555"/>
              <a:ext cx="593820" cy="706058"/>
              <a:chOff x="6447047" y="5804307"/>
              <a:chExt cx="414034" cy="492291"/>
            </a:xfrm>
          </p:grpSpPr>
          <p:sp>
            <p:nvSpPr>
              <p:cNvPr id="194" name="Freeform 9">
                <a:extLst>
                  <a:ext uri="{FF2B5EF4-FFF2-40B4-BE49-F238E27FC236}">
                    <a16:creationId xmlns:a16="http://schemas.microsoft.com/office/drawing/2014/main" id="{907DC0A1-8A5C-4527-9631-6551DC223B8E}"/>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95" name="Oval 8">
                <a:extLst>
                  <a:ext uri="{FF2B5EF4-FFF2-40B4-BE49-F238E27FC236}">
                    <a16:creationId xmlns:a16="http://schemas.microsoft.com/office/drawing/2014/main" id="{A2047861-B12E-4CE0-A9E3-5FF6C38D9B02}"/>
                  </a:ext>
                </a:extLst>
              </p:cNvPr>
              <p:cNvSpPr>
                <a:spLocks noChangeArrowheads="1"/>
              </p:cNvSpPr>
              <p:nvPr/>
            </p:nvSpPr>
            <p:spPr bwMode="auto">
              <a:xfrm>
                <a:off x="6507270" y="5804307"/>
                <a:ext cx="293587" cy="290228"/>
              </a:xfrm>
              <a:prstGeom prst="ellipse">
                <a:avLst/>
              </a:prstGeom>
              <a:noFill/>
              <a:ln w="190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grpSp>
        <p:nvGrpSpPr>
          <p:cNvPr id="196" name="Group 195">
            <a:extLst>
              <a:ext uri="{FF2B5EF4-FFF2-40B4-BE49-F238E27FC236}">
                <a16:creationId xmlns:a16="http://schemas.microsoft.com/office/drawing/2014/main" id="{41049FD9-FADA-4EDC-9E26-5FEAE0E6B446}"/>
              </a:ext>
            </a:extLst>
          </p:cNvPr>
          <p:cNvGrpSpPr/>
          <p:nvPr/>
        </p:nvGrpSpPr>
        <p:grpSpPr>
          <a:xfrm>
            <a:off x="4083653" y="1759442"/>
            <a:ext cx="2671573" cy="1474510"/>
            <a:chOff x="4733428" y="2676962"/>
            <a:chExt cx="2725144" cy="1504077"/>
          </a:xfrm>
        </p:grpSpPr>
        <p:sp>
          <p:nvSpPr>
            <p:cNvPr id="197" name="Freeform: Shape 196">
              <a:extLst>
                <a:ext uri="{FF2B5EF4-FFF2-40B4-BE49-F238E27FC236}">
                  <a16:creationId xmlns:a16="http://schemas.microsoft.com/office/drawing/2014/main" id="{EEF53715-9D65-4E79-9B75-520754A49CF3}"/>
                </a:ext>
              </a:extLst>
            </p:cNvPr>
            <p:cNvSpPr/>
            <p:nvPr/>
          </p:nvSpPr>
          <p:spPr bwMode="auto">
            <a:xfrm>
              <a:off x="4733428" y="2676962"/>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MS cloud text">
              <a:extLst>
                <a:ext uri="{FF2B5EF4-FFF2-40B4-BE49-F238E27FC236}">
                  <a16:creationId xmlns:a16="http://schemas.microsoft.com/office/drawing/2014/main" id="{4CEA33E8-9A3F-4466-A2D2-340022D8351F}"/>
                </a:ext>
              </a:extLst>
            </p:cNvPr>
            <p:cNvSpPr txBox="1">
              <a:spLocks/>
            </p:cNvSpPr>
            <p:nvPr/>
          </p:nvSpPr>
          <p:spPr>
            <a:xfrm>
              <a:off x="5019924" y="3233713"/>
              <a:ext cx="2391863" cy="40782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Microsoft Azure </a:t>
              </a:r>
              <a:b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b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Active Directory</a:t>
              </a:r>
            </a:p>
          </p:txBody>
        </p:sp>
      </p:grpSp>
      <p:grpSp>
        <p:nvGrpSpPr>
          <p:cNvPr id="199" name="Group 198">
            <a:extLst>
              <a:ext uri="{FF2B5EF4-FFF2-40B4-BE49-F238E27FC236}">
                <a16:creationId xmlns:a16="http://schemas.microsoft.com/office/drawing/2014/main" id="{9EB5C4C5-A9C1-4157-9D94-47349DB13F15}"/>
              </a:ext>
            </a:extLst>
          </p:cNvPr>
          <p:cNvGrpSpPr/>
          <p:nvPr/>
        </p:nvGrpSpPr>
        <p:grpSpPr>
          <a:xfrm>
            <a:off x="3927189" y="2629267"/>
            <a:ext cx="351521" cy="351521"/>
            <a:chOff x="7035946" y="2603673"/>
            <a:chExt cx="365760" cy="365760"/>
          </a:xfrm>
        </p:grpSpPr>
        <p:sp>
          <p:nvSpPr>
            <p:cNvPr id="200" name="Oval 199">
              <a:extLst>
                <a:ext uri="{FF2B5EF4-FFF2-40B4-BE49-F238E27FC236}">
                  <a16:creationId xmlns:a16="http://schemas.microsoft.com/office/drawing/2014/main" id="{D5D0E15F-56DC-4869-9CF5-DB5499AE4553}"/>
                </a:ext>
              </a:extLst>
            </p:cNvPr>
            <p:cNvSpPr/>
            <p:nvPr/>
          </p:nvSpPr>
          <p:spPr bwMode="auto">
            <a:xfrm>
              <a:off x="7058806" y="2626533"/>
              <a:ext cx="320040" cy="3200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1" name="Freeform: Shape 200">
              <a:extLst>
                <a:ext uri="{FF2B5EF4-FFF2-40B4-BE49-F238E27FC236}">
                  <a16:creationId xmlns:a16="http://schemas.microsoft.com/office/drawing/2014/main" id="{6796A43E-A5D9-45FE-B016-84A35B5C9E4D}"/>
                </a:ext>
              </a:extLst>
            </p:cNvPr>
            <p:cNvSpPr>
              <a:spLocks noChangeAspect="1"/>
            </p:cNvSpPr>
            <p:nvPr/>
          </p:nvSpPr>
          <p:spPr bwMode="auto">
            <a:xfrm>
              <a:off x="7035946" y="2603673"/>
              <a:ext cx="365760" cy="365760"/>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2" name="Rectangle 201">
            <a:extLst>
              <a:ext uri="{FF2B5EF4-FFF2-40B4-BE49-F238E27FC236}">
                <a16:creationId xmlns:a16="http://schemas.microsoft.com/office/drawing/2014/main" id="{AF73940B-74B0-47BD-93E0-EC8E3D6483C9}"/>
              </a:ext>
            </a:extLst>
          </p:cNvPr>
          <p:cNvSpPr/>
          <p:nvPr/>
        </p:nvSpPr>
        <p:spPr>
          <a:xfrm>
            <a:off x="6848608" y="2257201"/>
            <a:ext cx="2064780" cy="159663"/>
          </a:xfrm>
          <a:prstGeom prst="rect">
            <a:avLst/>
          </a:prstGeom>
          <a:noFill/>
          <a:ln>
            <a:noFill/>
          </a:ln>
        </p:spPr>
        <p:txBody>
          <a:bodyPr wrap="square" lIns="0" tIns="0" rIns="0" bIns="0" anchor="ctr">
            <a:spAutoFit/>
          </a:bodyPr>
          <a:lstStyle/>
          <a:p>
            <a:pPr marL="0" marR="0" lvl="0" indent="0" algn="l"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Office 365, SaaS, and LoB apps</a:t>
            </a:r>
          </a:p>
        </p:txBody>
      </p:sp>
      <p:cxnSp>
        <p:nvCxnSpPr>
          <p:cNvPr id="203" name="Straight Arrow Connector 202">
            <a:extLst>
              <a:ext uri="{FF2B5EF4-FFF2-40B4-BE49-F238E27FC236}">
                <a16:creationId xmlns:a16="http://schemas.microsoft.com/office/drawing/2014/main" id="{33439D81-DE11-458A-A86A-214562AA816B}"/>
              </a:ext>
            </a:extLst>
          </p:cNvPr>
          <p:cNvCxnSpPr>
            <a:cxnSpLocks/>
          </p:cNvCxnSpPr>
          <p:nvPr/>
        </p:nvCxnSpPr>
        <p:spPr>
          <a:xfrm>
            <a:off x="6312325" y="3257497"/>
            <a:ext cx="2299608" cy="1548884"/>
          </a:xfrm>
          <a:prstGeom prst="straightConnector1">
            <a:avLst/>
          </a:prstGeom>
          <a:noFill/>
          <a:ln w="31750" cap="rnd" cmpd="sng" algn="ctr">
            <a:solidFill>
              <a:srgbClr val="353535"/>
            </a:solidFill>
            <a:prstDash val="sysDot"/>
            <a:headEnd type="triangle" w="med" len="med"/>
            <a:tailEnd type="triangle" w="med" len="med"/>
          </a:ln>
          <a:effectLst/>
        </p:spPr>
      </p:cxnSp>
      <p:sp useBgFill="1">
        <p:nvSpPr>
          <p:cNvPr id="204" name="Rectangle 203">
            <a:extLst>
              <a:ext uri="{FF2B5EF4-FFF2-40B4-BE49-F238E27FC236}">
                <a16:creationId xmlns:a16="http://schemas.microsoft.com/office/drawing/2014/main" id="{2206CCA5-5CCE-4002-92DF-939097F21D81}"/>
              </a:ext>
            </a:extLst>
          </p:cNvPr>
          <p:cNvSpPr/>
          <p:nvPr/>
        </p:nvSpPr>
        <p:spPr>
          <a:xfrm>
            <a:off x="6740759" y="3825763"/>
            <a:ext cx="933011" cy="159663"/>
          </a:xfrm>
          <a:prstGeom prst="rect">
            <a:avLst/>
          </a:prstGeom>
          <a:ln>
            <a:noFill/>
          </a:ln>
        </p:spPr>
        <p:txBody>
          <a:bodyPr wrap="square" lIns="0" tIns="0" rIns="0" bIns="0" anchor="ctr">
            <a:spAutoFit/>
          </a:bodyPr>
          <a:lstStyle/>
          <a:p>
            <a:pPr marL="0" marR="0" lvl="0" indent="0" algn="ctr"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Federation</a:t>
            </a:r>
          </a:p>
        </p:txBody>
      </p:sp>
      <p:sp>
        <p:nvSpPr>
          <p:cNvPr id="61" name="Freeform 280">
            <a:extLst>
              <a:ext uri="{FF2B5EF4-FFF2-40B4-BE49-F238E27FC236}">
                <a16:creationId xmlns:a16="http://schemas.microsoft.com/office/drawing/2014/main" id="{4418EA9F-D44B-4A7E-A8FA-ABD34ADADC1F}"/>
              </a:ext>
            </a:extLst>
          </p:cNvPr>
          <p:cNvSpPr/>
          <p:nvPr/>
        </p:nvSpPr>
        <p:spPr bwMode="auto">
          <a:xfrm>
            <a:off x="7309747" y="4570893"/>
            <a:ext cx="3067569" cy="175742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62" name="Picture 61">
            <a:extLst>
              <a:ext uri="{FF2B5EF4-FFF2-40B4-BE49-F238E27FC236}">
                <a16:creationId xmlns:a16="http://schemas.microsoft.com/office/drawing/2014/main" id="{1C23C212-B04F-4466-833B-AA3621413EB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70951" y="4695108"/>
            <a:ext cx="966683" cy="639917"/>
          </a:xfrm>
          <a:prstGeom prst="rect">
            <a:avLst/>
          </a:prstGeom>
        </p:spPr>
      </p:pic>
      <p:grpSp>
        <p:nvGrpSpPr>
          <p:cNvPr id="63" name="On-Premises Building">
            <a:extLst>
              <a:ext uri="{FF2B5EF4-FFF2-40B4-BE49-F238E27FC236}">
                <a16:creationId xmlns:a16="http://schemas.microsoft.com/office/drawing/2014/main" id="{1EBB6DF1-8547-473A-989B-EB076735C90B}"/>
              </a:ext>
            </a:extLst>
          </p:cNvPr>
          <p:cNvGrpSpPr/>
          <p:nvPr/>
        </p:nvGrpSpPr>
        <p:grpSpPr>
          <a:xfrm>
            <a:off x="7303007" y="5423661"/>
            <a:ext cx="717696" cy="1019692"/>
            <a:chOff x="2317171" y="4229228"/>
            <a:chExt cx="1593672" cy="2264264"/>
          </a:xfrm>
        </p:grpSpPr>
        <p:sp>
          <p:nvSpPr>
            <p:cNvPr id="64" name="Freeform 12">
              <a:extLst>
                <a:ext uri="{FF2B5EF4-FFF2-40B4-BE49-F238E27FC236}">
                  <a16:creationId xmlns:a16="http://schemas.microsoft.com/office/drawing/2014/main" id="{D059F705-A2A8-4B21-8ADC-C0E495325326}"/>
                </a:ext>
              </a:extLst>
            </p:cNvPr>
            <p:cNvSpPr/>
            <p:nvPr/>
          </p:nvSpPr>
          <p:spPr>
            <a:xfrm>
              <a:off x="3290093" y="4229228"/>
              <a:ext cx="49112" cy="125382"/>
            </a:xfrm>
            <a:custGeom>
              <a:avLst/>
              <a:gdLst>
                <a:gd name="f0" fmla="val 10800000"/>
                <a:gd name="f1" fmla="val 5400000"/>
                <a:gd name="f2" fmla="val 180"/>
                <a:gd name="f3" fmla="val w"/>
                <a:gd name="f4" fmla="val h"/>
                <a:gd name="f5" fmla="val 0"/>
                <a:gd name="f6" fmla="val 20"/>
                <a:gd name="f7" fmla="val 51"/>
                <a:gd name="f8" fmla="val 10"/>
                <a:gd name="f9" fmla="val 16"/>
                <a:gd name="f10" fmla="val 4"/>
                <a:gd name="f11" fmla="val 33"/>
                <a:gd name="f12" fmla="val 1"/>
                <a:gd name="f13" fmla="val 49"/>
                <a:gd name="f14" fmla="val 48"/>
                <a:gd name="f15" fmla="val 46"/>
                <a:gd name="f16" fmla="val 2"/>
                <a:gd name="f17" fmla="val 45"/>
                <a:gd name="f18" fmla="val 44"/>
                <a:gd name="f19" fmla="val 43"/>
                <a:gd name="f20" fmla="val 3"/>
                <a:gd name="f21" fmla="val 41"/>
                <a:gd name="f22" fmla="val 39"/>
                <a:gd name="f23" fmla="val 36"/>
                <a:gd name="f24" fmla="val 35"/>
                <a:gd name="f25" fmla="val 34"/>
                <a:gd name="f26" fmla="val 5"/>
                <a:gd name="f27" fmla="val 32"/>
                <a:gd name="f28" fmla="val 6"/>
                <a:gd name="f29" fmla="val 29"/>
                <a:gd name="f30" fmla="val 7"/>
                <a:gd name="f31" fmla="val 27"/>
                <a:gd name="f32" fmla="val 26"/>
                <a:gd name="f33" fmla="val 25"/>
                <a:gd name="f34" fmla="val 8"/>
                <a:gd name="f35" fmla="val 23"/>
                <a:gd name="f36" fmla="val 9"/>
                <a:gd name="f37" fmla="val 11"/>
                <a:gd name="f38" fmla="val 18"/>
                <a:gd name="f39" fmla="val 17"/>
                <a:gd name="f40" fmla="val 12"/>
                <a:gd name="f41" fmla="val 14"/>
                <a:gd name="f42" fmla="val 15"/>
                <a:gd name="f43" fmla="+- 0 0 -90"/>
                <a:gd name="f44" fmla="*/ f3 1 20"/>
                <a:gd name="f45" fmla="*/ f4 1 51"/>
                <a:gd name="f46" fmla="val f5"/>
                <a:gd name="f47" fmla="val f6"/>
                <a:gd name="f48" fmla="val f7"/>
                <a:gd name="f49" fmla="*/ f43 f0 1"/>
                <a:gd name="f50" fmla="+- f48 0 f46"/>
                <a:gd name="f51" fmla="+- f47 0 f46"/>
                <a:gd name="f52" fmla="*/ f49 1 f2"/>
                <a:gd name="f53" fmla="*/ f51 1 20"/>
                <a:gd name="f54" fmla="*/ f50 1 51"/>
                <a:gd name="f55" fmla="*/ 20 f51 1"/>
                <a:gd name="f56" fmla="*/ 0 f50 1"/>
                <a:gd name="f57" fmla="*/ 0 f51 1"/>
                <a:gd name="f58" fmla="*/ 51 f50 1"/>
                <a:gd name="f59" fmla="*/ 1 f51 1"/>
                <a:gd name="f60" fmla="*/ 46 f50 1"/>
                <a:gd name="f61" fmla="*/ 2 f51 1"/>
                <a:gd name="f62" fmla="*/ 43 f50 1"/>
                <a:gd name="f63" fmla="*/ 4 f51 1"/>
                <a:gd name="f64" fmla="*/ 36 f50 1"/>
                <a:gd name="f65" fmla="*/ 34 f50 1"/>
                <a:gd name="f66" fmla="*/ 7 f51 1"/>
                <a:gd name="f67" fmla="*/ 27 f50 1"/>
                <a:gd name="f68" fmla="*/ 25 f50 1"/>
                <a:gd name="f69" fmla="*/ 11 f51 1"/>
                <a:gd name="f70" fmla="*/ 18 f50 1"/>
                <a:gd name="f71" fmla="*/ 17 f50 1"/>
                <a:gd name="f72" fmla="*/ 15 f51 1"/>
                <a:gd name="f73" fmla="*/ 8 f50 1"/>
                <a:gd name="f74" fmla="+- f52 0 f1"/>
                <a:gd name="f75" fmla="*/ f55 1 20"/>
                <a:gd name="f76" fmla="*/ f56 1 51"/>
                <a:gd name="f77" fmla="*/ f57 1 20"/>
                <a:gd name="f78" fmla="*/ f58 1 51"/>
                <a:gd name="f79" fmla="*/ f59 1 20"/>
                <a:gd name="f80" fmla="*/ f60 1 51"/>
                <a:gd name="f81" fmla="*/ f61 1 20"/>
                <a:gd name="f82" fmla="*/ f62 1 51"/>
                <a:gd name="f83" fmla="*/ f63 1 20"/>
                <a:gd name="f84" fmla="*/ f64 1 51"/>
                <a:gd name="f85" fmla="*/ f65 1 51"/>
                <a:gd name="f86" fmla="*/ f66 1 20"/>
                <a:gd name="f87" fmla="*/ f67 1 51"/>
                <a:gd name="f88" fmla="*/ f68 1 51"/>
                <a:gd name="f89" fmla="*/ f69 1 20"/>
                <a:gd name="f90" fmla="*/ f70 1 51"/>
                <a:gd name="f91" fmla="*/ f71 1 51"/>
                <a:gd name="f92" fmla="*/ f72 1 20"/>
                <a:gd name="f93" fmla="*/ f73 1 51"/>
                <a:gd name="f94" fmla="*/ 0 1 f53"/>
                <a:gd name="f95" fmla="*/ f47 1 f53"/>
                <a:gd name="f96" fmla="*/ 0 1 f54"/>
                <a:gd name="f97" fmla="*/ f48 1 f54"/>
                <a:gd name="f98" fmla="*/ f75 1 f53"/>
                <a:gd name="f99" fmla="*/ f76 1 f54"/>
                <a:gd name="f100" fmla="*/ f77 1 f53"/>
                <a:gd name="f101" fmla="*/ f78 1 f54"/>
                <a:gd name="f102" fmla="*/ f79 1 f53"/>
                <a:gd name="f103" fmla="*/ f80 1 f54"/>
                <a:gd name="f104" fmla="*/ f81 1 f53"/>
                <a:gd name="f105" fmla="*/ f82 1 f54"/>
                <a:gd name="f106" fmla="*/ f83 1 f53"/>
                <a:gd name="f107" fmla="*/ f84 1 f54"/>
                <a:gd name="f108" fmla="*/ f85 1 f54"/>
                <a:gd name="f109" fmla="*/ f86 1 f53"/>
                <a:gd name="f110" fmla="*/ f87 1 f54"/>
                <a:gd name="f111" fmla="*/ f88 1 f54"/>
                <a:gd name="f112" fmla="*/ f89 1 f53"/>
                <a:gd name="f113" fmla="*/ f90 1 f54"/>
                <a:gd name="f114" fmla="*/ f91 1 f54"/>
                <a:gd name="f115" fmla="*/ f92 1 f53"/>
                <a:gd name="f116" fmla="*/ f93 1 f54"/>
                <a:gd name="f117" fmla="*/ f94 f44 1"/>
                <a:gd name="f118" fmla="*/ f95 f44 1"/>
                <a:gd name="f119" fmla="*/ f97 f45 1"/>
                <a:gd name="f120" fmla="*/ f96 f45 1"/>
                <a:gd name="f121" fmla="*/ f98 f44 1"/>
                <a:gd name="f122" fmla="*/ f99 f45 1"/>
                <a:gd name="f123" fmla="*/ f100 f44 1"/>
                <a:gd name="f124" fmla="*/ f101 f45 1"/>
                <a:gd name="f125" fmla="*/ f102 f44 1"/>
                <a:gd name="f126" fmla="*/ f103 f45 1"/>
                <a:gd name="f127" fmla="*/ f104 f44 1"/>
                <a:gd name="f128" fmla="*/ f105 f45 1"/>
                <a:gd name="f129" fmla="*/ f106 f44 1"/>
                <a:gd name="f130" fmla="*/ f107 f45 1"/>
                <a:gd name="f131" fmla="*/ f108 f45 1"/>
                <a:gd name="f132" fmla="*/ f109 f44 1"/>
                <a:gd name="f133" fmla="*/ f110 f45 1"/>
                <a:gd name="f134" fmla="*/ f111 f45 1"/>
                <a:gd name="f135" fmla="*/ f112 f44 1"/>
                <a:gd name="f136" fmla="*/ f113 f45 1"/>
                <a:gd name="f137" fmla="*/ f114 f45 1"/>
                <a:gd name="f138" fmla="*/ f115 f44 1"/>
                <a:gd name="f139" fmla="*/ f116 f45 1"/>
              </a:gdLst>
              <a:ahLst/>
              <a:cxnLst>
                <a:cxn ang="3cd4">
                  <a:pos x="hc" y="t"/>
                </a:cxn>
                <a:cxn ang="0">
                  <a:pos x="r" y="vc"/>
                </a:cxn>
                <a:cxn ang="cd4">
                  <a:pos x="hc" y="b"/>
                </a:cxn>
                <a:cxn ang="cd2">
                  <a:pos x="l" y="vc"/>
                </a:cxn>
                <a:cxn ang="f74">
                  <a:pos x="f121" y="f122"/>
                </a:cxn>
                <a:cxn ang="f74">
                  <a:pos x="f123" y="f124"/>
                </a:cxn>
                <a:cxn ang="f74">
                  <a:pos x="f123" y="f124"/>
                </a:cxn>
                <a:cxn ang="f74">
                  <a:pos x="f125" y="f126"/>
                </a:cxn>
                <a:cxn ang="f74">
                  <a:pos x="f127" y="f128"/>
                </a:cxn>
                <a:cxn ang="f74">
                  <a:pos x="f129" y="f130"/>
                </a:cxn>
                <a:cxn ang="f74">
                  <a:pos x="f129" y="f131"/>
                </a:cxn>
                <a:cxn ang="f74">
                  <a:pos x="f132" y="f133"/>
                </a:cxn>
                <a:cxn ang="f74">
                  <a:pos x="f132" y="f134"/>
                </a:cxn>
                <a:cxn ang="f74">
                  <a:pos x="f135" y="f136"/>
                </a:cxn>
                <a:cxn ang="f74">
                  <a:pos x="f135" y="f137"/>
                </a:cxn>
                <a:cxn ang="f74">
                  <a:pos x="f138" y="f139"/>
                </a:cxn>
                <a:cxn ang="f74">
                  <a:pos x="f138" y="f139"/>
                </a:cxn>
                <a:cxn ang="f74">
                  <a:pos x="f121" y="f122"/>
                </a:cxn>
                <a:cxn ang="f74">
                  <a:pos x="f121" y="f122"/>
                </a:cxn>
                <a:cxn ang="f74">
                  <a:pos x="f121" y="f122"/>
                </a:cxn>
                <a:cxn ang="f74">
                  <a:pos x="f121" y="f122"/>
                </a:cxn>
              </a:cxnLst>
              <a:rect l="f117" t="f120" r="f118" b="f119"/>
              <a:pathLst>
                <a:path w="20" h="51">
                  <a:moveTo>
                    <a:pt x="f6" y="f5"/>
                  </a:moveTo>
                  <a:cubicBezTo>
                    <a:pt x="f8" y="f9"/>
                    <a:pt x="f10" y="f11"/>
                    <a:pt x="f5" y="f7"/>
                  </a:cubicBezTo>
                  <a:cubicBezTo>
                    <a:pt x="f5" y="f7"/>
                    <a:pt x="f5" y="f7"/>
                    <a:pt x="f5" y="f7"/>
                  </a:cubicBezTo>
                  <a:cubicBezTo>
                    <a:pt x="f12" y="f13"/>
                    <a:pt x="f12" y="f14"/>
                    <a:pt x="f12" y="f15"/>
                  </a:cubicBezTo>
                  <a:cubicBezTo>
                    <a:pt x="f16" y="f17"/>
                    <a:pt x="f16" y="f18"/>
                    <a:pt x="f16" y="f19"/>
                  </a:cubicBezTo>
                  <a:cubicBezTo>
                    <a:pt x="f20" y="f21"/>
                    <a:pt x="f20" y="f22"/>
                    <a:pt x="f10" y="f23"/>
                  </a:cubicBezTo>
                  <a:cubicBezTo>
                    <a:pt x="f10" y="f23"/>
                    <a:pt x="f10" y="f24"/>
                    <a:pt x="f10" y="f25"/>
                  </a:cubicBezTo>
                  <a:cubicBezTo>
                    <a:pt x="f26" y="f27"/>
                    <a:pt x="f28" y="f29"/>
                    <a:pt x="f30" y="f31"/>
                  </a:cubicBezTo>
                  <a:cubicBezTo>
                    <a:pt x="f30" y="f32"/>
                    <a:pt x="f30" y="f32"/>
                    <a:pt x="f30" y="f33"/>
                  </a:cubicBezTo>
                  <a:cubicBezTo>
                    <a:pt x="f34" y="f35"/>
                    <a:pt x="f36" y="f6"/>
                    <a:pt x="f37" y="f38"/>
                  </a:cubicBezTo>
                  <a:cubicBezTo>
                    <a:pt x="f37" y="f39"/>
                    <a:pt x="f37" y="f39"/>
                    <a:pt x="f37" y="f39"/>
                  </a:cubicBezTo>
                  <a:cubicBezTo>
                    <a:pt x="f40" y="f41"/>
                    <a:pt x="f41" y="f37"/>
                    <a:pt x="f42" y="f34"/>
                  </a:cubicBezTo>
                  <a:cubicBezTo>
                    <a:pt x="f42" y="f34"/>
                    <a:pt x="f42" y="f34"/>
                    <a:pt x="f42" y="f34"/>
                  </a:cubicBezTo>
                  <a:cubicBezTo>
                    <a:pt x="f39" y="f26"/>
                    <a:pt x="f38" y="f20"/>
                    <a:pt x="f6" y="f5"/>
                  </a:cubicBezTo>
                  <a:moveTo>
                    <a:pt x="f6" y="f5"/>
                  </a:moveTo>
                  <a:cubicBezTo>
                    <a:pt x="f6" y="f5"/>
                    <a:pt x="f6" y="f5"/>
                    <a:pt x="f6" y="f5"/>
                  </a:cubicBezTo>
                  <a:cubicBezTo>
                    <a:pt x="f6" y="f5"/>
                    <a:pt x="f6" y="f5"/>
                    <a:pt x="f6" y="f5"/>
                  </a:cubicBez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5" name="Rectangle 14">
              <a:extLst>
                <a:ext uri="{FF2B5EF4-FFF2-40B4-BE49-F238E27FC236}">
                  <a16:creationId xmlns:a16="http://schemas.microsoft.com/office/drawing/2014/main" id="{5CE683C6-2A50-44D4-BB44-00BB1AA7DB17}"/>
                </a:ext>
              </a:extLst>
            </p:cNvPr>
            <p:cNvSpPr/>
            <p:nvPr/>
          </p:nvSpPr>
          <p:spPr>
            <a:xfrm>
              <a:off x="2923291" y="4354619"/>
              <a:ext cx="987552" cy="2138873"/>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6" name="Rectangle 15">
              <a:extLst>
                <a:ext uri="{FF2B5EF4-FFF2-40B4-BE49-F238E27FC236}">
                  <a16:creationId xmlns:a16="http://schemas.microsoft.com/office/drawing/2014/main" id="{28DFDBAA-94FA-4BF3-9561-AB9CF8BBDD1E}"/>
                </a:ext>
              </a:extLst>
            </p:cNvPr>
            <p:cNvSpPr/>
            <p:nvPr/>
          </p:nvSpPr>
          <p:spPr>
            <a:xfrm>
              <a:off x="2923291" y="4354619"/>
              <a:ext cx="987552" cy="2138873"/>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7" name="Rectangle 16">
              <a:extLst>
                <a:ext uri="{FF2B5EF4-FFF2-40B4-BE49-F238E27FC236}">
                  <a16:creationId xmlns:a16="http://schemas.microsoft.com/office/drawing/2014/main" id="{D82B0D10-DDFC-46E9-AF54-A1DC7C45F629}"/>
                </a:ext>
              </a:extLst>
            </p:cNvPr>
            <p:cNvSpPr/>
            <p:nvPr/>
          </p:nvSpPr>
          <p:spPr>
            <a:xfrm>
              <a:off x="3022567" y="5372328"/>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9" name="Rectangle 17">
              <a:extLst>
                <a:ext uri="{FF2B5EF4-FFF2-40B4-BE49-F238E27FC236}">
                  <a16:creationId xmlns:a16="http://schemas.microsoft.com/office/drawing/2014/main" id="{094ECE4C-31BF-4180-9CC8-D553B178373B}"/>
                </a:ext>
              </a:extLst>
            </p:cNvPr>
            <p:cNvSpPr/>
            <p:nvPr/>
          </p:nvSpPr>
          <p:spPr>
            <a:xfrm>
              <a:off x="3022567" y="5372328"/>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0" name="Rectangle 18">
              <a:extLst>
                <a:ext uri="{FF2B5EF4-FFF2-40B4-BE49-F238E27FC236}">
                  <a16:creationId xmlns:a16="http://schemas.microsoft.com/office/drawing/2014/main" id="{FFE4B54A-7665-4CAB-B456-7EBD80358BEA}"/>
                </a:ext>
              </a:extLst>
            </p:cNvPr>
            <p:cNvSpPr/>
            <p:nvPr/>
          </p:nvSpPr>
          <p:spPr>
            <a:xfrm>
              <a:off x="3022567" y="5594893"/>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1" name="Rectangle 19">
              <a:extLst>
                <a:ext uri="{FF2B5EF4-FFF2-40B4-BE49-F238E27FC236}">
                  <a16:creationId xmlns:a16="http://schemas.microsoft.com/office/drawing/2014/main" id="{000955AF-911F-4CF9-8AB9-7594A2BA8A2B}"/>
                </a:ext>
              </a:extLst>
            </p:cNvPr>
            <p:cNvSpPr/>
            <p:nvPr/>
          </p:nvSpPr>
          <p:spPr>
            <a:xfrm>
              <a:off x="3022567" y="5594893"/>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2" name="Rectangle 20">
              <a:extLst>
                <a:ext uri="{FF2B5EF4-FFF2-40B4-BE49-F238E27FC236}">
                  <a16:creationId xmlns:a16="http://schemas.microsoft.com/office/drawing/2014/main" id="{DD2B6364-02C0-4D67-8CBC-717D228C064E}"/>
                </a:ext>
              </a:extLst>
            </p:cNvPr>
            <p:cNvSpPr/>
            <p:nvPr/>
          </p:nvSpPr>
          <p:spPr>
            <a:xfrm>
              <a:off x="3022567" y="5815364"/>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3" name="Rectangle 21">
              <a:extLst>
                <a:ext uri="{FF2B5EF4-FFF2-40B4-BE49-F238E27FC236}">
                  <a16:creationId xmlns:a16="http://schemas.microsoft.com/office/drawing/2014/main" id="{FADF471B-E3DE-4EEC-A1D0-3C1BC4BCBE16}"/>
                </a:ext>
              </a:extLst>
            </p:cNvPr>
            <p:cNvSpPr/>
            <p:nvPr/>
          </p:nvSpPr>
          <p:spPr>
            <a:xfrm>
              <a:off x="3022567" y="5815364"/>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4" name="Rectangle 22">
              <a:extLst>
                <a:ext uri="{FF2B5EF4-FFF2-40B4-BE49-F238E27FC236}">
                  <a16:creationId xmlns:a16="http://schemas.microsoft.com/office/drawing/2014/main" id="{A17F1617-9A2C-4E75-B94D-F6511424B526}"/>
                </a:ext>
              </a:extLst>
            </p:cNvPr>
            <p:cNvSpPr/>
            <p:nvPr/>
          </p:nvSpPr>
          <p:spPr>
            <a:xfrm>
              <a:off x="3022567" y="6034783"/>
              <a:ext cx="794229"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5" name="Rectangle 23">
              <a:extLst>
                <a:ext uri="{FF2B5EF4-FFF2-40B4-BE49-F238E27FC236}">
                  <a16:creationId xmlns:a16="http://schemas.microsoft.com/office/drawing/2014/main" id="{24EE9B50-E51D-4241-AB4C-5889DCBC4527}"/>
                </a:ext>
              </a:extLst>
            </p:cNvPr>
            <p:cNvSpPr/>
            <p:nvPr/>
          </p:nvSpPr>
          <p:spPr>
            <a:xfrm>
              <a:off x="3022567" y="6034783"/>
              <a:ext cx="794229"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6" name="Rectangle 24">
              <a:extLst>
                <a:ext uri="{FF2B5EF4-FFF2-40B4-BE49-F238E27FC236}">
                  <a16:creationId xmlns:a16="http://schemas.microsoft.com/office/drawing/2014/main" id="{3700C4AC-6EFD-4AAD-8C41-2C091E2805E2}"/>
                </a:ext>
              </a:extLst>
            </p:cNvPr>
            <p:cNvSpPr/>
            <p:nvPr/>
          </p:nvSpPr>
          <p:spPr>
            <a:xfrm>
              <a:off x="3022567" y="4708830"/>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7" name="Rectangle 25">
              <a:extLst>
                <a:ext uri="{FF2B5EF4-FFF2-40B4-BE49-F238E27FC236}">
                  <a16:creationId xmlns:a16="http://schemas.microsoft.com/office/drawing/2014/main" id="{72FA9AB9-4C4A-4DF9-9B74-02C4EB8ABC6C}"/>
                </a:ext>
              </a:extLst>
            </p:cNvPr>
            <p:cNvSpPr/>
            <p:nvPr/>
          </p:nvSpPr>
          <p:spPr>
            <a:xfrm>
              <a:off x="3022567" y="4929301"/>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8" name="Rectangle 26">
              <a:extLst>
                <a:ext uri="{FF2B5EF4-FFF2-40B4-BE49-F238E27FC236}">
                  <a16:creationId xmlns:a16="http://schemas.microsoft.com/office/drawing/2014/main" id="{C497D51B-3D54-444B-B588-6D55F39233B3}"/>
                </a:ext>
              </a:extLst>
            </p:cNvPr>
            <p:cNvSpPr/>
            <p:nvPr/>
          </p:nvSpPr>
          <p:spPr>
            <a:xfrm>
              <a:off x="3022567" y="5151857"/>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9" name="Rectangle 27">
              <a:extLst>
                <a:ext uri="{FF2B5EF4-FFF2-40B4-BE49-F238E27FC236}">
                  <a16:creationId xmlns:a16="http://schemas.microsoft.com/office/drawing/2014/main" id="{AFC5B1D9-34DB-4FA1-8866-A56D8446B22C}"/>
                </a:ext>
              </a:extLst>
            </p:cNvPr>
            <p:cNvSpPr/>
            <p:nvPr/>
          </p:nvSpPr>
          <p:spPr>
            <a:xfrm>
              <a:off x="3022567" y="5151857"/>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0" name="Rectangle 28">
              <a:extLst>
                <a:ext uri="{FF2B5EF4-FFF2-40B4-BE49-F238E27FC236}">
                  <a16:creationId xmlns:a16="http://schemas.microsoft.com/office/drawing/2014/main" id="{CAB3A0F8-C825-4009-BED3-5BA6B76E8C48}"/>
                </a:ext>
              </a:extLst>
            </p:cNvPr>
            <p:cNvSpPr/>
            <p:nvPr/>
          </p:nvSpPr>
          <p:spPr>
            <a:xfrm>
              <a:off x="3022567" y="4488359"/>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1" name="Freeform 29">
              <a:extLst>
                <a:ext uri="{FF2B5EF4-FFF2-40B4-BE49-F238E27FC236}">
                  <a16:creationId xmlns:a16="http://schemas.microsoft.com/office/drawing/2014/main" id="{7349D185-028F-4F02-B904-EE8D446CA052}"/>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close/>
                </a:path>
              </a:pathLst>
            </a:custGeom>
            <a:solidFill>
              <a:srgbClr val="737373"/>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2" name="Freeform 30">
              <a:extLst>
                <a:ext uri="{FF2B5EF4-FFF2-40B4-BE49-F238E27FC236}">
                  <a16:creationId xmlns:a16="http://schemas.microsoft.com/office/drawing/2014/main" id="{9C13FC4B-7D6B-48A2-B0BE-7859BA6DA020}"/>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3" name="Rectangle 31">
              <a:extLst>
                <a:ext uri="{FF2B5EF4-FFF2-40B4-BE49-F238E27FC236}">
                  <a16:creationId xmlns:a16="http://schemas.microsoft.com/office/drawing/2014/main" id="{FE8F1F21-9AF2-452A-B34B-BCAC61EEADAD}"/>
                </a:ext>
              </a:extLst>
            </p:cNvPr>
            <p:cNvSpPr/>
            <p:nvPr/>
          </p:nvSpPr>
          <p:spPr>
            <a:xfrm>
              <a:off x="3022567" y="5372328"/>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4" name="Rectangle 32">
              <a:extLst>
                <a:ext uri="{FF2B5EF4-FFF2-40B4-BE49-F238E27FC236}">
                  <a16:creationId xmlns:a16="http://schemas.microsoft.com/office/drawing/2014/main" id="{FDBD6F5D-47B9-4BB9-94CE-CF4619592DA6}"/>
                </a:ext>
              </a:extLst>
            </p:cNvPr>
            <p:cNvSpPr/>
            <p:nvPr/>
          </p:nvSpPr>
          <p:spPr>
            <a:xfrm>
              <a:off x="3022567" y="5372328"/>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5" name="Rectangle 33">
              <a:extLst>
                <a:ext uri="{FF2B5EF4-FFF2-40B4-BE49-F238E27FC236}">
                  <a16:creationId xmlns:a16="http://schemas.microsoft.com/office/drawing/2014/main" id="{76AB2E2E-4836-4080-83D4-1081D7D22B71}"/>
                </a:ext>
              </a:extLst>
            </p:cNvPr>
            <p:cNvSpPr/>
            <p:nvPr/>
          </p:nvSpPr>
          <p:spPr>
            <a:xfrm>
              <a:off x="3022567" y="5594893"/>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6" name="Rectangle 34">
              <a:extLst>
                <a:ext uri="{FF2B5EF4-FFF2-40B4-BE49-F238E27FC236}">
                  <a16:creationId xmlns:a16="http://schemas.microsoft.com/office/drawing/2014/main" id="{C242694C-FC3C-4758-A12C-E7EAC288D434}"/>
                </a:ext>
              </a:extLst>
            </p:cNvPr>
            <p:cNvSpPr/>
            <p:nvPr/>
          </p:nvSpPr>
          <p:spPr>
            <a:xfrm>
              <a:off x="3022567" y="5594893"/>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7" name="Rectangle 35">
              <a:extLst>
                <a:ext uri="{FF2B5EF4-FFF2-40B4-BE49-F238E27FC236}">
                  <a16:creationId xmlns:a16="http://schemas.microsoft.com/office/drawing/2014/main" id="{028654F0-4EB0-49F4-82D9-FB6D0083FD3A}"/>
                </a:ext>
              </a:extLst>
            </p:cNvPr>
            <p:cNvSpPr/>
            <p:nvPr/>
          </p:nvSpPr>
          <p:spPr>
            <a:xfrm>
              <a:off x="3022567" y="5815364"/>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8" name="Rectangle 36">
              <a:extLst>
                <a:ext uri="{FF2B5EF4-FFF2-40B4-BE49-F238E27FC236}">
                  <a16:creationId xmlns:a16="http://schemas.microsoft.com/office/drawing/2014/main" id="{930341E6-5F7E-42BE-9F5F-DDB0E273FE73}"/>
                </a:ext>
              </a:extLst>
            </p:cNvPr>
            <p:cNvSpPr/>
            <p:nvPr/>
          </p:nvSpPr>
          <p:spPr>
            <a:xfrm>
              <a:off x="3022567" y="5815364"/>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9" name="Rectangle 37">
              <a:extLst>
                <a:ext uri="{FF2B5EF4-FFF2-40B4-BE49-F238E27FC236}">
                  <a16:creationId xmlns:a16="http://schemas.microsoft.com/office/drawing/2014/main" id="{D77EC475-9210-414E-82BD-9539E45BD9EE}"/>
                </a:ext>
              </a:extLst>
            </p:cNvPr>
            <p:cNvSpPr/>
            <p:nvPr/>
          </p:nvSpPr>
          <p:spPr>
            <a:xfrm>
              <a:off x="3022567" y="6034783"/>
              <a:ext cx="443090"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0" name="Rectangle 38">
              <a:extLst>
                <a:ext uri="{FF2B5EF4-FFF2-40B4-BE49-F238E27FC236}">
                  <a16:creationId xmlns:a16="http://schemas.microsoft.com/office/drawing/2014/main" id="{83E6B8B5-D65F-4DF5-B5F0-3347EFFACC2B}"/>
                </a:ext>
              </a:extLst>
            </p:cNvPr>
            <p:cNvSpPr/>
            <p:nvPr/>
          </p:nvSpPr>
          <p:spPr>
            <a:xfrm>
              <a:off x="3022567" y="6034783"/>
              <a:ext cx="443090"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1" name="Rectangle 39">
              <a:extLst>
                <a:ext uri="{FF2B5EF4-FFF2-40B4-BE49-F238E27FC236}">
                  <a16:creationId xmlns:a16="http://schemas.microsoft.com/office/drawing/2014/main" id="{4F208099-3878-4430-AC8B-4C59B11D3350}"/>
                </a:ext>
              </a:extLst>
            </p:cNvPr>
            <p:cNvSpPr/>
            <p:nvPr/>
          </p:nvSpPr>
          <p:spPr>
            <a:xfrm>
              <a:off x="3022567" y="5151857"/>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2" name="Rectangle 40">
              <a:extLst>
                <a:ext uri="{FF2B5EF4-FFF2-40B4-BE49-F238E27FC236}">
                  <a16:creationId xmlns:a16="http://schemas.microsoft.com/office/drawing/2014/main" id="{48C36B41-661F-4A20-B3C9-289690C75504}"/>
                </a:ext>
              </a:extLst>
            </p:cNvPr>
            <p:cNvSpPr/>
            <p:nvPr/>
          </p:nvSpPr>
          <p:spPr>
            <a:xfrm>
              <a:off x="3022567" y="5151857"/>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3" name="Rectangle 41">
              <a:extLst>
                <a:ext uri="{FF2B5EF4-FFF2-40B4-BE49-F238E27FC236}">
                  <a16:creationId xmlns:a16="http://schemas.microsoft.com/office/drawing/2014/main" id="{90653688-920A-460A-8C4C-0F1410C4186C}"/>
                </a:ext>
              </a:extLst>
            </p:cNvPr>
            <p:cNvSpPr/>
            <p:nvPr/>
          </p:nvSpPr>
          <p:spPr>
            <a:xfrm>
              <a:off x="2317171" y="5260534"/>
              <a:ext cx="987552" cy="1232958"/>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4" name="Rectangle 42">
              <a:extLst>
                <a:ext uri="{FF2B5EF4-FFF2-40B4-BE49-F238E27FC236}">
                  <a16:creationId xmlns:a16="http://schemas.microsoft.com/office/drawing/2014/main" id="{3EB3F3EF-783F-4DFE-9E52-6D3B9797C561}"/>
                </a:ext>
              </a:extLst>
            </p:cNvPr>
            <p:cNvSpPr/>
            <p:nvPr/>
          </p:nvSpPr>
          <p:spPr>
            <a:xfrm>
              <a:off x="2859539" y="6242718"/>
              <a:ext cx="128537"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5" name="Rectangle 43">
              <a:extLst>
                <a:ext uri="{FF2B5EF4-FFF2-40B4-BE49-F238E27FC236}">
                  <a16:creationId xmlns:a16="http://schemas.microsoft.com/office/drawing/2014/main" id="{14EB5398-DDE5-47A5-B23F-7DD1A86D5C8C}"/>
                </a:ext>
              </a:extLst>
            </p:cNvPr>
            <p:cNvSpPr/>
            <p:nvPr/>
          </p:nvSpPr>
          <p:spPr>
            <a:xfrm>
              <a:off x="2639040" y="6242718"/>
              <a:ext cx="125400"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6" name="Rectangle 44">
              <a:extLst>
                <a:ext uri="{FF2B5EF4-FFF2-40B4-BE49-F238E27FC236}">
                  <a16:creationId xmlns:a16="http://schemas.microsoft.com/office/drawing/2014/main" id="{55861878-48E4-4B30-A664-253D4CDE460C}"/>
                </a:ext>
              </a:extLst>
            </p:cNvPr>
            <p:cNvSpPr/>
            <p:nvPr/>
          </p:nvSpPr>
          <p:spPr>
            <a:xfrm>
              <a:off x="2415396" y="5372328"/>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7" name="Rectangle 45">
              <a:extLst>
                <a:ext uri="{FF2B5EF4-FFF2-40B4-BE49-F238E27FC236}">
                  <a16:creationId xmlns:a16="http://schemas.microsoft.com/office/drawing/2014/main" id="{EA40DF42-51D8-4FC4-A1E4-68F75EB6C075}"/>
                </a:ext>
              </a:extLst>
            </p:cNvPr>
            <p:cNvSpPr/>
            <p:nvPr/>
          </p:nvSpPr>
          <p:spPr>
            <a:xfrm>
              <a:off x="2415396" y="5594893"/>
              <a:ext cx="795271"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8" name="Rectangle 46">
              <a:extLst>
                <a:ext uri="{FF2B5EF4-FFF2-40B4-BE49-F238E27FC236}">
                  <a16:creationId xmlns:a16="http://schemas.microsoft.com/office/drawing/2014/main" id="{62E7E8C1-A552-48C0-9872-6311202B1BDF}"/>
                </a:ext>
              </a:extLst>
            </p:cNvPr>
            <p:cNvSpPr/>
            <p:nvPr/>
          </p:nvSpPr>
          <p:spPr>
            <a:xfrm>
              <a:off x="2415396" y="5815364"/>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9" name="Rectangle 47">
              <a:extLst>
                <a:ext uri="{FF2B5EF4-FFF2-40B4-BE49-F238E27FC236}">
                  <a16:creationId xmlns:a16="http://schemas.microsoft.com/office/drawing/2014/main" id="{6A967283-1D86-4BDB-B7A2-B1D76657E922}"/>
                </a:ext>
              </a:extLst>
            </p:cNvPr>
            <p:cNvSpPr/>
            <p:nvPr/>
          </p:nvSpPr>
          <p:spPr>
            <a:xfrm>
              <a:off x="2415396" y="6034783"/>
              <a:ext cx="795271"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grpSp>
      <p:sp>
        <p:nvSpPr>
          <p:cNvPr id="100" name="Text">
            <a:extLst>
              <a:ext uri="{FF2B5EF4-FFF2-40B4-BE49-F238E27FC236}">
                <a16:creationId xmlns:a16="http://schemas.microsoft.com/office/drawing/2014/main" id="{0FEA42DF-2ECE-40E7-91FA-E7926D386EAD}"/>
              </a:ext>
            </a:extLst>
          </p:cNvPr>
          <p:cNvSpPr/>
          <p:nvPr/>
        </p:nvSpPr>
        <p:spPr>
          <a:xfrm>
            <a:off x="8092612" y="5370690"/>
            <a:ext cx="1508183" cy="470693"/>
          </a:xfrm>
          <a:prstGeom prst="rect">
            <a:avLst/>
          </a:prstGeom>
        </p:spPr>
        <p:txBody>
          <a:bodyPr wrap="square">
            <a:spAutoFit/>
          </a:bodyPr>
          <a:lstStyle/>
          <a:p>
            <a:pPr marL="0" marR="0" lvl="0" indent="0" algn="ctr" defTabSz="896182"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Semilight"/>
                <a:ea typeface="+mn-ea"/>
                <a:cs typeface="+mn-cs"/>
              </a:rPr>
              <a:t>Windows Server Active Directory</a:t>
            </a:r>
          </a:p>
        </p:txBody>
      </p:sp>
      <p:sp>
        <p:nvSpPr>
          <p:cNvPr id="102" name="Text">
            <a:extLst>
              <a:ext uri="{FF2B5EF4-FFF2-40B4-BE49-F238E27FC236}">
                <a16:creationId xmlns:a16="http://schemas.microsoft.com/office/drawing/2014/main" id="{B076E29C-D61C-4B55-B23C-97686C140BF2}"/>
              </a:ext>
            </a:extLst>
          </p:cNvPr>
          <p:cNvSpPr/>
          <p:nvPr/>
        </p:nvSpPr>
        <p:spPr>
          <a:xfrm>
            <a:off x="8011558" y="6038676"/>
            <a:ext cx="2365757" cy="267028"/>
          </a:xfrm>
          <a:prstGeom prst="rect">
            <a:avLst/>
          </a:prstGeom>
        </p:spPr>
        <p:txBody>
          <a:bodyPr wrap="square">
            <a:spAutoFit/>
          </a:bodyPr>
          <a:lstStyle/>
          <a:p>
            <a:pPr marL="0" marR="0" lvl="0" indent="0" algn="l" defTabSz="896182" rtl="0" eaLnBrk="1" fontAlgn="auto" latinLnBrk="0" hangingPunct="1">
              <a:lnSpc>
                <a:spcPct val="90000"/>
              </a:lnSpc>
              <a:spcBef>
                <a:spcPts val="0"/>
              </a:spcBef>
              <a:spcAft>
                <a:spcPts val="0"/>
              </a:spcAft>
              <a:buClrTx/>
              <a:buSzTx/>
              <a:buFontTx/>
              <a:buNone/>
              <a:tabLst/>
              <a:defRPr/>
            </a:pPr>
            <a:r>
              <a:rPr kumimoji="0" lang="en-US" sz="1274" b="0" i="0" u="none" strike="noStrike" kern="0" cap="none" spc="0" normalizeH="0" baseline="0" noProof="0" dirty="0">
                <a:ln>
                  <a:noFill/>
                </a:ln>
                <a:solidFill>
                  <a:srgbClr val="000000"/>
                </a:solidFill>
                <a:effectLst/>
                <a:uLnTx/>
                <a:uFillTx/>
                <a:latin typeface="Segoe UI Semilight"/>
                <a:ea typeface="+mn-ea"/>
                <a:cs typeface="+mn-cs"/>
              </a:rPr>
              <a:t>On-premises / Private cloud </a:t>
            </a:r>
          </a:p>
        </p:txBody>
      </p:sp>
    </p:spTree>
    <p:extLst>
      <p:ext uri="{BB962C8B-B14F-4D97-AF65-F5344CB8AC3E}">
        <p14:creationId xmlns:p14="http://schemas.microsoft.com/office/powerpoint/2010/main" val="3033409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03"/>
                                        </p:tgtEl>
                                        <p:attrNameLst>
                                          <p:attrName>style.visibility</p:attrName>
                                        </p:attrNameLst>
                                      </p:cBhvr>
                                      <p:to>
                                        <p:strVal val="visible"/>
                                      </p:to>
                                    </p:set>
                                    <p:animEffect transition="in" filter="wipe(up)">
                                      <p:cBhvr>
                                        <p:cTn id="7" dur="500"/>
                                        <p:tgtEl>
                                          <p:spTgt spid="20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04"/>
                                        </p:tgtEl>
                                        <p:attrNameLst>
                                          <p:attrName>style.visibility</p:attrName>
                                        </p:attrNameLst>
                                      </p:cBhvr>
                                      <p:to>
                                        <p:strVal val="visible"/>
                                      </p:to>
                                    </p:set>
                                    <p:animEffect transition="in" filter="fade">
                                      <p:cBhvr>
                                        <p:cTn id="10" dur="500"/>
                                        <p:tgtEl>
                                          <p:spTgt spid="2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p:txBody>
          <a:bodyPr/>
          <a:lstStyle/>
          <a:p>
            <a:r>
              <a:rPr lang="en-US" dirty="0"/>
              <a:t>Azure AD B2B</a:t>
            </a:r>
            <a:br>
              <a:rPr lang="en-US" dirty="0"/>
            </a:br>
            <a:r>
              <a:rPr lang="en-US" dirty="0"/>
              <a:t>Azure AD B2C</a:t>
            </a:r>
          </a:p>
        </p:txBody>
      </p:sp>
    </p:spTree>
    <p:extLst>
      <p:ext uri="{BB962C8B-B14F-4D97-AF65-F5344CB8AC3E}">
        <p14:creationId xmlns:p14="http://schemas.microsoft.com/office/powerpoint/2010/main" val="94914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Azure Active Directory B2B collaboration</a:t>
            </a:r>
          </a:p>
        </p:txBody>
      </p:sp>
      <p:grpSp>
        <p:nvGrpSpPr>
          <p:cNvPr id="165" name="Group 164"/>
          <p:cNvGrpSpPr/>
          <p:nvPr/>
        </p:nvGrpSpPr>
        <p:grpSpPr>
          <a:xfrm>
            <a:off x="12496800" y="2127725"/>
            <a:ext cx="687777" cy="1131486"/>
            <a:chOff x="10877106" y="4429151"/>
            <a:chExt cx="1559369" cy="2565374"/>
          </a:xfrm>
          <a:solidFill>
            <a:schemeClr val="bg1">
              <a:alpha val="20000"/>
            </a:schemeClr>
          </a:solidFill>
        </p:grpSpPr>
        <p:grpSp>
          <p:nvGrpSpPr>
            <p:cNvPr id="166" name="Group 165"/>
            <p:cNvGrpSpPr>
              <a:grpSpLocks noChangeAspect="1"/>
            </p:cNvGrpSpPr>
            <p:nvPr/>
          </p:nvGrpSpPr>
          <p:grpSpPr>
            <a:xfrm>
              <a:off x="11581350" y="4429151"/>
              <a:ext cx="855125" cy="2565374"/>
              <a:chOff x="11631239" y="4516235"/>
              <a:chExt cx="826097" cy="2478290"/>
            </a:xfrm>
            <a:grpFill/>
          </p:grpSpPr>
          <p:sp>
            <p:nvSpPr>
              <p:cNvPr id="179" name="Rectangle 178"/>
              <p:cNvSpPr>
                <a:spLocks noChangeAspect="1"/>
              </p:cNvSpPr>
              <p:nvPr/>
            </p:nvSpPr>
            <p:spPr bwMode="auto">
              <a:xfrm>
                <a:off x="11631239" y="4516235"/>
                <a:ext cx="826097" cy="247829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81" name="Group 180"/>
              <p:cNvGrpSpPr>
                <a:grpSpLocks noChangeAspect="1"/>
              </p:cNvGrpSpPr>
              <p:nvPr/>
            </p:nvGrpSpPr>
            <p:grpSpPr>
              <a:xfrm>
                <a:off x="11764517" y="4724808"/>
                <a:ext cx="559540" cy="1832354"/>
                <a:chOff x="11768846" y="4705243"/>
                <a:chExt cx="559540" cy="1832354"/>
              </a:xfrm>
              <a:grpFill/>
            </p:grpSpPr>
            <p:sp>
              <p:nvSpPr>
                <p:cNvPr id="182" name="Rectangle 181"/>
                <p:cNvSpPr/>
                <p:nvPr/>
              </p:nvSpPr>
              <p:spPr bwMode="auto">
                <a:xfrm>
                  <a:off x="11768846" y="4705243"/>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4" name="Rectangle 183"/>
                <p:cNvSpPr/>
                <p:nvPr/>
              </p:nvSpPr>
              <p:spPr bwMode="auto">
                <a:xfrm>
                  <a:off x="11768846" y="5025994"/>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6" name="Rectangle 185"/>
                <p:cNvSpPr/>
                <p:nvPr/>
              </p:nvSpPr>
              <p:spPr bwMode="auto">
                <a:xfrm>
                  <a:off x="11768846" y="5346745"/>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7" name="Rectangle 186"/>
                <p:cNvSpPr/>
                <p:nvPr/>
              </p:nvSpPr>
              <p:spPr bwMode="auto">
                <a:xfrm>
                  <a:off x="11768846" y="5667496"/>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8" name="Rectangle 187"/>
                <p:cNvSpPr/>
                <p:nvPr/>
              </p:nvSpPr>
              <p:spPr bwMode="auto">
                <a:xfrm>
                  <a:off x="11768846" y="5988247"/>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0" name="Rectangle 189"/>
                <p:cNvSpPr/>
                <p:nvPr/>
              </p:nvSpPr>
              <p:spPr bwMode="auto">
                <a:xfrm>
                  <a:off x="11768846" y="6308997"/>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2" name="Rectangle 191"/>
                <p:cNvSpPr/>
                <p:nvPr/>
              </p:nvSpPr>
              <p:spPr bwMode="auto">
                <a:xfrm>
                  <a:off x="12099786" y="4705243"/>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3" name="Rectangle 192"/>
                <p:cNvSpPr/>
                <p:nvPr/>
              </p:nvSpPr>
              <p:spPr bwMode="auto">
                <a:xfrm>
                  <a:off x="12099786" y="5025994"/>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4" name="Rectangle 193"/>
                <p:cNvSpPr/>
                <p:nvPr/>
              </p:nvSpPr>
              <p:spPr bwMode="auto">
                <a:xfrm>
                  <a:off x="12099786" y="5346745"/>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5" name="Rectangle 194"/>
                <p:cNvSpPr/>
                <p:nvPr/>
              </p:nvSpPr>
              <p:spPr bwMode="auto">
                <a:xfrm>
                  <a:off x="12099786" y="5667496"/>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6" name="Rectangle 195"/>
                <p:cNvSpPr/>
                <p:nvPr/>
              </p:nvSpPr>
              <p:spPr bwMode="auto">
                <a:xfrm>
                  <a:off x="12099786" y="5988247"/>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7" name="Rectangle 196"/>
                <p:cNvSpPr/>
                <p:nvPr/>
              </p:nvSpPr>
              <p:spPr bwMode="auto">
                <a:xfrm>
                  <a:off x="12099786" y="6308997"/>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167" name="Group 166"/>
            <p:cNvGrpSpPr>
              <a:grpSpLocks noChangeAspect="1"/>
            </p:cNvGrpSpPr>
            <p:nvPr/>
          </p:nvGrpSpPr>
          <p:grpSpPr>
            <a:xfrm>
              <a:off x="10877106" y="4617085"/>
              <a:ext cx="648393" cy="2377440"/>
              <a:chOff x="10857650" y="4479925"/>
              <a:chExt cx="685800" cy="2514600"/>
            </a:xfrm>
            <a:grpFill/>
          </p:grpSpPr>
          <p:sp>
            <p:nvSpPr>
              <p:cNvPr id="168" name="Freeform: Shape 167"/>
              <p:cNvSpPr>
                <a:spLocks/>
              </p:cNvSpPr>
              <p:nvPr/>
            </p:nvSpPr>
            <p:spPr bwMode="auto">
              <a:xfrm>
                <a:off x="10857650" y="4479925"/>
                <a:ext cx="685800" cy="2514600"/>
              </a:xfrm>
              <a:custGeom>
                <a:avLst/>
                <a:gdLst>
                  <a:gd name="connsiteX0" fmla="*/ 293914 w 685800"/>
                  <a:gd name="connsiteY0" fmla="*/ 0 h 2514600"/>
                  <a:gd name="connsiteX1" fmla="*/ 391885 w 685800"/>
                  <a:gd name="connsiteY1" fmla="*/ 0 h 2514600"/>
                  <a:gd name="connsiteX2" fmla="*/ 391885 w 685800"/>
                  <a:gd name="connsiteY2" fmla="*/ 228599 h 2514600"/>
                  <a:gd name="connsiteX3" fmla="*/ 489857 w 685800"/>
                  <a:gd name="connsiteY3" fmla="*/ 228599 h 2514600"/>
                  <a:gd name="connsiteX4" fmla="*/ 489857 w 685800"/>
                  <a:gd name="connsiteY4" fmla="*/ 457199 h 2514600"/>
                  <a:gd name="connsiteX5" fmla="*/ 587828 w 685800"/>
                  <a:gd name="connsiteY5" fmla="*/ 457199 h 2514600"/>
                  <a:gd name="connsiteX6" fmla="*/ 587828 w 685800"/>
                  <a:gd name="connsiteY6" fmla="*/ 685799 h 2514600"/>
                  <a:gd name="connsiteX7" fmla="*/ 685800 w 685800"/>
                  <a:gd name="connsiteY7" fmla="*/ 685799 h 2514600"/>
                  <a:gd name="connsiteX8" fmla="*/ 685800 w 685800"/>
                  <a:gd name="connsiteY8" fmla="*/ 2514599 h 2514600"/>
                  <a:gd name="connsiteX9" fmla="*/ 587828 w 685800"/>
                  <a:gd name="connsiteY9" fmla="*/ 2514599 h 2514600"/>
                  <a:gd name="connsiteX10" fmla="*/ 489857 w 685800"/>
                  <a:gd name="connsiteY10" fmla="*/ 2514599 h 2514600"/>
                  <a:gd name="connsiteX11" fmla="*/ 391885 w 685800"/>
                  <a:gd name="connsiteY11" fmla="*/ 2514599 h 2514600"/>
                  <a:gd name="connsiteX12" fmla="*/ 391885 w 685800"/>
                  <a:gd name="connsiteY12" fmla="*/ 2514600 h 2514600"/>
                  <a:gd name="connsiteX13" fmla="*/ 293914 w 685800"/>
                  <a:gd name="connsiteY13" fmla="*/ 2514600 h 2514600"/>
                  <a:gd name="connsiteX14" fmla="*/ 293914 w 685800"/>
                  <a:gd name="connsiteY14" fmla="*/ 2514599 h 2514600"/>
                  <a:gd name="connsiteX15" fmla="*/ 195943 w 685800"/>
                  <a:gd name="connsiteY15" fmla="*/ 2514599 h 2514600"/>
                  <a:gd name="connsiteX16" fmla="*/ 97971 w 685800"/>
                  <a:gd name="connsiteY16" fmla="*/ 2514599 h 2514600"/>
                  <a:gd name="connsiteX17" fmla="*/ 0 w 685800"/>
                  <a:gd name="connsiteY17" fmla="*/ 2514599 h 2514600"/>
                  <a:gd name="connsiteX18" fmla="*/ 0 w 685800"/>
                  <a:gd name="connsiteY18" fmla="*/ 685799 h 2514600"/>
                  <a:gd name="connsiteX19" fmla="*/ 97971 w 685800"/>
                  <a:gd name="connsiteY19" fmla="*/ 685799 h 2514600"/>
                  <a:gd name="connsiteX20" fmla="*/ 97971 w 685800"/>
                  <a:gd name="connsiteY20" fmla="*/ 457199 h 2514600"/>
                  <a:gd name="connsiteX21" fmla="*/ 195943 w 685800"/>
                  <a:gd name="connsiteY21" fmla="*/ 457199 h 2514600"/>
                  <a:gd name="connsiteX22" fmla="*/ 195943 w 685800"/>
                  <a:gd name="connsiteY22" fmla="*/ 228599 h 2514600"/>
                  <a:gd name="connsiteX23" fmla="*/ 293914 w 685800"/>
                  <a:gd name="connsiteY23" fmla="*/ 228599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800" h="2514600">
                    <a:moveTo>
                      <a:pt x="293914" y="0"/>
                    </a:moveTo>
                    <a:lnTo>
                      <a:pt x="391885" y="0"/>
                    </a:lnTo>
                    <a:lnTo>
                      <a:pt x="391885" y="228599"/>
                    </a:lnTo>
                    <a:lnTo>
                      <a:pt x="489857" y="228599"/>
                    </a:lnTo>
                    <a:lnTo>
                      <a:pt x="489857" y="457199"/>
                    </a:lnTo>
                    <a:lnTo>
                      <a:pt x="587828" y="457199"/>
                    </a:lnTo>
                    <a:lnTo>
                      <a:pt x="587828" y="685799"/>
                    </a:lnTo>
                    <a:lnTo>
                      <a:pt x="685800" y="685799"/>
                    </a:lnTo>
                    <a:lnTo>
                      <a:pt x="685800" y="2514599"/>
                    </a:lnTo>
                    <a:lnTo>
                      <a:pt x="587828" y="2514599"/>
                    </a:lnTo>
                    <a:lnTo>
                      <a:pt x="489857" y="2514599"/>
                    </a:lnTo>
                    <a:lnTo>
                      <a:pt x="391885" y="2514599"/>
                    </a:lnTo>
                    <a:lnTo>
                      <a:pt x="391885" y="2514600"/>
                    </a:lnTo>
                    <a:lnTo>
                      <a:pt x="293914" y="2514600"/>
                    </a:lnTo>
                    <a:lnTo>
                      <a:pt x="293914" y="2514599"/>
                    </a:lnTo>
                    <a:lnTo>
                      <a:pt x="195943" y="2514599"/>
                    </a:lnTo>
                    <a:lnTo>
                      <a:pt x="97971" y="2514599"/>
                    </a:lnTo>
                    <a:lnTo>
                      <a:pt x="0" y="2514599"/>
                    </a:lnTo>
                    <a:lnTo>
                      <a:pt x="0" y="685799"/>
                    </a:lnTo>
                    <a:lnTo>
                      <a:pt x="97971" y="685799"/>
                    </a:lnTo>
                    <a:lnTo>
                      <a:pt x="97971" y="457199"/>
                    </a:lnTo>
                    <a:lnTo>
                      <a:pt x="195943" y="457199"/>
                    </a:lnTo>
                    <a:lnTo>
                      <a:pt x="195943" y="228599"/>
                    </a:lnTo>
                    <a:lnTo>
                      <a:pt x="293914" y="228599"/>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0" name="Rectangle 169"/>
              <p:cNvSpPr/>
              <p:nvPr/>
            </p:nvSpPr>
            <p:spPr bwMode="auto">
              <a:xfrm>
                <a:off x="10920781" y="5798634"/>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Rectangle 172"/>
              <p:cNvSpPr/>
              <p:nvPr/>
            </p:nvSpPr>
            <p:spPr bwMode="auto">
              <a:xfrm>
                <a:off x="11251721" y="5477883"/>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Rectangle 175"/>
              <p:cNvSpPr/>
              <p:nvPr/>
            </p:nvSpPr>
            <p:spPr bwMode="auto">
              <a:xfrm>
                <a:off x="11251721" y="6119385"/>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118" name="Rectangle 117"/>
          <p:cNvSpPr/>
          <p:nvPr/>
        </p:nvSpPr>
        <p:spPr>
          <a:xfrm>
            <a:off x="170305" y="1696967"/>
            <a:ext cx="4434840" cy="1585483"/>
          </a:xfrm>
          <a:prstGeom prst="rect">
            <a:avLst/>
          </a:prstGeom>
        </p:spPr>
        <p:txBody>
          <a:bodyPr wrap="square" lIns="179285" tIns="179285" rIns="179285" bIns="179285">
            <a:spAutoFit/>
          </a:bodyPr>
          <a:lstStyle/>
          <a:p>
            <a:pPr marL="0" marR="0" lvl="0" indent="0" algn="l" defTabSz="914225" rtl="0" eaLnBrk="1" fontAlgn="auto" latinLnBrk="0" hangingPunct="1">
              <a:lnSpc>
                <a:spcPct val="100000"/>
              </a:lnSpc>
              <a:spcBef>
                <a:spcPts val="0"/>
              </a:spcBef>
              <a:spcAft>
                <a:spcPts val="900"/>
              </a:spcAft>
              <a:buClrTx/>
              <a:buSzTx/>
              <a:buFontTx/>
              <a:buNone/>
              <a:tabLst/>
              <a:defRPr/>
            </a:pPr>
            <a:r>
              <a:rPr kumimoji="0" lang="en-US" sz="2000" b="0" i="0" u="none" strike="noStrike" kern="0" cap="none" spc="-5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Work with any user from any partner</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Partners use their own credentials</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No requirement for partners to use Azure AD</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No external directories or complex set-up required</a:t>
            </a:r>
            <a:endParaRPr kumimoji="0" lang="en-US" sz="14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119" name="Rectangle 118"/>
          <p:cNvSpPr/>
          <p:nvPr/>
        </p:nvSpPr>
        <p:spPr>
          <a:xfrm>
            <a:off x="170306" y="3329046"/>
            <a:ext cx="4434840" cy="1585483"/>
          </a:xfrm>
          <a:prstGeom prst="rect">
            <a:avLst/>
          </a:prstGeom>
        </p:spPr>
        <p:txBody>
          <a:bodyPr wrap="square" lIns="179285" tIns="179285" rIns="179285" bIns="179285">
            <a:spAutoFit/>
          </a:bodyPr>
          <a:lstStyle/>
          <a:p>
            <a:pPr marL="0" marR="0" lvl="0" indent="0" algn="l" defTabSz="914225" rtl="0" eaLnBrk="1" fontAlgn="auto" latinLnBrk="0" hangingPunct="1">
              <a:lnSpc>
                <a:spcPct val="100000"/>
              </a:lnSpc>
              <a:spcBef>
                <a:spcPts val="0"/>
              </a:spcBef>
              <a:spcAft>
                <a:spcPts val="900"/>
              </a:spcAft>
              <a:buClrTx/>
              <a:buSzTx/>
              <a:buFontTx/>
              <a:buNone/>
              <a:tabLst/>
              <a:defRPr/>
            </a:pPr>
            <a:r>
              <a:rPr kumimoji="0" lang="en-US" sz="2000" b="0" i="0" u="none" strike="noStrike" kern="0" cap="none" spc="-5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mple and secure collaboration</a:t>
            </a: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Provide access to any corporate app or data</a:t>
            </a: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Seamless user experiences</a:t>
            </a: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Enterprise-grade security for apps and data</a:t>
            </a:r>
          </a:p>
        </p:txBody>
      </p:sp>
      <p:sp>
        <p:nvSpPr>
          <p:cNvPr id="120" name="Rectangle 119"/>
          <p:cNvSpPr/>
          <p:nvPr/>
        </p:nvSpPr>
        <p:spPr>
          <a:xfrm>
            <a:off x="170306" y="4961126"/>
            <a:ext cx="4434840" cy="1585483"/>
          </a:xfrm>
          <a:prstGeom prst="rect">
            <a:avLst/>
          </a:prstGeom>
        </p:spPr>
        <p:txBody>
          <a:bodyPr wrap="square" lIns="179285" tIns="179285" rIns="179285" bIns="179285">
            <a:spAutoFit/>
          </a:bodyPr>
          <a:lstStyle/>
          <a:p>
            <a:pPr marL="0" marR="0" lvl="0" indent="0" algn="l" defTabSz="914225" rtl="0" eaLnBrk="1" fontAlgn="auto" latinLnBrk="0" hangingPunct="1">
              <a:lnSpc>
                <a:spcPct val="100000"/>
              </a:lnSpc>
              <a:spcBef>
                <a:spcPts val="0"/>
              </a:spcBef>
              <a:spcAft>
                <a:spcPts val="900"/>
              </a:spcAft>
              <a:buClrTx/>
              <a:buSzTx/>
              <a:buFontTx/>
              <a:buNone/>
              <a:tabLst/>
              <a:defRPr/>
            </a:pPr>
            <a:r>
              <a:rPr kumimoji="0" lang="en-US" sz="2000" b="0" i="0" u="none" strike="noStrike" kern="0" cap="none" spc="-5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No management overhead</a:t>
            </a:r>
            <a:endParaRPr kumimoji="0" lang="en-US" sz="2000" b="0" i="0" u="none" strike="noStrike" kern="0" cap="none" spc="-5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No external account or password management</a:t>
            </a: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No sync or manual account lifecycle management</a:t>
            </a: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No external administrative overhead</a:t>
            </a:r>
            <a:endParaRPr kumimoji="0" lang="en-US" sz="14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grpSp>
        <p:nvGrpSpPr>
          <p:cNvPr id="121" name="Group 120"/>
          <p:cNvGrpSpPr/>
          <p:nvPr/>
        </p:nvGrpSpPr>
        <p:grpSpPr>
          <a:xfrm>
            <a:off x="5049526" y="3493403"/>
            <a:ext cx="6858000" cy="1600200"/>
            <a:chOff x="5049526" y="3234978"/>
            <a:chExt cx="6858000" cy="1600200"/>
          </a:xfrm>
        </p:grpSpPr>
        <p:sp>
          <p:nvSpPr>
            <p:cNvPr id="122" name="Rectangle 121"/>
            <p:cNvSpPr/>
            <p:nvPr/>
          </p:nvSpPr>
          <p:spPr bwMode="auto">
            <a:xfrm>
              <a:off x="5049526" y="3234978"/>
              <a:ext cx="6858000" cy="1600200"/>
            </a:xfrm>
            <a:prstGeom prst="rect">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Azure</a:t>
              </a:r>
              <a:br>
                <a:rPr kumimoji="0" lang="en-US" sz="16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br>
              <a:r>
                <a:rPr kumimoji="0" lang="en-US" sz="16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Active Directory</a:t>
              </a:r>
            </a:p>
          </p:txBody>
        </p:sp>
        <p:pic>
          <p:nvPicPr>
            <p:cNvPr id="123" name="Picture 1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07787" y="3431761"/>
              <a:ext cx="893196" cy="885811"/>
            </a:xfrm>
            <a:prstGeom prst="rect">
              <a:avLst/>
            </a:prstGeom>
          </p:spPr>
        </p:pic>
      </p:grpSp>
      <p:graphicFrame>
        <p:nvGraphicFramePr>
          <p:cNvPr id="124" name="Table 123"/>
          <p:cNvGraphicFramePr>
            <a:graphicFrameLocks noGrp="1"/>
          </p:cNvGraphicFramePr>
          <p:nvPr>
            <p:extLst/>
          </p:nvPr>
        </p:nvGraphicFramePr>
        <p:xfrm>
          <a:off x="7045364" y="3589415"/>
          <a:ext cx="4689946" cy="1387793"/>
        </p:xfrm>
        <a:graphic>
          <a:graphicData uri="http://schemas.openxmlformats.org/drawingml/2006/table">
            <a:tbl>
              <a:tblPr firstRow="1" bandRow="1">
                <a:tableStyleId>{2D5ABB26-0587-4C30-8999-92F81FD0307C}</a:tableStyleId>
              </a:tblPr>
              <a:tblGrid>
                <a:gridCol w="1558352">
                  <a:extLst>
                    <a:ext uri="{9D8B030D-6E8A-4147-A177-3AD203B41FA5}">
                      <a16:colId xmlns:a16="http://schemas.microsoft.com/office/drawing/2014/main" val="350791567"/>
                    </a:ext>
                  </a:extLst>
                </a:gridCol>
                <a:gridCol w="3131594">
                  <a:extLst>
                    <a:ext uri="{9D8B030D-6E8A-4147-A177-3AD203B41FA5}">
                      <a16:colId xmlns:a16="http://schemas.microsoft.com/office/drawing/2014/main" val="3834298023"/>
                    </a:ext>
                  </a:extLst>
                </a:gridCol>
              </a:tblGrid>
              <a:tr h="370840">
                <a:tc>
                  <a:txBody>
                    <a:bodyPr/>
                    <a:lstStyle/>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Directory Services</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User Management</a:t>
                      </a:r>
                      <a:endParaRPr lang="en-US" sz="1200" spc="0" baseline="0" dirty="0"/>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Identity protection</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Conditional access</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Application proxy</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App integration</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Federation Services</a:t>
                      </a:r>
                      <a:endParaRPr lang="en-US" sz="1200" spc="0" baseline="0" dirty="0"/>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Authentication Services</a:t>
                      </a:r>
                      <a:endParaRPr lang="en-US" sz="1200" spc="0" baseline="0" dirty="0"/>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Multi-factor authentication</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Self-service password reset </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Role-based access control</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Identity governance &amp; role management</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0809438"/>
                  </a:ext>
                </a:extLst>
              </a:tr>
            </a:tbl>
          </a:graphicData>
        </a:graphic>
      </p:graphicFrame>
      <p:sp>
        <p:nvSpPr>
          <p:cNvPr id="126" name="Rectangle 125"/>
          <p:cNvSpPr/>
          <p:nvPr/>
        </p:nvSpPr>
        <p:spPr bwMode="auto">
          <a:xfrm>
            <a:off x="5049526" y="5214753"/>
            <a:ext cx="6858000" cy="1143000"/>
          </a:xfrm>
          <a:prstGeom prst="rect">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Any</a:t>
            </a:r>
            <a:br>
              <a:rPr kumimoji="0" lang="en-US" sz="18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br>
            <a:r>
              <a:rPr kumimoji="0" lang="en-US" sz="18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users</a:t>
            </a:r>
          </a:p>
        </p:txBody>
      </p:sp>
      <p:sp>
        <p:nvSpPr>
          <p:cNvPr id="147" name="Rectangle 146"/>
          <p:cNvSpPr/>
          <p:nvPr/>
        </p:nvSpPr>
        <p:spPr bwMode="auto">
          <a:xfrm>
            <a:off x="5048255" y="377492"/>
            <a:ext cx="4309870" cy="3017520"/>
          </a:xfrm>
          <a:prstGeom prst="rect">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2,800+ Azure AD integrated SaaS apps</a:t>
            </a:r>
          </a:p>
        </p:txBody>
      </p:sp>
      <p:grpSp>
        <p:nvGrpSpPr>
          <p:cNvPr id="148" name="Group 147"/>
          <p:cNvGrpSpPr/>
          <p:nvPr/>
        </p:nvGrpSpPr>
        <p:grpSpPr>
          <a:xfrm>
            <a:off x="5153005" y="479092"/>
            <a:ext cx="4100370" cy="2440748"/>
            <a:chOff x="2254250" y="1471013"/>
            <a:chExt cx="4100370" cy="2440748"/>
          </a:xfrm>
        </p:grpSpPr>
        <p:grpSp>
          <p:nvGrpSpPr>
            <p:cNvPr id="149" name="Group 148"/>
            <p:cNvGrpSpPr/>
            <p:nvPr/>
          </p:nvGrpSpPr>
          <p:grpSpPr>
            <a:xfrm>
              <a:off x="2254250" y="1471013"/>
              <a:ext cx="1617552" cy="2440748"/>
              <a:chOff x="3230129" y="4669935"/>
              <a:chExt cx="1617552" cy="2440748"/>
            </a:xfrm>
          </p:grpSpPr>
          <p:pic>
            <p:nvPicPr>
              <p:cNvPr id="264" name="Picture 8" descr="https://az495088.vo.msecnd.net/app-logo/sharepoint_215.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0129" y="4669935"/>
                <a:ext cx="786385" cy="786384"/>
              </a:xfrm>
              <a:prstGeom prst="rect">
                <a:avLst/>
              </a:prstGeom>
              <a:noFill/>
              <a:extLst>
                <a:ext uri="{909E8E84-426E-40DD-AFC4-6F175D3DCCD1}">
                  <a14:hiddenFill xmlns:a14="http://schemas.microsoft.com/office/drawing/2010/main">
                    <a:solidFill>
                      <a:srgbClr val="FFFFFF"/>
                    </a:solidFill>
                  </a14:hiddenFill>
                </a:ext>
              </a:extLst>
            </p:spPr>
          </p:pic>
          <p:grpSp>
            <p:nvGrpSpPr>
              <p:cNvPr id="265" name="Group 264"/>
              <p:cNvGrpSpPr>
                <a:grpSpLocks noChangeAspect="1"/>
              </p:cNvGrpSpPr>
              <p:nvPr/>
            </p:nvGrpSpPr>
            <p:grpSpPr>
              <a:xfrm>
                <a:off x="4061296" y="5497117"/>
                <a:ext cx="786385" cy="786384"/>
                <a:chOff x="-1436336" y="869509"/>
                <a:chExt cx="914400" cy="914400"/>
              </a:xfrm>
            </p:grpSpPr>
            <p:sp>
              <p:nvSpPr>
                <p:cNvPr id="278" name="Rectangle 277"/>
                <p:cNvSpPr/>
                <p:nvPr/>
              </p:nvSpPr>
              <p:spPr bwMode="auto">
                <a:xfrm>
                  <a:off x="-1436336" y="869509"/>
                  <a:ext cx="914400" cy="914400"/>
                </a:xfrm>
                <a:prstGeom prst="rect">
                  <a:avLst/>
                </a:prstGeom>
                <a:solidFill>
                  <a:srgbClr val="3E419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79" name="Picture 6" descr="https://pbs.twimg.com/media/C8AX0PCVYAAHs6w.jpg"/>
                <p:cNvPicPr>
                  <a:picLocks noChangeAspect="1" noChangeArrowheads="1"/>
                </p:cNvPicPr>
                <p:nvPr/>
              </p:nvPicPr>
              <p:blipFill rotWithShape="1">
                <a:blip r:embed="rId5" cstate="print">
                  <a:clrChange>
                    <a:clrFrom>
                      <a:srgbClr val="3E4190"/>
                    </a:clrFrom>
                    <a:clrTo>
                      <a:srgbClr val="3E4190">
                        <a:alpha val="0"/>
                      </a:srgbClr>
                    </a:clrTo>
                  </a:clrChange>
                  <a:extLst>
                    <a:ext uri="{28A0092B-C50C-407E-A947-70E740481C1C}">
                      <a14:useLocalDpi xmlns:a14="http://schemas.microsoft.com/office/drawing/2010/main" val="0"/>
                    </a:ext>
                  </a:extLst>
                </a:blip>
                <a:srcRect l="33931" t="1076" r="33931" b="23934"/>
                <a:stretch/>
              </p:blipFill>
              <p:spPr bwMode="auto">
                <a:xfrm>
                  <a:off x="-1327984" y="993751"/>
                  <a:ext cx="644911" cy="644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6" name="Group 265"/>
              <p:cNvGrpSpPr>
                <a:grpSpLocks noChangeAspect="1"/>
              </p:cNvGrpSpPr>
              <p:nvPr/>
            </p:nvGrpSpPr>
            <p:grpSpPr>
              <a:xfrm>
                <a:off x="3230129" y="5497117"/>
                <a:ext cx="786385" cy="786384"/>
                <a:chOff x="-2441144" y="1867773"/>
                <a:chExt cx="914400" cy="914400"/>
              </a:xfrm>
            </p:grpSpPr>
            <p:sp>
              <p:nvSpPr>
                <p:cNvPr id="276" name="Rectangle 275"/>
                <p:cNvSpPr/>
                <p:nvPr/>
              </p:nvSpPr>
              <p:spPr bwMode="auto">
                <a:xfrm>
                  <a:off x="-2441144" y="1867773"/>
                  <a:ext cx="914400" cy="9144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77" name="Picture 27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58264" y="2050653"/>
                  <a:ext cx="548640" cy="548640"/>
                </a:xfrm>
                <a:prstGeom prst="rect">
                  <a:avLst/>
                </a:prstGeom>
              </p:spPr>
            </p:pic>
          </p:grpSp>
          <p:grpSp>
            <p:nvGrpSpPr>
              <p:cNvPr id="267" name="Group 266"/>
              <p:cNvGrpSpPr>
                <a:grpSpLocks noChangeAspect="1"/>
              </p:cNvGrpSpPr>
              <p:nvPr/>
            </p:nvGrpSpPr>
            <p:grpSpPr>
              <a:xfrm>
                <a:off x="3230129" y="6324299"/>
                <a:ext cx="786385" cy="786384"/>
                <a:chOff x="-2441144" y="869509"/>
                <a:chExt cx="914400" cy="914400"/>
              </a:xfrm>
            </p:grpSpPr>
            <p:sp>
              <p:nvSpPr>
                <p:cNvPr id="274" name="Rectangle 273"/>
                <p:cNvSpPr/>
                <p:nvPr/>
              </p:nvSpPr>
              <p:spPr bwMode="auto">
                <a:xfrm>
                  <a:off x="-2441144" y="869509"/>
                  <a:ext cx="914400" cy="9144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75" name="Picture 274"/>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2256255" y="1054398"/>
                  <a:ext cx="548640" cy="548640"/>
                </a:xfrm>
                <a:prstGeom prst="rect">
                  <a:avLst/>
                </a:prstGeom>
              </p:spPr>
            </p:pic>
          </p:grpSp>
          <p:grpSp>
            <p:nvGrpSpPr>
              <p:cNvPr id="268" name="Group 267"/>
              <p:cNvGrpSpPr>
                <a:grpSpLocks noChangeAspect="1"/>
              </p:cNvGrpSpPr>
              <p:nvPr/>
            </p:nvGrpSpPr>
            <p:grpSpPr>
              <a:xfrm>
                <a:off x="4061296" y="6324299"/>
                <a:ext cx="786385" cy="786384"/>
                <a:chOff x="-1436336" y="1867773"/>
                <a:chExt cx="914400" cy="914400"/>
              </a:xfrm>
            </p:grpSpPr>
            <p:sp>
              <p:nvSpPr>
                <p:cNvPr id="272" name="Rectangle 271"/>
                <p:cNvSpPr/>
                <p:nvPr/>
              </p:nvSpPr>
              <p:spPr bwMode="auto">
                <a:xfrm>
                  <a:off x="-1436336" y="1867773"/>
                  <a:ext cx="914400" cy="914400"/>
                </a:xfrm>
                <a:prstGeom prst="rect">
                  <a:avLst/>
                </a:prstGeom>
                <a:solidFill>
                  <a:srgbClr val="F2C811"/>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3" name="Freeform 10"/>
                <p:cNvSpPr/>
                <p:nvPr/>
              </p:nvSpPr>
              <p:spPr bwMode="auto">
                <a:xfrm>
                  <a:off x="-1211576" y="2079305"/>
                  <a:ext cx="464881" cy="491337"/>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grpSp>
            <p:nvGrpSpPr>
              <p:cNvPr id="269" name="Group 268"/>
              <p:cNvGrpSpPr>
                <a:grpSpLocks noChangeAspect="1"/>
              </p:cNvGrpSpPr>
              <p:nvPr/>
            </p:nvGrpSpPr>
            <p:grpSpPr>
              <a:xfrm>
                <a:off x="4061296" y="4669935"/>
                <a:ext cx="786385" cy="786384"/>
                <a:chOff x="-1436336" y="-128755"/>
                <a:chExt cx="914400" cy="914400"/>
              </a:xfrm>
            </p:grpSpPr>
            <p:sp>
              <p:nvSpPr>
                <p:cNvPr id="270" name="Rectangle 269"/>
                <p:cNvSpPr>
                  <a:spLocks noChangeAspect="1"/>
                </p:cNvSpPr>
                <p:nvPr/>
              </p:nvSpPr>
              <p:spPr bwMode="auto">
                <a:xfrm>
                  <a:off x="-1436336" y="-128755"/>
                  <a:ext cx="914400" cy="9144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71" name="Picture 270" descr="https://106c4.wpc.azureedge.net/80106C4/Gallery-Prod/cdn/2015-02-24/prod20161101-microsoft-windowsazure-gallery/Microsoft.VisualStudioEnterprise2017onWindowsServer2016x64-ARM.1.0.1/Icons/Larg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53456" y="54125"/>
                  <a:ext cx="548640" cy="54864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50" name="Group 149"/>
            <p:cNvGrpSpPr/>
            <p:nvPr/>
          </p:nvGrpSpPr>
          <p:grpSpPr>
            <a:xfrm>
              <a:off x="3919464" y="1471013"/>
              <a:ext cx="448791" cy="2440748"/>
              <a:chOff x="4002359" y="1471013"/>
              <a:chExt cx="448791" cy="2440748"/>
            </a:xfrm>
          </p:grpSpPr>
          <p:pic>
            <p:nvPicPr>
              <p:cNvPr id="254" name="Picture 253"/>
              <p:cNvPicPr>
                <a:picLocks noChangeAspect="1"/>
              </p:cNvPicPr>
              <p:nvPr/>
            </p:nvPicPr>
            <p:blipFill>
              <a:blip r:embed="rId9"/>
              <a:stretch>
                <a:fillRect/>
              </a:stretch>
            </p:blipFill>
            <p:spPr>
              <a:xfrm>
                <a:off x="4002359" y="2467727"/>
                <a:ext cx="448791" cy="448792"/>
              </a:xfrm>
              <a:prstGeom prst="rect">
                <a:avLst/>
              </a:prstGeom>
            </p:spPr>
          </p:pic>
          <p:pic>
            <p:nvPicPr>
              <p:cNvPr id="255" name="Picture 4" descr="https://az495088.vo.msecnd.net/app-logo/github_215.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02359" y="1969370"/>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54" descr="https://az495088.vo.msecnd.net/app-logo/salesforce.com_215.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02359"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62" name="Picture 261"/>
              <p:cNvPicPr>
                <a:picLocks noChangeAspect="1"/>
              </p:cNvPicPr>
              <p:nvPr/>
            </p:nvPicPr>
            <p:blipFill>
              <a:blip r:embed="rId12"/>
              <a:stretch>
                <a:fillRect/>
              </a:stretch>
            </p:blipFill>
            <p:spPr>
              <a:xfrm>
                <a:off x="4002726" y="3463705"/>
                <a:ext cx="448056" cy="448056"/>
              </a:xfrm>
              <a:prstGeom prst="rect">
                <a:avLst/>
              </a:prstGeom>
            </p:spPr>
          </p:pic>
          <p:pic>
            <p:nvPicPr>
              <p:cNvPr id="263" name="Picture 262"/>
              <p:cNvPicPr>
                <a:picLocks noChangeAspect="1"/>
              </p:cNvPicPr>
              <p:nvPr/>
            </p:nvPicPr>
            <p:blipFill>
              <a:blip r:embed="rId13"/>
              <a:stretch>
                <a:fillRect/>
              </a:stretch>
            </p:blipFill>
            <p:spPr>
              <a:xfrm>
                <a:off x="4002726" y="2966084"/>
                <a:ext cx="448056" cy="448056"/>
              </a:xfrm>
              <a:prstGeom prst="rect">
                <a:avLst/>
              </a:prstGeom>
            </p:spPr>
          </p:pic>
        </p:grpSp>
        <p:grpSp>
          <p:nvGrpSpPr>
            <p:cNvPr id="151" name="Group 150"/>
            <p:cNvGrpSpPr/>
            <p:nvPr/>
          </p:nvGrpSpPr>
          <p:grpSpPr>
            <a:xfrm>
              <a:off x="4912370" y="1471013"/>
              <a:ext cx="449343" cy="2440748"/>
              <a:chOff x="4982865" y="1471013"/>
              <a:chExt cx="449343" cy="2440748"/>
            </a:xfrm>
          </p:grpSpPr>
          <p:pic>
            <p:nvPicPr>
              <p:cNvPr id="204" name="Picture 203" descr="https://az495088.vo.msecnd.net/app-logo/servicenow_215.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982865"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44" descr="https://az495088.vo.msecnd.net/app-logo/google_215.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83141" y="2467727"/>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10" descr="https://az495088.vo.msecnd.net/app-logo/twitter_215.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983417" y="1969370"/>
                <a:ext cx="448791" cy="448792"/>
              </a:xfrm>
              <a:prstGeom prst="rect">
                <a:avLst/>
              </a:prstGeom>
              <a:noFill/>
              <a:extLst>
                <a:ext uri="{909E8E84-426E-40DD-AFC4-6F175D3DCCD1}">
                  <a14:hiddenFill xmlns:a14="http://schemas.microsoft.com/office/drawing/2010/main">
                    <a:solidFill>
                      <a:srgbClr val="FFFFFF"/>
                    </a:solidFill>
                  </a14:hiddenFill>
                </a:ext>
              </a:extLst>
            </p:spPr>
          </p:pic>
          <p:grpSp>
            <p:nvGrpSpPr>
              <p:cNvPr id="216" name="Group 215"/>
              <p:cNvGrpSpPr/>
              <p:nvPr/>
            </p:nvGrpSpPr>
            <p:grpSpPr>
              <a:xfrm>
                <a:off x="4983693" y="2966084"/>
                <a:ext cx="448056" cy="448056"/>
                <a:chOff x="5051951" y="3070513"/>
                <a:chExt cx="448056" cy="448056"/>
              </a:xfrm>
            </p:grpSpPr>
            <p:sp>
              <p:nvSpPr>
                <p:cNvPr id="252" name="Rectangle 251"/>
                <p:cNvSpPr/>
                <p:nvPr/>
              </p:nvSpPr>
              <p:spPr bwMode="auto">
                <a:xfrm>
                  <a:off x="5051951" y="3070513"/>
                  <a:ext cx="448056" cy="44805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53" name="Picture 252"/>
                <p:cNvPicPr>
                  <a:picLocks noChangeAspect="1"/>
                </p:cNvPicPr>
                <p:nvPr/>
              </p:nvPicPr>
              <p:blipFill>
                <a:blip r:embed="rId17"/>
                <a:stretch>
                  <a:fillRect/>
                </a:stretch>
              </p:blipFill>
              <p:spPr>
                <a:xfrm>
                  <a:off x="5051951" y="3070513"/>
                  <a:ext cx="448056" cy="448056"/>
                </a:xfrm>
                <a:prstGeom prst="rect">
                  <a:avLst/>
                </a:prstGeom>
              </p:spPr>
            </p:pic>
          </p:grpSp>
          <p:pic>
            <p:nvPicPr>
              <p:cNvPr id="217" name="Picture 216"/>
              <p:cNvPicPr>
                <a:picLocks noChangeAspect="1"/>
              </p:cNvPicPr>
              <p:nvPr/>
            </p:nvPicPr>
            <p:blipFill>
              <a:blip r:embed="rId18"/>
              <a:stretch>
                <a:fillRect/>
              </a:stretch>
            </p:blipFill>
            <p:spPr>
              <a:xfrm>
                <a:off x="4983232" y="3463705"/>
                <a:ext cx="448056" cy="448056"/>
              </a:xfrm>
              <a:prstGeom prst="rect">
                <a:avLst/>
              </a:prstGeom>
            </p:spPr>
          </p:pic>
        </p:grpSp>
        <p:grpSp>
          <p:nvGrpSpPr>
            <p:cNvPr id="152" name="Group 151"/>
            <p:cNvGrpSpPr/>
            <p:nvPr/>
          </p:nvGrpSpPr>
          <p:grpSpPr>
            <a:xfrm>
              <a:off x="5409375" y="1471013"/>
              <a:ext cx="448791" cy="2440748"/>
              <a:chOff x="5477195" y="1471013"/>
              <a:chExt cx="448791" cy="2440748"/>
            </a:xfrm>
          </p:grpSpPr>
          <p:pic>
            <p:nvPicPr>
              <p:cNvPr id="174" name="Picture 4" descr="https://az495088.vo.msecnd.net/app-logo/concur_215.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477195"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2" descr="https://az495088.vo.msecnd.net/app-logo/kronos_215.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477195" y="1969370"/>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56" descr="https://az495088.vo.msecnd.net/app-logo/aws_215.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477195" y="2467727"/>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77"/>
              <p:cNvPicPr>
                <a:picLocks noChangeAspect="1"/>
              </p:cNvPicPr>
              <p:nvPr/>
            </p:nvPicPr>
            <p:blipFill>
              <a:blip r:embed="rId22"/>
              <a:stretch>
                <a:fillRect/>
              </a:stretch>
            </p:blipFill>
            <p:spPr>
              <a:xfrm>
                <a:off x="5477562" y="2966084"/>
                <a:ext cx="448056" cy="448056"/>
              </a:xfrm>
              <a:prstGeom prst="rect">
                <a:avLst/>
              </a:prstGeom>
            </p:spPr>
          </p:pic>
          <p:pic>
            <p:nvPicPr>
              <p:cNvPr id="198" name="Picture 197"/>
              <p:cNvPicPr>
                <a:picLocks noChangeAspect="1"/>
              </p:cNvPicPr>
              <p:nvPr/>
            </p:nvPicPr>
            <p:blipFill>
              <a:blip r:embed="rId23"/>
              <a:stretch>
                <a:fillRect/>
              </a:stretch>
            </p:blipFill>
            <p:spPr>
              <a:xfrm>
                <a:off x="5477562" y="3463705"/>
                <a:ext cx="448056" cy="448056"/>
              </a:xfrm>
              <a:prstGeom prst="rect">
                <a:avLst/>
              </a:prstGeom>
            </p:spPr>
          </p:pic>
        </p:grpSp>
        <p:grpSp>
          <p:nvGrpSpPr>
            <p:cNvPr id="153" name="Group 152"/>
            <p:cNvGrpSpPr/>
            <p:nvPr/>
          </p:nvGrpSpPr>
          <p:grpSpPr>
            <a:xfrm>
              <a:off x="4415917" y="1471013"/>
              <a:ext cx="448791" cy="2440748"/>
              <a:chOff x="4492380" y="1471013"/>
              <a:chExt cx="448791" cy="2440748"/>
            </a:xfrm>
          </p:grpSpPr>
          <p:pic>
            <p:nvPicPr>
              <p:cNvPr id="163" name="Picture 34" descr="https://az495088.vo.msecnd.net/app-logo/workday_215.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492380"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 descr="https://az495088.vo.msecnd.net/app-logo/slack_215.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492380" y="2467727"/>
                <a:ext cx="448791" cy="4487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9" name="Picture 168" descr="A picture containing thing&#10;&#10;Description generated with very high confidence"/>
              <p:cNvPicPr>
                <a:picLocks noChangeAspect="1"/>
              </p:cNvPicPr>
              <p:nvPr/>
            </p:nvPicPr>
            <p:blipFill>
              <a:blip r:embed="rId26"/>
              <a:stretch>
                <a:fillRect/>
              </a:stretch>
            </p:blipFill>
            <p:spPr>
              <a:xfrm>
                <a:off x="4492380" y="1969370"/>
                <a:ext cx="448791" cy="448792"/>
              </a:xfrm>
              <a:prstGeom prst="rect">
                <a:avLst/>
              </a:prstGeom>
            </p:spPr>
          </p:pic>
          <p:pic>
            <p:nvPicPr>
              <p:cNvPr id="171" name="Picture 170"/>
              <p:cNvPicPr>
                <a:picLocks noChangeAspect="1"/>
              </p:cNvPicPr>
              <p:nvPr/>
            </p:nvPicPr>
            <p:blipFill>
              <a:blip r:embed="rId27"/>
              <a:stretch>
                <a:fillRect/>
              </a:stretch>
            </p:blipFill>
            <p:spPr>
              <a:xfrm>
                <a:off x="4492747" y="2966084"/>
                <a:ext cx="448056" cy="448056"/>
              </a:xfrm>
              <a:prstGeom prst="rect">
                <a:avLst/>
              </a:prstGeom>
            </p:spPr>
          </p:pic>
          <p:pic>
            <p:nvPicPr>
              <p:cNvPr id="172" name="Picture 171"/>
              <p:cNvPicPr>
                <a:picLocks noChangeAspect="1"/>
              </p:cNvPicPr>
              <p:nvPr/>
            </p:nvPicPr>
            <p:blipFill>
              <a:blip r:embed="rId28"/>
              <a:stretch>
                <a:fillRect/>
              </a:stretch>
            </p:blipFill>
            <p:spPr>
              <a:xfrm>
                <a:off x="4492747" y="3463705"/>
                <a:ext cx="448056" cy="448056"/>
              </a:xfrm>
              <a:prstGeom prst="rect">
                <a:avLst/>
              </a:prstGeom>
            </p:spPr>
          </p:pic>
        </p:grpSp>
        <p:grpSp>
          <p:nvGrpSpPr>
            <p:cNvPr id="154" name="Group 153"/>
            <p:cNvGrpSpPr/>
            <p:nvPr/>
          </p:nvGrpSpPr>
          <p:grpSpPr>
            <a:xfrm>
              <a:off x="5905829" y="1471013"/>
              <a:ext cx="448791" cy="2440748"/>
              <a:chOff x="5970789" y="1471013"/>
              <a:chExt cx="448791" cy="2440748"/>
            </a:xfrm>
          </p:grpSpPr>
          <p:pic>
            <p:nvPicPr>
              <p:cNvPr id="155" name="Picture 52" descr="https://106c4.wpc.azureedge.net/80106C4/Gallery-Prod/cdn/2015-02-24/prod20161101-microsoft-windowsazure-gallery/microsoft-azure-blockchain.azure-blockchain-serviceethereum-consortium-blockchain.1.0.6/Icons/Large.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970789" y="1969370"/>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56"/>
              <p:cNvPicPr>
                <a:picLocks noChangeAspect="1"/>
              </p:cNvPicPr>
              <p:nvPr/>
            </p:nvPicPr>
            <p:blipFill>
              <a:blip r:embed="rId30"/>
              <a:stretch>
                <a:fillRect/>
              </a:stretch>
            </p:blipFill>
            <p:spPr>
              <a:xfrm>
                <a:off x="5970789" y="2467727"/>
                <a:ext cx="448791" cy="448792"/>
              </a:xfrm>
              <a:prstGeom prst="rect">
                <a:avLst/>
              </a:prstGeom>
            </p:spPr>
          </p:pic>
          <p:pic>
            <p:nvPicPr>
              <p:cNvPr id="158" name="Picture 157"/>
              <p:cNvPicPr>
                <a:picLocks noChangeAspect="1"/>
              </p:cNvPicPr>
              <p:nvPr/>
            </p:nvPicPr>
            <p:blipFill>
              <a:blip r:embed="rId31"/>
              <a:stretch>
                <a:fillRect/>
              </a:stretch>
            </p:blipFill>
            <p:spPr>
              <a:xfrm>
                <a:off x="5970789" y="1471013"/>
                <a:ext cx="448791" cy="448792"/>
              </a:xfrm>
              <a:prstGeom prst="rect">
                <a:avLst/>
              </a:prstGeom>
              <a:ln>
                <a:noFill/>
              </a:ln>
            </p:spPr>
          </p:pic>
          <p:pic>
            <p:nvPicPr>
              <p:cNvPr id="159" name="Picture 158"/>
              <p:cNvPicPr>
                <a:picLocks noChangeAspect="1"/>
              </p:cNvPicPr>
              <p:nvPr/>
            </p:nvPicPr>
            <p:blipFill>
              <a:blip r:embed="rId32"/>
              <a:stretch>
                <a:fillRect/>
              </a:stretch>
            </p:blipFill>
            <p:spPr>
              <a:xfrm>
                <a:off x="5971156" y="2966084"/>
                <a:ext cx="448056" cy="448056"/>
              </a:xfrm>
              <a:prstGeom prst="rect">
                <a:avLst/>
              </a:prstGeom>
            </p:spPr>
          </p:pic>
          <p:grpSp>
            <p:nvGrpSpPr>
              <p:cNvPr id="160" name="Group 159"/>
              <p:cNvGrpSpPr/>
              <p:nvPr/>
            </p:nvGrpSpPr>
            <p:grpSpPr>
              <a:xfrm>
                <a:off x="5971156" y="3463705"/>
                <a:ext cx="448056" cy="448056"/>
                <a:chOff x="7208009" y="3301452"/>
                <a:chExt cx="448056" cy="448056"/>
              </a:xfrm>
            </p:grpSpPr>
            <p:sp>
              <p:nvSpPr>
                <p:cNvPr id="161" name="Rectangle 160"/>
                <p:cNvSpPr/>
                <p:nvPr/>
              </p:nvSpPr>
              <p:spPr bwMode="auto">
                <a:xfrm>
                  <a:off x="7208009" y="3301452"/>
                  <a:ext cx="448056" cy="44805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62" name="Picture 161"/>
                <p:cNvPicPr>
                  <a:picLocks noChangeAspect="1"/>
                </p:cNvPicPr>
                <p:nvPr/>
              </p:nvPicPr>
              <p:blipFill>
                <a:blip r:embed="rId33"/>
                <a:stretch>
                  <a:fillRect/>
                </a:stretch>
              </p:blipFill>
              <p:spPr>
                <a:xfrm>
                  <a:off x="7208009" y="3301452"/>
                  <a:ext cx="448056" cy="448056"/>
                </a:xfrm>
                <a:prstGeom prst="rect">
                  <a:avLst/>
                </a:prstGeom>
              </p:spPr>
            </p:pic>
          </p:grpSp>
        </p:grpSp>
      </p:grpSp>
      <p:grpSp>
        <p:nvGrpSpPr>
          <p:cNvPr id="280" name="Group 279"/>
          <p:cNvGrpSpPr/>
          <p:nvPr/>
        </p:nvGrpSpPr>
        <p:grpSpPr>
          <a:xfrm>
            <a:off x="9438646" y="377492"/>
            <a:ext cx="2468880" cy="3017520"/>
            <a:chOff x="9438646" y="377492"/>
            <a:chExt cx="2468880" cy="3017520"/>
          </a:xfrm>
        </p:grpSpPr>
        <p:sp>
          <p:nvSpPr>
            <p:cNvPr id="281" name="Rectangle 280"/>
            <p:cNvSpPr/>
            <p:nvPr/>
          </p:nvSpPr>
          <p:spPr bwMode="auto">
            <a:xfrm>
              <a:off x="9438646" y="377492"/>
              <a:ext cx="2468880" cy="3017520"/>
            </a:xfrm>
            <a:prstGeom prst="rect">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On-premises</a:t>
              </a:r>
            </a:p>
          </p:txBody>
        </p:sp>
        <p:grpSp>
          <p:nvGrpSpPr>
            <p:cNvPr id="282" name="Group 4"/>
            <p:cNvGrpSpPr>
              <a:grpSpLocks noChangeAspect="1"/>
            </p:cNvGrpSpPr>
            <p:nvPr/>
          </p:nvGrpSpPr>
          <p:grpSpPr bwMode="auto">
            <a:xfrm>
              <a:off x="9525003" y="2054652"/>
              <a:ext cx="2268538" cy="865188"/>
              <a:chOff x="6000" y="1294"/>
              <a:chExt cx="1429" cy="545"/>
            </a:xfrm>
          </p:grpSpPr>
          <p:sp>
            <p:nvSpPr>
              <p:cNvPr id="316" name="AutoShape 3"/>
              <p:cNvSpPr>
                <a:spLocks noChangeAspect="1" noChangeArrowheads="1" noTextEdit="1"/>
              </p:cNvSpPr>
              <p:nvPr/>
            </p:nvSpPr>
            <p:spPr bwMode="auto">
              <a:xfrm>
                <a:off x="6469" y="1296"/>
                <a:ext cx="960" cy="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7" name="Freeform 5"/>
              <p:cNvSpPr>
                <a:spLocks/>
              </p:cNvSpPr>
              <p:nvPr/>
            </p:nvSpPr>
            <p:spPr bwMode="auto">
              <a:xfrm>
                <a:off x="6000" y="1735"/>
                <a:ext cx="1427" cy="104"/>
              </a:xfrm>
              <a:custGeom>
                <a:avLst/>
                <a:gdLst>
                  <a:gd name="T0" fmla="*/ 956 w 956"/>
                  <a:gd name="T1" fmla="*/ 104 h 104"/>
                  <a:gd name="T2" fmla="*/ 0 w 956"/>
                  <a:gd name="T3" fmla="*/ 104 h 104"/>
                  <a:gd name="T4" fmla="*/ 40 w 956"/>
                  <a:gd name="T5" fmla="*/ 0 h 104"/>
                  <a:gd name="T6" fmla="*/ 916 w 956"/>
                  <a:gd name="T7" fmla="*/ 0 h 104"/>
                  <a:gd name="T8" fmla="*/ 956 w 956"/>
                  <a:gd name="T9" fmla="*/ 104 h 104"/>
                </a:gdLst>
                <a:ahLst/>
                <a:cxnLst>
                  <a:cxn ang="0">
                    <a:pos x="T0" y="T1"/>
                  </a:cxn>
                  <a:cxn ang="0">
                    <a:pos x="T2" y="T3"/>
                  </a:cxn>
                  <a:cxn ang="0">
                    <a:pos x="T4" y="T5"/>
                  </a:cxn>
                  <a:cxn ang="0">
                    <a:pos x="T6" y="T7"/>
                  </a:cxn>
                  <a:cxn ang="0">
                    <a:pos x="T8" y="T9"/>
                  </a:cxn>
                </a:cxnLst>
                <a:rect l="0" t="0" r="r" b="b"/>
                <a:pathLst>
                  <a:path w="956" h="104">
                    <a:moveTo>
                      <a:pt x="956" y="104"/>
                    </a:moveTo>
                    <a:lnTo>
                      <a:pt x="0" y="104"/>
                    </a:lnTo>
                    <a:lnTo>
                      <a:pt x="40" y="0"/>
                    </a:lnTo>
                    <a:lnTo>
                      <a:pt x="916" y="0"/>
                    </a:lnTo>
                    <a:lnTo>
                      <a:pt x="956" y="10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8" name="Freeform 6"/>
              <p:cNvSpPr>
                <a:spLocks noEditPoints="1"/>
              </p:cNvSpPr>
              <p:nvPr/>
            </p:nvSpPr>
            <p:spPr bwMode="auto">
              <a:xfrm>
                <a:off x="7175" y="1393"/>
                <a:ext cx="133" cy="406"/>
              </a:xfrm>
              <a:custGeom>
                <a:avLst/>
                <a:gdLst>
                  <a:gd name="T0" fmla="*/ 133 w 133"/>
                  <a:gd name="T1" fmla="*/ 406 h 406"/>
                  <a:gd name="T2" fmla="*/ 0 w 133"/>
                  <a:gd name="T3" fmla="*/ 0 h 406"/>
                  <a:gd name="T4" fmla="*/ 69 w 133"/>
                  <a:gd name="T5" fmla="*/ 35 h 406"/>
                  <a:gd name="T6" fmla="*/ 104 w 133"/>
                  <a:gd name="T7" fmla="*/ 69 h 406"/>
                  <a:gd name="T8" fmla="*/ 69 w 133"/>
                  <a:gd name="T9" fmla="*/ 35 h 406"/>
                  <a:gd name="T10" fmla="*/ 104 w 133"/>
                  <a:gd name="T11" fmla="*/ 139 h 406"/>
                  <a:gd name="T12" fmla="*/ 69 w 133"/>
                  <a:gd name="T13" fmla="*/ 168 h 406"/>
                  <a:gd name="T14" fmla="*/ 69 w 133"/>
                  <a:gd name="T15" fmla="*/ 192 h 406"/>
                  <a:gd name="T16" fmla="*/ 104 w 133"/>
                  <a:gd name="T17" fmla="*/ 227 h 406"/>
                  <a:gd name="T18" fmla="*/ 69 w 133"/>
                  <a:gd name="T19" fmla="*/ 192 h 406"/>
                  <a:gd name="T20" fmla="*/ 58 w 133"/>
                  <a:gd name="T21" fmla="*/ 82 h 406"/>
                  <a:gd name="T22" fmla="*/ 24 w 133"/>
                  <a:gd name="T23" fmla="*/ 117 h 406"/>
                  <a:gd name="T24" fmla="*/ 24 w 133"/>
                  <a:gd name="T25" fmla="*/ 238 h 406"/>
                  <a:gd name="T26" fmla="*/ 58 w 133"/>
                  <a:gd name="T27" fmla="*/ 272 h 406"/>
                  <a:gd name="T28" fmla="*/ 24 w 133"/>
                  <a:gd name="T29" fmla="*/ 238 h 406"/>
                  <a:gd name="T30" fmla="*/ 24 w 133"/>
                  <a:gd name="T31" fmla="*/ 331 h 406"/>
                  <a:gd name="T32" fmla="*/ 58 w 133"/>
                  <a:gd name="T33" fmla="*/ 296 h 406"/>
                  <a:gd name="T34" fmla="*/ 58 w 133"/>
                  <a:gd name="T35" fmla="*/ 227 h 406"/>
                  <a:gd name="T36" fmla="*/ 24 w 133"/>
                  <a:gd name="T37" fmla="*/ 192 h 406"/>
                  <a:gd name="T38" fmla="*/ 58 w 133"/>
                  <a:gd name="T39" fmla="*/ 227 h 406"/>
                  <a:gd name="T40" fmla="*/ 24 w 133"/>
                  <a:gd name="T41" fmla="*/ 168 h 406"/>
                  <a:gd name="T42" fmla="*/ 58 w 133"/>
                  <a:gd name="T43" fmla="*/ 139 h 406"/>
                  <a:gd name="T44" fmla="*/ 58 w 133"/>
                  <a:gd name="T45" fmla="*/ 69 h 406"/>
                  <a:gd name="T46" fmla="*/ 24 w 133"/>
                  <a:gd name="T47" fmla="*/ 35 h 406"/>
                  <a:gd name="T48" fmla="*/ 58 w 133"/>
                  <a:gd name="T49" fmla="*/ 69 h 406"/>
                  <a:gd name="T50" fmla="*/ 69 w 133"/>
                  <a:gd name="T51" fmla="*/ 331 h 406"/>
                  <a:gd name="T52" fmla="*/ 104 w 133"/>
                  <a:gd name="T53" fmla="*/ 296 h 406"/>
                  <a:gd name="T54" fmla="*/ 104 w 133"/>
                  <a:gd name="T55" fmla="*/ 272 h 406"/>
                  <a:gd name="T56" fmla="*/ 69 w 133"/>
                  <a:gd name="T57" fmla="*/ 238 h 406"/>
                  <a:gd name="T58" fmla="*/ 104 w 133"/>
                  <a:gd name="T59" fmla="*/ 272 h 406"/>
                  <a:gd name="T60" fmla="*/ 69 w 133"/>
                  <a:gd name="T61" fmla="*/ 117 h 406"/>
                  <a:gd name="T62" fmla="*/ 104 w 133"/>
                  <a:gd name="T63" fmla="*/ 8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406">
                    <a:moveTo>
                      <a:pt x="0" y="406"/>
                    </a:moveTo>
                    <a:lnTo>
                      <a:pt x="133" y="406"/>
                    </a:lnTo>
                    <a:lnTo>
                      <a:pt x="133" y="0"/>
                    </a:lnTo>
                    <a:lnTo>
                      <a:pt x="0" y="0"/>
                    </a:lnTo>
                    <a:lnTo>
                      <a:pt x="0" y="406"/>
                    </a:lnTo>
                    <a:close/>
                    <a:moveTo>
                      <a:pt x="69" y="35"/>
                    </a:moveTo>
                    <a:lnTo>
                      <a:pt x="104" y="35"/>
                    </a:lnTo>
                    <a:lnTo>
                      <a:pt x="104" y="69"/>
                    </a:lnTo>
                    <a:lnTo>
                      <a:pt x="69" y="69"/>
                    </a:lnTo>
                    <a:lnTo>
                      <a:pt x="69" y="35"/>
                    </a:lnTo>
                    <a:close/>
                    <a:moveTo>
                      <a:pt x="69" y="139"/>
                    </a:moveTo>
                    <a:lnTo>
                      <a:pt x="104" y="139"/>
                    </a:lnTo>
                    <a:lnTo>
                      <a:pt x="104" y="168"/>
                    </a:lnTo>
                    <a:lnTo>
                      <a:pt x="69" y="168"/>
                    </a:lnTo>
                    <a:lnTo>
                      <a:pt x="69" y="139"/>
                    </a:lnTo>
                    <a:close/>
                    <a:moveTo>
                      <a:pt x="69" y="192"/>
                    </a:moveTo>
                    <a:lnTo>
                      <a:pt x="104" y="192"/>
                    </a:lnTo>
                    <a:lnTo>
                      <a:pt x="104" y="227"/>
                    </a:lnTo>
                    <a:lnTo>
                      <a:pt x="69" y="227"/>
                    </a:lnTo>
                    <a:lnTo>
                      <a:pt x="69" y="192"/>
                    </a:lnTo>
                    <a:close/>
                    <a:moveTo>
                      <a:pt x="24" y="82"/>
                    </a:moveTo>
                    <a:lnTo>
                      <a:pt x="58" y="82"/>
                    </a:lnTo>
                    <a:lnTo>
                      <a:pt x="58" y="117"/>
                    </a:lnTo>
                    <a:lnTo>
                      <a:pt x="24" y="117"/>
                    </a:lnTo>
                    <a:lnTo>
                      <a:pt x="24" y="82"/>
                    </a:lnTo>
                    <a:close/>
                    <a:moveTo>
                      <a:pt x="24" y="238"/>
                    </a:moveTo>
                    <a:lnTo>
                      <a:pt x="58" y="238"/>
                    </a:lnTo>
                    <a:lnTo>
                      <a:pt x="58" y="272"/>
                    </a:lnTo>
                    <a:lnTo>
                      <a:pt x="24" y="272"/>
                    </a:lnTo>
                    <a:lnTo>
                      <a:pt x="24" y="238"/>
                    </a:lnTo>
                    <a:close/>
                    <a:moveTo>
                      <a:pt x="58" y="331"/>
                    </a:moveTo>
                    <a:lnTo>
                      <a:pt x="24" y="331"/>
                    </a:lnTo>
                    <a:lnTo>
                      <a:pt x="24" y="296"/>
                    </a:lnTo>
                    <a:lnTo>
                      <a:pt x="58" y="296"/>
                    </a:lnTo>
                    <a:lnTo>
                      <a:pt x="58" y="331"/>
                    </a:lnTo>
                    <a:close/>
                    <a:moveTo>
                      <a:pt x="58" y="227"/>
                    </a:moveTo>
                    <a:lnTo>
                      <a:pt x="24" y="227"/>
                    </a:lnTo>
                    <a:lnTo>
                      <a:pt x="24" y="192"/>
                    </a:lnTo>
                    <a:lnTo>
                      <a:pt x="58" y="192"/>
                    </a:lnTo>
                    <a:lnTo>
                      <a:pt x="58" y="227"/>
                    </a:lnTo>
                    <a:close/>
                    <a:moveTo>
                      <a:pt x="58" y="168"/>
                    </a:moveTo>
                    <a:lnTo>
                      <a:pt x="24" y="168"/>
                    </a:lnTo>
                    <a:lnTo>
                      <a:pt x="24" y="139"/>
                    </a:lnTo>
                    <a:lnTo>
                      <a:pt x="58" y="139"/>
                    </a:lnTo>
                    <a:lnTo>
                      <a:pt x="58" y="168"/>
                    </a:lnTo>
                    <a:close/>
                    <a:moveTo>
                      <a:pt x="58" y="69"/>
                    </a:moveTo>
                    <a:lnTo>
                      <a:pt x="24" y="69"/>
                    </a:lnTo>
                    <a:lnTo>
                      <a:pt x="24" y="35"/>
                    </a:lnTo>
                    <a:lnTo>
                      <a:pt x="58" y="35"/>
                    </a:lnTo>
                    <a:lnTo>
                      <a:pt x="58" y="69"/>
                    </a:lnTo>
                    <a:close/>
                    <a:moveTo>
                      <a:pt x="104" y="331"/>
                    </a:moveTo>
                    <a:lnTo>
                      <a:pt x="69" y="331"/>
                    </a:lnTo>
                    <a:lnTo>
                      <a:pt x="69" y="296"/>
                    </a:lnTo>
                    <a:lnTo>
                      <a:pt x="104" y="296"/>
                    </a:lnTo>
                    <a:lnTo>
                      <a:pt x="104" y="331"/>
                    </a:lnTo>
                    <a:close/>
                    <a:moveTo>
                      <a:pt x="104" y="272"/>
                    </a:moveTo>
                    <a:lnTo>
                      <a:pt x="69" y="272"/>
                    </a:lnTo>
                    <a:lnTo>
                      <a:pt x="69" y="238"/>
                    </a:lnTo>
                    <a:lnTo>
                      <a:pt x="104" y="238"/>
                    </a:lnTo>
                    <a:lnTo>
                      <a:pt x="104" y="272"/>
                    </a:lnTo>
                    <a:close/>
                    <a:moveTo>
                      <a:pt x="104" y="117"/>
                    </a:moveTo>
                    <a:lnTo>
                      <a:pt x="69" y="117"/>
                    </a:lnTo>
                    <a:lnTo>
                      <a:pt x="69" y="82"/>
                    </a:lnTo>
                    <a:lnTo>
                      <a:pt x="104" y="82"/>
                    </a:lnTo>
                    <a:lnTo>
                      <a:pt x="104" y="117"/>
                    </a:lnTo>
                    <a:close/>
                  </a:path>
                </a:pathLst>
              </a:custGeom>
              <a:solidFill>
                <a:schemeClr val="bg2">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9" name="Freeform 7"/>
              <p:cNvSpPr>
                <a:spLocks noEditPoints="1"/>
              </p:cNvSpPr>
              <p:nvPr/>
            </p:nvSpPr>
            <p:spPr bwMode="auto">
              <a:xfrm>
                <a:off x="7030" y="1550"/>
                <a:ext cx="127" cy="249"/>
              </a:xfrm>
              <a:custGeom>
                <a:avLst/>
                <a:gdLst>
                  <a:gd name="T0" fmla="*/ 0 w 127"/>
                  <a:gd name="T1" fmla="*/ 249 h 249"/>
                  <a:gd name="T2" fmla="*/ 127 w 127"/>
                  <a:gd name="T3" fmla="*/ 249 h 249"/>
                  <a:gd name="T4" fmla="*/ 127 w 127"/>
                  <a:gd name="T5" fmla="*/ 0 h 249"/>
                  <a:gd name="T6" fmla="*/ 0 w 127"/>
                  <a:gd name="T7" fmla="*/ 0 h 249"/>
                  <a:gd name="T8" fmla="*/ 0 w 127"/>
                  <a:gd name="T9" fmla="*/ 249 h 249"/>
                  <a:gd name="T10" fmla="*/ 52 w 127"/>
                  <a:gd name="T11" fmla="*/ 64 h 249"/>
                  <a:gd name="T12" fmla="*/ 22 w 127"/>
                  <a:gd name="T13" fmla="*/ 64 h 249"/>
                  <a:gd name="T14" fmla="*/ 22 w 127"/>
                  <a:gd name="T15" fmla="*/ 35 h 249"/>
                  <a:gd name="T16" fmla="*/ 52 w 127"/>
                  <a:gd name="T17" fmla="*/ 35 h 249"/>
                  <a:gd name="T18" fmla="*/ 52 w 127"/>
                  <a:gd name="T19" fmla="*/ 64 h 249"/>
                  <a:gd name="T20" fmla="*/ 110 w 127"/>
                  <a:gd name="T21" fmla="*/ 115 h 249"/>
                  <a:gd name="T22" fmla="*/ 75 w 127"/>
                  <a:gd name="T23" fmla="*/ 115 h 249"/>
                  <a:gd name="T24" fmla="*/ 75 w 127"/>
                  <a:gd name="T25" fmla="*/ 81 h 249"/>
                  <a:gd name="T26" fmla="*/ 110 w 127"/>
                  <a:gd name="T27" fmla="*/ 81 h 249"/>
                  <a:gd name="T28" fmla="*/ 110 w 127"/>
                  <a:gd name="T29" fmla="*/ 115 h 249"/>
                  <a:gd name="T30" fmla="*/ 75 w 127"/>
                  <a:gd name="T31" fmla="*/ 139 h 249"/>
                  <a:gd name="T32" fmla="*/ 110 w 127"/>
                  <a:gd name="T33" fmla="*/ 139 h 249"/>
                  <a:gd name="T34" fmla="*/ 110 w 127"/>
                  <a:gd name="T35" fmla="*/ 168 h 249"/>
                  <a:gd name="T36" fmla="*/ 75 w 127"/>
                  <a:gd name="T37" fmla="*/ 168 h 249"/>
                  <a:gd name="T38" fmla="*/ 75 w 127"/>
                  <a:gd name="T39" fmla="*/ 139 h 249"/>
                  <a:gd name="T40" fmla="*/ 75 w 127"/>
                  <a:gd name="T41" fmla="*/ 35 h 249"/>
                  <a:gd name="T42" fmla="*/ 110 w 127"/>
                  <a:gd name="T43" fmla="*/ 35 h 249"/>
                  <a:gd name="T44" fmla="*/ 110 w 127"/>
                  <a:gd name="T45" fmla="*/ 64 h 249"/>
                  <a:gd name="T46" fmla="*/ 75 w 127"/>
                  <a:gd name="T47" fmla="*/ 64 h 249"/>
                  <a:gd name="T48" fmla="*/ 75 w 127"/>
                  <a:gd name="T49" fmla="*/ 35 h 249"/>
                  <a:gd name="T50" fmla="*/ 22 w 127"/>
                  <a:gd name="T51" fmla="*/ 139 h 249"/>
                  <a:gd name="T52" fmla="*/ 52 w 127"/>
                  <a:gd name="T53" fmla="*/ 139 h 249"/>
                  <a:gd name="T54" fmla="*/ 52 w 127"/>
                  <a:gd name="T55" fmla="*/ 168 h 249"/>
                  <a:gd name="T56" fmla="*/ 22 w 127"/>
                  <a:gd name="T57" fmla="*/ 168 h 249"/>
                  <a:gd name="T58" fmla="*/ 22 w 127"/>
                  <a:gd name="T59" fmla="*/ 139 h 249"/>
                  <a:gd name="T60" fmla="*/ 22 w 127"/>
                  <a:gd name="T61" fmla="*/ 81 h 249"/>
                  <a:gd name="T62" fmla="*/ 52 w 127"/>
                  <a:gd name="T63" fmla="*/ 81 h 249"/>
                  <a:gd name="T64" fmla="*/ 52 w 127"/>
                  <a:gd name="T65" fmla="*/ 115 h 249"/>
                  <a:gd name="T66" fmla="*/ 22 w 127"/>
                  <a:gd name="T67" fmla="*/ 115 h 249"/>
                  <a:gd name="T68" fmla="*/ 22 w 127"/>
                  <a:gd name="T69" fmla="*/ 8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7" h="249">
                    <a:moveTo>
                      <a:pt x="0" y="249"/>
                    </a:moveTo>
                    <a:lnTo>
                      <a:pt x="127" y="249"/>
                    </a:lnTo>
                    <a:lnTo>
                      <a:pt x="127" y="0"/>
                    </a:lnTo>
                    <a:lnTo>
                      <a:pt x="0" y="0"/>
                    </a:lnTo>
                    <a:lnTo>
                      <a:pt x="0" y="249"/>
                    </a:lnTo>
                    <a:close/>
                    <a:moveTo>
                      <a:pt x="52" y="64"/>
                    </a:moveTo>
                    <a:lnTo>
                      <a:pt x="22" y="64"/>
                    </a:lnTo>
                    <a:lnTo>
                      <a:pt x="22" y="35"/>
                    </a:lnTo>
                    <a:lnTo>
                      <a:pt x="52" y="35"/>
                    </a:lnTo>
                    <a:lnTo>
                      <a:pt x="52" y="64"/>
                    </a:lnTo>
                    <a:close/>
                    <a:moveTo>
                      <a:pt x="110" y="115"/>
                    </a:moveTo>
                    <a:lnTo>
                      <a:pt x="75" y="115"/>
                    </a:lnTo>
                    <a:lnTo>
                      <a:pt x="75" y="81"/>
                    </a:lnTo>
                    <a:lnTo>
                      <a:pt x="110" y="81"/>
                    </a:lnTo>
                    <a:lnTo>
                      <a:pt x="110" y="115"/>
                    </a:lnTo>
                    <a:close/>
                    <a:moveTo>
                      <a:pt x="75" y="139"/>
                    </a:moveTo>
                    <a:lnTo>
                      <a:pt x="110" y="139"/>
                    </a:lnTo>
                    <a:lnTo>
                      <a:pt x="110" y="168"/>
                    </a:lnTo>
                    <a:lnTo>
                      <a:pt x="75" y="168"/>
                    </a:lnTo>
                    <a:lnTo>
                      <a:pt x="75" y="139"/>
                    </a:lnTo>
                    <a:close/>
                    <a:moveTo>
                      <a:pt x="75" y="35"/>
                    </a:moveTo>
                    <a:lnTo>
                      <a:pt x="110" y="35"/>
                    </a:lnTo>
                    <a:lnTo>
                      <a:pt x="110" y="64"/>
                    </a:lnTo>
                    <a:lnTo>
                      <a:pt x="75" y="64"/>
                    </a:lnTo>
                    <a:lnTo>
                      <a:pt x="75" y="35"/>
                    </a:lnTo>
                    <a:close/>
                    <a:moveTo>
                      <a:pt x="22" y="139"/>
                    </a:moveTo>
                    <a:lnTo>
                      <a:pt x="52" y="139"/>
                    </a:lnTo>
                    <a:lnTo>
                      <a:pt x="52" y="168"/>
                    </a:lnTo>
                    <a:lnTo>
                      <a:pt x="22" y="168"/>
                    </a:lnTo>
                    <a:lnTo>
                      <a:pt x="22" y="139"/>
                    </a:lnTo>
                    <a:close/>
                    <a:moveTo>
                      <a:pt x="22" y="81"/>
                    </a:moveTo>
                    <a:lnTo>
                      <a:pt x="52" y="81"/>
                    </a:lnTo>
                    <a:lnTo>
                      <a:pt x="52" y="115"/>
                    </a:lnTo>
                    <a:lnTo>
                      <a:pt x="22" y="115"/>
                    </a:lnTo>
                    <a:lnTo>
                      <a:pt x="22" y="81"/>
                    </a:lnTo>
                    <a:close/>
                  </a:path>
                </a:pathLst>
              </a:custGeom>
              <a:solidFill>
                <a:schemeClr val="bg2">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0" name="Freeform 8"/>
              <p:cNvSpPr>
                <a:spLocks noEditPoints="1"/>
              </p:cNvSpPr>
              <p:nvPr/>
            </p:nvSpPr>
            <p:spPr bwMode="auto">
              <a:xfrm>
                <a:off x="6897" y="1294"/>
                <a:ext cx="110" cy="505"/>
              </a:xfrm>
              <a:custGeom>
                <a:avLst/>
                <a:gdLst>
                  <a:gd name="T0" fmla="*/ 0 w 110"/>
                  <a:gd name="T1" fmla="*/ 128 h 505"/>
                  <a:gd name="T2" fmla="*/ 0 w 110"/>
                  <a:gd name="T3" fmla="*/ 505 h 505"/>
                  <a:gd name="T4" fmla="*/ 110 w 110"/>
                  <a:gd name="T5" fmla="*/ 505 h 505"/>
                  <a:gd name="T6" fmla="*/ 110 w 110"/>
                  <a:gd name="T7" fmla="*/ 128 h 505"/>
                  <a:gd name="T8" fmla="*/ 93 w 110"/>
                  <a:gd name="T9" fmla="*/ 128 h 505"/>
                  <a:gd name="T10" fmla="*/ 93 w 110"/>
                  <a:gd name="T11" fmla="*/ 82 h 505"/>
                  <a:gd name="T12" fmla="*/ 69 w 110"/>
                  <a:gd name="T13" fmla="*/ 82 h 505"/>
                  <a:gd name="T14" fmla="*/ 69 w 110"/>
                  <a:gd name="T15" fmla="*/ 40 h 505"/>
                  <a:gd name="T16" fmla="*/ 58 w 110"/>
                  <a:gd name="T17" fmla="*/ 40 h 505"/>
                  <a:gd name="T18" fmla="*/ 58 w 110"/>
                  <a:gd name="T19" fmla="*/ 0 h 505"/>
                  <a:gd name="T20" fmla="*/ 46 w 110"/>
                  <a:gd name="T21" fmla="*/ 0 h 505"/>
                  <a:gd name="T22" fmla="*/ 46 w 110"/>
                  <a:gd name="T23" fmla="*/ 40 h 505"/>
                  <a:gd name="T24" fmla="*/ 35 w 110"/>
                  <a:gd name="T25" fmla="*/ 40 h 505"/>
                  <a:gd name="T26" fmla="*/ 35 w 110"/>
                  <a:gd name="T27" fmla="*/ 82 h 505"/>
                  <a:gd name="T28" fmla="*/ 11 w 110"/>
                  <a:gd name="T29" fmla="*/ 82 h 505"/>
                  <a:gd name="T30" fmla="*/ 11 w 110"/>
                  <a:gd name="T31" fmla="*/ 128 h 505"/>
                  <a:gd name="T32" fmla="*/ 0 w 110"/>
                  <a:gd name="T33" fmla="*/ 128 h 505"/>
                  <a:gd name="T34" fmla="*/ 58 w 110"/>
                  <a:gd name="T35" fmla="*/ 256 h 505"/>
                  <a:gd name="T36" fmla="*/ 93 w 110"/>
                  <a:gd name="T37" fmla="*/ 256 h 505"/>
                  <a:gd name="T38" fmla="*/ 93 w 110"/>
                  <a:gd name="T39" fmla="*/ 291 h 505"/>
                  <a:gd name="T40" fmla="*/ 58 w 110"/>
                  <a:gd name="T41" fmla="*/ 291 h 505"/>
                  <a:gd name="T42" fmla="*/ 58 w 110"/>
                  <a:gd name="T43" fmla="*/ 256 h 505"/>
                  <a:gd name="T44" fmla="*/ 58 w 110"/>
                  <a:gd name="T45" fmla="*/ 152 h 505"/>
                  <a:gd name="T46" fmla="*/ 93 w 110"/>
                  <a:gd name="T47" fmla="*/ 152 h 505"/>
                  <a:gd name="T48" fmla="*/ 93 w 110"/>
                  <a:gd name="T49" fmla="*/ 187 h 505"/>
                  <a:gd name="T50" fmla="*/ 58 w 110"/>
                  <a:gd name="T51" fmla="*/ 187 h 505"/>
                  <a:gd name="T52" fmla="*/ 58 w 110"/>
                  <a:gd name="T53" fmla="*/ 152 h 505"/>
                  <a:gd name="T54" fmla="*/ 11 w 110"/>
                  <a:gd name="T55" fmla="*/ 203 h 505"/>
                  <a:gd name="T56" fmla="*/ 46 w 110"/>
                  <a:gd name="T57" fmla="*/ 203 h 505"/>
                  <a:gd name="T58" fmla="*/ 46 w 110"/>
                  <a:gd name="T59" fmla="*/ 238 h 505"/>
                  <a:gd name="T60" fmla="*/ 11 w 110"/>
                  <a:gd name="T61" fmla="*/ 238 h 505"/>
                  <a:gd name="T62" fmla="*/ 11 w 110"/>
                  <a:gd name="T63" fmla="*/ 203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 h="505">
                    <a:moveTo>
                      <a:pt x="0" y="128"/>
                    </a:moveTo>
                    <a:lnTo>
                      <a:pt x="0" y="505"/>
                    </a:lnTo>
                    <a:lnTo>
                      <a:pt x="110" y="505"/>
                    </a:lnTo>
                    <a:lnTo>
                      <a:pt x="110" y="128"/>
                    </a:lnTo>
                    <a:lnTo>
                      <a:pt x="93" y="128"/>
                    </a:lnTo>
                    <a:lnTo>
                      <a:pt x="93" y="82"/>
                    </a:lnTo>
                    <a:lnTo>
                      <a:pt x="69" y="82"/>
                    </a:lnTo>
                    <a:lnTo>
                      <a:pt x="69" y="40"/>
                    </a:lnTo>
                    <a:lnTo>
                      <a:pt x="58" y="40"/>
                    </a:lnTo>
                    <a:lnTo>
                      <a:pt x="58" y="0"/>
                    </a:lnTo>
                    <a:lnTo>
                      <a:pt x="46" y="0"/>
                    </a:lnTo>
                    <a:lnTo>
                      <a:pt x="46" y="40"/>
                    </a:lnTo>
                    <a:lnTo>
                      <a:pt x="35" y="40"/>
                    </a:lnTo>
                    <a:lnTo>
                      <a:pt x="35" y="82"/>
                    </a:lnTo>
                    <a:lnTo>
                      <a:pt x="11" y="82"/>
                    </a:lnTo>
                    <a:lnTo>
                      <a:pt x="11" y="128"/>
                    </a:lnTo>
                    <a:lnTo>
                      <a:pt x="0" y="128"/>
                    </a:lnTo>
                    <a:close/>
                    <a:moveTo>
                      <a:pt x="58" y="256"/>
                    </a:moveTo>
                    <a:lnTo>
                      <a:pt x="93" y="256"/>
                    </a:lnTo>
                    <a:lnTo>
                      <a:pt x="93" y="291"/>
                    </a:lnTo>
                    <a:lnTo>
                      <a:pt x="58" y="291"/>
                    </a:lnTo>
                    <a:lnTo>
                      <a:pt x="58" y="256"/>
                    </a:lnTo>
                    <a:close/>
                    <a:moveTo>
                      <a:pt x="58" y="152"/>
                    </a:moveTo>
                    <a:lnTo>
                      <a:pt x="93" y="152"/>
                    </a:lnTo>
                    <a:lnTo>
                      <a:pt x="93" y="187"/>
                    </a:lnTo>
                    <a:lnTo>
                      <a:pt x="58" y="187"/>
                    </a:lnTo>
                    <a:lnTo>
                      <a:pt x="58" y="152"/>
                    </a:lnTo>
                    <a:close/>
                    <a:moveTo>
                      <a:pt x="11" y="203"/>
                    </a:moveTo>
                    <a:lnTo>
                      <a:pt x="46" y="203"/>
                    </a:lnTo>
                    <a:lnTo>
                      <a:pt x="46" y="238"/>
                    </a:lnTo>
                    <a:lnTo>
                      <a:pt x="11" y="238"/>
                    </a:lnTo>
                    <a:lnTo>
                      <a:pt x="11" y="203"/>
                    </a:lnTo>
                    <a:close/>
                  </a:path>
                </a:pathLst>
              </a:custGeom>
              <a:solidFill>
                <a:schemeClr val="bg2">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1" name="Freeform 9"/>
              <p:cNvSpPr>
                <a:spLocks noEditPoints="1"/>
              </p:cNvSpPr>
              <p:nvPr/>
            </p:nvSpPr>
            <p:spPr bwMode="auto">
              <a:xfrm>
                <a:off x="6745" y="1462"/>
                <a:ext cx="128" cy="337"/>
              </a:xfrm>
              <a:custGeom>
                <a:avLst/>
                <a:gdLst>
                  <a:gd name="T0" fmla="*/ 0 w 128"/>
                  <a:gd name="T1" fmla="*/ 337 h 337"/>
                  <a:gd name="T2" fmla="*/ 128 w 128"/>
                  <a:gd name="T3" fmla="*/ 337 h 337"/>
                  <a:gd name="T4" fmla="*/ 128 w 128"/>
                  <a:gd name="T5" fmla="*/ 0 h 337"/>
                  <a:gd name="T6" fmla="*/ 0 w 128"/>
                  <a:gd name="T7" fmla="*/ 0 h 337"/>
                  <a:gd name="T8" fmla="*/ 0 w 128"/>
                  <a:gd name="T9" fmla="*/ 337 h 337"/>
                  <a:gd name="T10" fmla="*/ 59 w 128"/>
                  <a:gd name="T11" fmla="*/ 70 h 337"/>
                  <a:gd name="T12" fmla="*/ 18 w 128"/>
                  <a:gd name="T13" fmla="*/ 70 h 337"/>
                  <a:gd name="T14" fmla="*/ 18 w 128"/>
                  <a:gd name="T15" fmla="*/ 35 h 337"/>
                  <a:gd name="T16" fmla="*/ 59 w 128"/>
                  <a:gd name="T17" fmla="*/ 35 h 337"/>
                  <a:gd name="T18" fmla="*/ 59 w 128"/>
                  <a:gd name="T19" fmla="*/ 70 h 337"/>
                  <a:gd name="T20" fmla="*/ 112 w 128"/>
                  <a:gd name="T21" fmla="*/ 267 h 337"/>
                  <a:gd name="T22" fmla="*/ 82 w 128"/>
                  <a:gd name="T23" fmla="*/ 267 h 337"/>
                  <a:gd name="T24" fmla="*/ 82 w 128"/>
                  <a:gd name="T25" fmla="*/ 233 h 337"/>
                  <a:gd name="T26" fmla="*/ 112 w 128"/>
                  <a:gd name="T27" fmla="*/ 233 h 337"/>
                  <a:gd name="T28" fmla="*/ 112 w 128"/>
                  <a:gd name="T29" fmla="*/ 267 h 337"/>
                  <a:gd name="T30" fmla="*/ 82 w 128"/>
                  <a:gd name="T31" fmla="*/ 139 h 337"/>
                  <a:gd name="T32" fmla="*/ 112 w 128"/>
                  <a:gd name="T33" fmla="*/ 139 h 337"/>
                  <a:gd name="T34" fmla="*/ 112 w 128"/>
                  <a:gd name="T35" fmla="*/ 169 h 337"/>
                  <a:gd name="T36" fmla="*/ 82 w 128"/>
                  <a:gd name="T37" fmla="*/ 169 h 337"/>
                  <a:gd name="T38" fmla="*/ 82 w 128"/>
                  <a:gd name="T39" fmla="*/ 139 h 337"/>
                  <a:gd name="T40" fmla="*/ 82 w 128"/>
                  <a:gd name="T41" fmla="*/ 35 h 337"/>
                  <a:gd name="T42" fmla="*/ 112 w 128"/>
                  <a:gd name="T43" fmla="*/ 35 h 337"/>
                  <a:gd name="T44" fmla="*/ 112 w 128"/>
                  <a:gd name="T45" fmla="*/ 70 h 337"/>
                  <a:gd name="T46" fmla="*/ 82 w 128"/>
                  <a:gd name="T47" fmla="*/ 70 h 337"/>
                  <a:gd name="T48" fmla="*/ 82 w 128"/>
                  <a:gd name="T49" fmla="*/ 35 h 337"/>
                  <a:gd name="T50" fmla="*/ 18 w 128"/>
                  <a:gd name="T51" fmla="*/ 187 h 337"/>
                  <a:gd name="T52" fmla="*/ 59 w 128"/>
                  <a:gd name="T53" fmla="*/ 187 h 337"/>
                  <a:gd name="T54" fmla="*/ 59 w 128"/>
                  <a:gd name="T55" fmla="*/ 214 h 337"/>
                  <a:gd name="T56" fmla="*/ 18 w 128"/>
                  <a:gd name="T57" fmla="*/ 214 h 337"/>
                  <a:gd name="T58" fmla="*/ 18 w 128"/>
                  <a:gd name="T59" fmla="*/ 187 h 337"/>
                  <a:gd name="T60" fmla="*/ 18 w 128"/>
                  <a:gd name="T61" fmla="*/ 88 h 337"/>
                  <a:gd name="T62" fmla="*/ 59 w 128"/>
                  <a:gd name="T63" fmla="*/ 88 h 337"/>
                  <a:gd name="T64" fmla="*/ 59 w 128"/>
                  <a:gd name="T65" fmla="*/ 123 h 337"/>
                  <a:gd name="T66" fmla="*/ 18 w 128"/>
                  <a:gd name="T67" fmla="*/ 123 h 337"/>
                  <a:gd name="T68" fmla="*/ 18 w 128"/>
                  <a:gd name="T69" fmla="*/ 8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337">
                    <a:moveTo>
                      <a:pt x="0" y="337"/>
                    </a:moveTo>
                    <a:lnTo>
                      <a:pt x="128" y="337"/>
                    </a:lnTo>
                    <a:lnTo>
                      <a:pt x="128" y="0"/>
                    </a:lnTo>
                    <a:lnTo>
                      <a:pt x="0" y="0"/>
                    </a:lnTo>
                    <a:lnTo>
                      <a:pt x="0" y="337"/>
                    </a:lnTo>
                    <a:close/>
                    <a:moveTo>
                      <a:pt x="59" y="70"/>
                    </a:moveTo>
                    <a:lnTo>
                      <a:pt x="18" y="70"/>
                    </a:lnTo>
                    <a:lnTo>
                      <a:pt x="18" y="35"/>
                    </a:lnTo>
                    <a:lnTo>
                      <a:pt x="59" y="35"/>
                    </a:lnTo>
                    <a:lnTo>
                      <a:pt x="59" y="70"/>
                    </a:lnTo>
                    <a:close/>
                    <a:moveTo>
                      <a:pt x="112" y="267"/>
                    </a:moveTo>
                    <a:lnTo>
                      <a:pt x="82" y="267"/>
                    </a:lnTo>
                    <a:lnTo>
                      <a:pt x="82" y="233"/>
                    </a:lnTo>
                    <a:lnTo>
                      <a:pt x="112" y="233"/>
                    </a:lnTo>
                    <a:lnTo>
                      <a:pt x="112" y="267"/>
                    </a:lnTo>
                    <a:close/>
                    <a:moveTo>
                      <a:pt x="82" y="139"/>
                    </a:moveTo>
                    <a:lnTo>
                      <a:pt x="112" y="139"/>
                    </a:lnTo>
                    <a:lnTo>
                      <a:pt x="112" y="169"/>
                    </a:lnTo>
                    <a:lnTo>
                      <a:pt x="82" y="169"/>
                    </a:lnTo>
                    <a:lnTo>
                      <a:pt x="82" y="139"/>
                    </a:lnTo>
                    <a:close/>
                    <a:moveTo>
                      <a:pt x="82" y="35"/>
                    </a:moveTo>
                    <a:lnTo>
                      <a:pt x="112" y="35"/>
                    </a:lnTo>
                    <a:lnTo>
                      <a:pt x="112" y="70"/>
                    </a:lnTo>
                    <a:lnTo>
                      <a:pt x="82" y="70"/>
                    </a:lnTo>
                    <a:lnTo>
                      <a:pt x="82" y="35"/>
                    </a:lnTo>
                    <a:close/>
                    <a:moveTo>
                      <a:pt x="18" y="187"/>
                    </a:moveTo>
                    <a:lnTo>
                      <a:pt x="59" y="187"/>
                    </a:lnTo>
                    <a:lnTo>
                      <a:pt x="59" y="214"/>
                    </a:lnTo>
                    <a:lnTo>
                      <a:pt x="18" y="214"/>
                    </a:lnTo>
                    <a:lnTo>
                      <a:pt x="18" y="187"/>
                    </a:lnTo>
                    <a:close/>
                    <a:moveTo>
                      <a:pt x="18" y="88"/>
                    </a:moveTo>
                    <a:lnTo>
                      <a:pt x="59" y="88"/>
                    </a:lnTo>
                    <a:lnTo>
                      <a:pt x="59" y="123"/>
                    </a:lnTo>
                    <a:lnTo>
                      <a:pt x="18" y="123"/>
                    </a:lnTo>
                    <a:lnTo>
                      <a:pt x="18" y="88"/>
                    </a:lnTo>
                    <a:close/>
                  </a:path>
                </a:pathLst>
              </a:custGeom>
              <a:solidFill>
                <a:schemeClr val="bg2">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2" name="Freeform 10"/>
              <p:cNvSpPr>
                <a:spLocks noEditPoints="1"/>
              </p:cNvSpPr>
              <p:nvPr/>
            </p:nvSpPr>
            <p:spPr bwMode="auto">
              <a:xfrm>
                <a:off x="6595" y="1347"/>
                <a:ext cx="134" cy="452"/>
              </a:xfrm>
              <a:custGeom>
                <a:avLst/>
                <a:gdLst>
                  <a:gd name="T0" fmla="*/ 71 w 134"/>
                  <a:gd name="T1" fmla="*/ 0 h 452"/>
                  <a:gd name="T2" fmla="*/ 44 w 134"/>
                  <a:gd name="T3" fmla="*/ 46 h 452"/>
                  <a:gd name="T4" fmla="*/ 17 w 134"/>
                  <a:gd name="T5" fmla="*/ 46 h 452"/>
                  <a:gd name="T6" fmla="*/ 17 w 134"/>
                  <a:gd name="T7" fmla="*/ 81 h 452"/>
                  <a:gd name="T8" fmla="*/ 0 w 134"/>
                  <a:gd name="T9" fmla="*/ 81 h 452"/>
                  <a:gd name="T10" fmla="*/ 0 w 134"/>
                  <a:gd name="T11" fmla="*/ 452 h 452"/>
                  <a:gd name="T12" fmla="*/ 134 w 134"/>
                  <a:gd name="T13" fmla="*/ 452 h 452"/>
                  <a:gd name="T14" fmla="*/ 134 w 134"/>
                  <a:gd name="T15" fmla="*/ 0 h 452"/>
                  <a:gd name="T16" fmla="*/ 71 w 134"/>
                  <a:gd name="T17" fmla="*/ 0 h 452"/>
                  <a:gd name="T18" fmla="*/ 64 w 134"/>
                  <a:gd name="T19" fmla="*/ 185 h 452"/>
                  <a:gd name="T20" fmla="*/ 24 w 134"/>
                  <a:gd name="T21" fmla="*/ 185 h 452"/>
                  <a:gd name="T22" fmla="*/ 24 w 134"/>
                  <a:gd name="T23" fmla="*/ 150 h 452"/>
                  <a:gd name="T24" fmla="*/ 64 w 134"/>
                  <a:gd name="T25" fmla="*/ 150 h 452"/>
                  <a:gd name="T26" fmla="*/ 64 w 134"/>
                  <a:gd name="T27" fmla="*/ 185 h 452"/>
                  <a:gd name="T28" fmla="*/ 110 w 134"/>
                  <a:gd name="T29" fmla="*/ 388 h 452"/>
                  <a:gd name="T30" fmla="*/ 70 w 134"/>
                  <a:gd name="T31" fmla="*/ 388 h 452"/>
                  <a:gd name="T32" fmla="*/ 70 w 134"/>
                  <a:gd name="T33" fmla="*/ 359 h 452"/>
                  <a:gd name="T34" fmla="*/ 110 w 134"/>
                  <a:gd name="T35" fmla="*/ 359 h 452"/>
                  <a:gd name="T36" fmla="*/ 110 w 134"/>
                  <a:gd name="T37" fmla="*/ 388 h 452"/>
                  <a:gd name="T38" fmla="*/ 70 w 134"/>
                  <a:gd name="T39" fmla="*/ 254 h 452"/>
                  <a:gd name="T40" fmla="*/ 110 w 134"/>
                  <a:gd name="T41" fmla="*/ 254 h 452"/>
                  <a:gd name="T42" fmla="*/ 110 w 134"/>
                  <a:gd name="T43" fmla="*/ 284 h 452"/>
                  <a:gd name="T44" fmla="*/ 70 w 134"/>
                  <a:gd name="T45" fmla="*/ 284 h 452"/>
                  <a:gd name="T46" fmla="*/ 70 w 134"/>
                  <a:gd name="T47" fmla="*/ 254 h 452"/>
                  <a:gd name="T48" fmla="*/ 70 w 134"/>
                  <a:gd name="T49" fmla="*/ 150 h 452"/>
                  <a:gd name="T50" fmla="*/ 110 w 134"/>
                  <a:gd name="T51" fmla="*/ 150 h 452"/>
                  <a:gd name="T52" fmla="*/ 110 w 134"/>
                  <a:gd name="T53" fmla="*/ 185 h 452"/>
                  <a:gd name="T54" fmla="*/ 70 w 134"/>
                  <a:gd name="T55" fmla="*/ 185 h 452"/>
                  <a:gd name="T56" fmla="*/ 70 w 134"/>
                  <a:gd name="T57" fmla="*/ 150 h 452"/>
                  <a:gd name="T58" fmla="*/ 70 w 134"/>
                  <a:gd name="T59" fmla="*/ 203 h 452"/>
                  <a:gd name="T60" fmla="*/ 110 w 134"/>
                  <a:gd name="T61" fmla="*/ 203 h 452"/>
                  <a:gd name="T62" fmla="*/ 110 w 134"/>
                  <a:gd name="T63" fmla="*/ 238 h 452"/>
                  <a:gd name="T64" fmla="*/ 70 w 134"/>
                  <a:gd name="T65" fmla="*/ 238 h 452"/>
                  <a:gd name="T66" fmla="*/ 70 w 134"/>
                  <a:gd name="T67" fmla="*/ 203 h 452"/>
                  <a:gd name="T68" fmla="*/ 24 w 134"/>
                  <a:gd name="T69" fmla="*/ 307 h 452"/>
                  <a:gd name="T70" fmla="*/ 64 w 134"/>
                  <a:gd name="T71" fmla="*/ 307 h 452"/>
                  <a:gd name="T72" fmla="*/ 64 w 134"/>
                  <a:gd name="T73" fmla="*/ 342 h 452"/>
                  <a:gd name="T74" fmla="*/ 24 w 134"/>
                  <a:gd name="T75" fmla="*/ 342 h 452"/>
                  <a:gd name="T76" fmla="*/ 24 w 134"/>
                  <a:gd name="T77" fmla="*/ 307 h 452"/>
                  <a:gd name="T78" fmla="*/ 24 w 134"/>
                  <a:gd name="T79" fmla="*/ 203 h 452"/>
                  <a:gd name="T80" fmla="*/ 64 w 134"/>
                  <a:gd name="T81" fmla="*/ 203 h 452"/>
                  <a:gd name="T82" fmla="*/ 64 w 134"/>
                  <a:gd name="T83" fmla="*/ 238 h 452"/>
                  <a:gd name="T84" fmla="*/ 24 w 134"/>
                  <a:gd name="T85" fmla="*/ 238 h 452"/>
                  <a:gd name="T86" fmla="*/ 24 w 134"/>
                  <a:gd name="T87" fmla="*/ 203 h 452"/>
                  <a:gd name="T88" fmla="*/ 24 w 134"/>
                  <a:gd name="T89" fmla="*/ 254 h 452"/>
                  <a:gd name="T90" fmla="*/ 64 w 134"/>
                  <a:gd name="T91" fmla="*/ 254 h 452"/>
                  <a:gd name="T92" fmla="*/ 64 w 134"/>
                  <a:gd name="T93" fmla="*/ 284 h 452"/>
                  <a:gd name="T94" fmla="*/ 24 w 134"/>
                  <a:gd name="T95" fmla="*/ 284 h 452"/>
                  <a:gd name="T96" fmla="*/ 24 w 134"/>
                  <a:gd name="T97" fmla="*/ 254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 h="452">
                    <a:moveTo>
                      <a:pt x="71" y="0"/>
                    </a:moveTo>
                    <a:lnTo>
                      <a:pt x="44" y="46"/>
                    </a:lnTo>
                    <a:lnTo>
                      <a:pt x="17" y="46"/>
                    </a:lnTo>
                    <a:lnTo>
                      <a:pt x="17" y="81"/>
                    </a:lnTo>
                    <a:lnTo>
                      <a:pt x="0" y="81"/>
                    </a:lnTo>
                    <a:lnTo>
                      <a:pt x="0" y="452"/>
                    </a:lnTo>
                    <a:lnTo>
                      <a:pt x="134" y="452"/>
                    </a:lnTo>
                    <a:lnTo>
                      <a:pt x="134" y="0"/>
                    </a:lnTo>
                    <a:lnTo>
                      <a:pt x="71" y="0"/>
                    </a:lnTo>
                    <a:close/>
                    <a:moveTo>
                      <a:pt x="64" y="185"/>
                    </a:moveTo>
                    <a:lnTo>
                      <a:pt x="24" y="185"/>
                    </a:lnTo>
                    <a:lnTo>
                      <a:pt x="24" y="150"/>
                    </a:lnTo>
                    <a:lnTo>
                      <a:pt x="64" y="150"/>
                    </a:lnTo>
                    <a:lnTo>
                      <a:pt x="64" y="185"/>
                    </a:lnTo>
                    <a:close/>
                    <a:moveTo>
                      <a:pt x="110" y="388"/>
                    </a:moveTo>
                    <a:lnTo>
                      <a:pt x="70" y="388"/>
                    </a:lnTo>
                    <a:lnTo>
                      <a:pt x="70" y="359"/>
                    </a:lnTo>
                    <a:lnTo>
                      <a:pt x="110" y="359"/>
                    </a:lnTo>
                    <a:lnTo>
                      <a:pt x="110" y="388"/>
                    </a:lnTo>
                    <a:close/>
                    <a:moveTo>
                      <a:pt x="70" y="254"/>
                    </a:moveTo>
                    <a:lnTo>
                      <a:pt x="110" y="254"/>
                    </a:lnTo>
                    <a:lnTo>
                      <a:pt x="110" y="284"/>
                    </a:lnTo>
                    <a:lnTo>
                      <a:pt x="70" y="284"/>
                    </a:lnTo>
                    <a:lnTo>
                      <a:pt x="70" y="254"/>
                    </a:lnTo>
                    <a:close/>
                    <a:moveTo>
                      <a:pt x="70" y="150"/>
                    </a:moveTo>
                    <a:lnTo>
                      <a:pt x="110" y="150"/>
                    </a:lnTo>
                    <a:lnTo>
                      <a:pt x="110" y="185"/>
                    </a:lnTo>
                    <a:lnTo>
                      <a:pt x="70" y="185"/>
                    </a:lnTo>
                    <a:lnTo>
                      <a:pt x="70" y="150"/>
                    </a:lnTo>
                    <a:close/>
                    <a:moveTo>
                      <a:pt x="70" y="203"/>
                    </a:moveTo>
                    <a:lnTo>
                      <a:pt x="110" y="203"/>
                    </a:lnTo>
                    <a:lnTo>
                      <a:pt x="110" y="238"/>
                    </a:lnTo>
                    <a:lnTo>
                      <a:pt x="70" y="238"/>
                    </a:lnTo>
                    <a:lnTo>
                      <a:pt x="70" y="203"/>
                    </a:lnTo>
                    <a:close/>
                    <a:moveTo>
                      <a:pt x="24" y="307"/>
                    </a:moveTo>
                    <a:lnTo>
                      <a:pt x="64" y="307"/>
                    </a:lnTo>
                    <a:lnTo>
                      <a:pt x="64" y="342"/>
                    </a:lnTo>
                    <a:lnTo>
                      <a:pt x="24" y="342"/>
                    </a:lnTo>
                    <a:lnTo>
                      <a:pt x="24" y="307"/>
                    </a:lnTo>
                    <a:close/>
                    <a:moveTo>
                      <a:pt x="24" y="203"/>
                    </a:moveTo>
                    <a:lnTo>
                      <a:pt x="64" y="203"/>
                    </a:lnTo>
                    <a:lnTo>
                      <a:pt x="64" y="238"/>
                    </a:lnTo>
                    <a:lnTo>
                      <a:pt x="24" y="238"/>
                    </a:lnTo>
                    <a:lnTo>
                      <a:pt x="24" y="203"/>
                    </a:lnTo>
                    <a:close/>
                    <a:moveTo>
                      <a:pt x="24" y="254"/>
                    </a:moveTo>
                    <a:lnTo>
                      <a:pt x="64" y="254"/>
                    </a:lnTo>
                    <a:lnTo>
                      <a:pt x="64" y="284"/>
                    </a:lnTo>
                    <a:lnTo>
                      <a:pt x="24" y="284"/>
                    </a:lnTo>
                    <a:lnTo>
                      <a:pt x="24" y="254"/>
                    </a:lnTo>
                    <a:close/>
                  </a:path>
                </a:pathLst>
              </a:custGeom>
              <a:solidFill>
                <a:schemeClr val="bg2">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83" name="Group 282"/>
            <p:cNvGrpSpPr>
              <a:grpSpLocks noChangeAspect="1"/>
            </p:cNvGrpSpPr>
            <p:nvPr/>
          </p:nvGrpSpPr>
          <p:grpSpPr>
            <a:xfrm>
              <a:off x="9671186" y="2353578"/>
              <a:ext cx="457200" cy="467231"/>
              <a:chOff x="9690231" y="2191100"/>
              <a:chExt cx="625145" cy="638860"/>
            </a:xfrm>
          </p:grpSpPr>
          <p:sp>
            <p:nvSpPr>
              <p:cNvPr id="313" name="Freeform 20"/>
              <p:cNvSpPr>
                <a:spLocks noEditPoints="1"/>
              </p:cNvSpPr>
              <p:nvPr/>
            </p:nvSpPr>
            <p:spPr bwMode="auto">
              <a:xfrm>
                <a:off x="9690231" y="2635303"/>
                <a:ext cx="625145" cy="19465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chemeClr val="bg1">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4" name="Freeform 20"/>
              <p:cNvSpPr>
                <a:spLocks noEditPoints="1"/>
              </p:cNvSpPr>
              <p:nvPr/>
            </p:nvSpPr>
            <p:spPr bwMode="auto">
              <a:xfrm>
                <a:off x="9690231" y="2413239"/>
                <a:ext cx="625145" cy="19465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chemeClr val="bg1">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5" name="Freeform 20"/>
              <p:cNvSpPr>
                <a:spLocks noEditPoints="1"/>
              </p:cNvSpPr>
              <p:nvPr/>
            </p:nvSpPr>
            <p:spPr bwMode="auto">
              <a:xfrm>
                <a:off x="9690231" y="2191100"/>
                <a:ext cx="625145" cy="19465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chemeClr val="bg1">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285" name="Group 284"/>
            <p:cNvGrpSpPr/>
            <p:nvPr/>
          </p:nvGrpSpPr>
          <p:grpSpPr>
            <a:xfrm>
              <a:off x="10972800" y="593418"/>
              <a:ext cx="740155" cy="864029"/>
              <a:chOff x="10813929" y="1703003"/>
              <a:chExt cx="793102" cy="925838"/>
            </a:xfrm>
          </p:grpSpPr>
          <p:grpSp>
            <p:nvGrpSpPr>
              <p:cNvPr id="307" name="Group 306"/>
              <p:cNvGrpSpPr>
                <a:grpSpLocks noChangeAspect="1"/>
              </p:cNvGrpSpPr>
              <p:nvPr/>
            </p:nvGrpSpPr>
            <p:grpSpPr>
              <a:xfrm>
                <a:off x="10885789" y="1703003"/>
                <a:ext cx="649383" cy="640080"/>
                <a:chOff x="9168011" y="5170684"/>
                <a:chExt cx="665163" cy="655637"/>
              </a:xfrm>
            </p:grpSpPr>
            <p:sp>
              <p:nvSpPr>
                <p:cNvPr id="309" name="Freeform 44"/>
                <p:cNvSpPr>
                  <a:spLocks/>
                </p:cNvSpPr>
                <p:nvPr/>
              </p:nvSpPr>
              <p:spPr bwMode="auto">
                <a:xfrm>
                  <a:off x="9168012" y="5170684"/>
                  <a:ext cx="244474" cy="26670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solidFill>
                  <a:schemeClr val="bg1"/>
                </a:solidFill>
                <a:ln w="12700" cap="flat">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w="12700">
                      <a:solidFill>
                        <a:srgbClr val="505050"/>
                      </a:solidFill>
                    </a:ln>
                    <a:solidFill>
                      <a:srgbClr val="002050"/>
                    </a:solidFill>
                    <a:effectLst/>
                    <a:uLnTx/>
                    <a:uFillTx/>
                    <a:latin typeface="Segoe UI"/>
                    <a:ea typeface="+mn-ea"/>
                    <a:cs typeface="+mn-cs"/>
                  </a:endParaRPr>
                </a:p>
              </p:txBody>
            </p:sp>
            <p:sp>
              <p:nvSpPr>
                <p:cNvPr id="310" name="Freeform 45"/>
                <p:cNvSpPr>
                  <a:spLocks/>
                </p:cNvSpPr>
                <p:nvPr/>
              </p:nvSpPr>
              <p:spPr bwMode="auto">
                <a:xfrm>
                  <a:off x="9168014" y="5481833"/>
                  <a:ext cx="244474" cy="133350"/>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w="12700">
                      <a:solidFill>
                        <a:srgbClr val="505050"/>
                      </a:solidFill>
                    </a:ln>
                    <a:solidFill>
                      <a:srgbClr val="002050"/>
                    </a:solidFill>
                    <a:effectLst/>
                    <a:uLnTx/>
                    <a:uFillTx/>
                    <a:latin typeface="Segoe UI"/>
                    <a:ea typeface="+mn-ea"/>
                    <a:cs typeface="+mn-cs"/>
                  </a:endParaRPr>
                </a:p>
              </p:txBody>
            </p:sp>
            <p:sp>
              <p:nvSpPr>
                <p:cNvPr id="311" name="Freeform 46"/>
                <p:cNvSpPr>
                  <a:spLocks/>
                </p:cNvSpPr>
                <p:nvPr/>
              </p:nvSpPr>
              <p:spPr bwMode="auto">
                <a:xfrm>
                  <a:off x="9456935" y="5170684"/>
                  <a:ext cx="376238" cy="444499"/>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w="12700">
                      <a:solidFill>
                        <a:srgbClr val="505050"/>
                      </a:solidFill>
                    </a:ln>
                    <a:solidFill>
                      <a:srgbClr val="002050"/>
                    </a:solidFill>
                    <a:effectLst/>
                    <a:uLnTx/>
                    <a:uFillTx/>
                    <a:latin typeface="Segoe UI"/>
                    <a:ea typeface="+mn-ea"/>
                    <a:cs typeface="+mn-cs"/>
                  </a:endParaRPr>
                </a:p>
              </p:txBody>
            </p:sp>
            <p:sp>
              <p:nvSpPr>
                <p:cNvPr id="312" name="Freeform 47"/>
                <p:cNvSpPr>
                  <a:spLocks/>
                </p:cNvSpPr>
                <p:nvPr/>
              </p:nvSpPr>
              <p:spPr bwMode="auto">
                <a:xfrm>
                  <a:off x="9168011" y="5667570"/>
                  <a:ext cx="665163" cy="158751"/>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noFill/>
                <a:ln w="12700" cap="flat">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w="12700">
                      <a:solidFill>
                        <a:srgbClr val="505050"/>
                      </a:solidFill>
                    </a:ln>
                    <a:solidFill>
                      <a:srgbClr val="002050"/>
                    </a:solidFill>
                    <a:effectLst/>
                    <a:uLnTx/>
                    <a:uFillTx/>
                    <a:latin typeface="Segoe UI"/>
                    <a:ea typeface="+mn-ea"/>
                    <a:cs typeface="+mn-cs"/>
                  </a:endParaRPr>
                </a:p>
              </p:txBody>
            </p:sp>
          </p:grpSp>
          <p:sp>
            <p:nvSpPr>
              <p:cNvPr id="308" name="Rectangle 307"/>
              <p:cNvSpPr/>
              <p:nvPr/>
            </p:nvSpPr>
            <p:spPr>
              <a:xfrm>
                <a:off x="10813929" y="2351842"/>
                <a:ext cx="79310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Your apps</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86" name="Group 285"/>
            <p:cNvGrpSpPr>
              <a:grpSpLocks noChangeAspect="1"/>
            </p:cNvGrpSpPr>
            <p:nvPr/>
          </p:nvGrpSpPr>
          <p:grpSpPr>
            <a:xfrm>
              <a:off x="9667589" y="571500"/>
              <a:ext cx="1188720" cy="710563"/>
              <a:chOff x="6173007" y="5404371"/>
              <a:chExt cx="1609822" cy="962280"/>
            </a:xfrm>
          </p:grpSpPr>
          <p:sp>
            <p:nvSpPr>
              <p:cNvPr id="297" name="Freeform 5"/>
              <p:cNvSpPr>
                <a:spLocks noChangeAspect="1" noEditPoints="1"/>
              </p:cNvSpPr>
              <p:nvPr/>
            </p:nvSpPr>
            <p:spPr bwMode="black">
              <a:xfrm>
                <a:off x="6173007" y="6046611"/>
                <a:ext cx="1596596" cy="320040"/>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98" name="Group 297"/>
              <p:cNvGrpSpPr/>
              <p:nvPr/>
            </p:nvGrpSpPr>
            <p:grpSpPr>
              <a:xfrm>
                <a:off x="6173007" y="5404371"/>
                <a:ext cx="460534" cy="460374"/>
                <a:chOff x="1477963" y="9724041"/>
                <a:chExt cx="9232900" cy="9229730"/>
              </a:xfrm>
              <a:solidFill>
                <a:schemeClr val="bg1"/>
              </a:solidFill>
            </p:grpSpPr>
            <p:sp>
              <p:nvSpPr>
                <p:cNvPr id="305" name="Freeform 9"/>
                <p:cNvSpPr>
                  <a:spLocks/>
                </p:cNvSpPr>
                <p:nvPr/>
              </p:nvSpPr>
              <p:spPr bwMode="auto">
                <a:xfrm>
                  <a:off x="3686174" y="12040203"/>
                  <a:ext cx="2589224" cy="2587624"/>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6" name="Freeform 10"/>
                <p:cNvSpPr>
                  <a:spLocks noEditPoints="1"/>
                </p:cNvSpPr>
                <p:nvPr/>
              </p:nvSpPr>
              <p:spPr bwMode="auto">
                <a:xfrm>
                  <a:off x="1477963" y="9724041"/>
                  <a:ext cx="9232900" cy="9229730"/>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99" name="Group 298"/>
              <p:cNvGrpSpPr/>
              <p:nvPr/>
            </p:nvGrpSpPr>
            <p:grpSpPr>
              <a:xfrm>
                <a:off x="6747651" y="5404371"/>
                <a:ext cx="460534" cy="460374"/>
                <a:chOff x="1477963" y="9724041"/>
                <a:chExt cx="9232900" cy="9229730"/>
              </a:xfrm>
              <a:solidFill>
                <a:schemeClr val="bg1"/>
              </a:solidFill>
            </p:grpSpPr>
            <p:sp>
              <p:nvSpPr>
                <p:cNvPr id="303" name="Freeform 9"/>
                <p:cNvSpPr>
                  <a:spLocks/>
                </p:cNvSpPr>
                <p:nvPr/>
              </p:nvSpPr>
              <p:spPr bwMode="auto">
                <a:xfrm>
                  <a:off x="3686174" y="12040211"/>
                  <a:ext cx="2589224" cy="258761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4" name="Freeform 10"/>
                <p:cNvSpPr>
                  <a:spLocks noEditPoints="1"/>
                </p:cNvSpPr>
                <p:nvPr/>
              </p:nvSpPr>
              <p:spPr bwMode="auto">
                <a:xfrm>
                  <a:off x="1477963" y="9724041"/>
                  <a:ext cx="9232900" cy="9229730"/>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300" name="Group 299"/>
              <p:cNvGrpSpPr/>
              <p:nvPr/>
            </p:nvGrpSpPr>
            <p:grpSpPr>
              <a:xfrm>
                <a:off x="7322295" y="5404371"/>
                <a:ext cx="460534" cy="460374"/>
                <a:chOff x="1477963" y="9724041"/>
                <a:chExt cx="9232900" cy="9229730"/>
              </a:xfrm>
              <a:solidFill>
                <a:schemeClr val="bg1"/>
              </a:solidFill>
            </p:grpSpPr>
            <p:sp>
              <p:nvSpPr>
                <p:cNvPr id="301" name="Freeform 9"/>
                <p:cNvSpPr>
                  <a:spLocks/>
                </p:cNvSpPr>
                <p:nvPr/>
              </p:nvSpPr>
              <p:spPr bwMode="auto">
                <a:xfrm>
                  <a:off x="3686174" y="12040211"/>
                  <a:ext cx="2589224" cy="258761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2" name="Freeform 10"/>
                <p:cNvSpPr>
                  <a:spLocks noEditPoints="1"/>
                </p:cNvSpPr>
                <p:nvPr/>
              </p:nvSpPr>
              <p:spPr bwMode="auto">
                <a:xfrm>
                  <a:off x="1477963" y="9724041"/>
                  <a:ext cx="9232900" cy="9229730"/>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87" name="Group 286"/>
            <p:cNvGrpSpPr/>
            <p:nvPr/>
          </p:nvGrpSpPr>
          <p:grpSpPr>
            <a:xfrm>
              <a:off x="9554946" y="1449029"/>
              <a:ext cx="779463" cy="676671"/>
              <a:chOff x="9646447" y="1408497"/>
              <a:chExt cx="779463" cy="676671"/>
            </a:xfrm>
          </p:grpSpPr>
          <p:sp>
            <p:nvSpPr>
              <p:cNvPr id="289" name="Freeform 14"/>
              <p:cNvSpPr>
                <a:spLocks/>
              </p:cNvSpPr>
              <p:nvPr/>
            </p:nvSpPr>
            <p:spPr bwMode="auto">
              <a:xfrm>
                <a:off x="9646447" y="1537084"/>
                <a:ext cx="88900" cy="196850"/>
              </a:xfrm>
              <a:custGeom>
                <a:avLst/>
                <a:gdLst>
                  <a:gd name="T0" fmla="*/ 17 w 43"/>
                  <a:gd name="T1" fmla="*/ 95 h 95"/>
                  <a:gd name="T2" fmla="*/ 17 w 43"/>
                  <a:gd name="T3" fmla="*/ 83 h 95"/>
                  <a:gd name="T4" fmla="*/ 0 w 43"/>
                  <a:gd name="T5" fmla="*/ 78 h 95"/>
                  <a:gd name="T6" fmla="*/ 3 w 43"/>
                  <a:gd name="T7" fmla="*/ 71 h 95"/>
                  <a:gd name="T8" fmla="*/ 19 w 43"/>
                  <a:gd name="T9" fmla="*/ 76 h 95"/>
                  <a:gd name="T10" fmla="*/ 33 w 43"/>
                  <a:gd name="T11" fmla="*/ 64 h 95"/>
                  <a:gd name="T12" fmla="*/ 20 w 43"/>
                  <a:gd name="T13" fmla="*/ 50 h 95"/>
                  <a:gd name="T14" fmla="*/ 1 w 43"/>
                  <a:gd name="T15" fmla="*/ 30 h 95"/>
                  <a:gd name="T16" fmla="*/ 18 w 43"/>
                  <a:gd name="T17" fmla="*/ 12 h 95"/>
                  <a:gd name="T18" fmla="*/ 18 w 43"/>
                  <a:gd name="T19" fmla="*/ 0 h 95"/>
                  <a:gd name="T20" fmla="*/ 26 w 43"/>
                  <a:gd name="T21" fmla="*/ 0 h 95"/>
                  <a:gd name="T22" fmla="*/ 26 w 43"/>
                  <a:gd name="T23" fmla="*/ 11 h 95"/>
                  <a:gd name="T24" fmla="*/ 41 w 43"/>
                  <a:gd name="T25" fmla="*/ 15 h 95"/>
                  <a:gd name="T26" fmla="*/ 38 w 43"/>
                  <a:gd name="T27" fmla="*/ 23 h 95"/>
                  <a:gd name="T28" fmla="*/ 23 w 43"/>
                  <a:gd name="T29" fmla="*/ 19 h 95"/>
                  <a:gd name="T30" fmla="*/ 11 w 43"/>
                  <a:gd name="T31" fmla="*/ 29 h 95"/>
                  <a:gd name="T32" fmla="*/ 25 w 43"/>
                  <a:gd name="T33" fmla="*/ 42 h 95"/>
                  <a:gd name="T34" fmla="*/ 43 w 43"/>
                  <a:gd name="T35" fmla="*/ 63 h 95"/>
                  <a:gd name="T36" fmla="*/ 25 w 43"/>
                  <a:gd name="T37" fmla="*/ 83 h 95"/>
                  <a:gd name="T38" fmla="*/ 25 w 43"/>
                  <a:gd name="T39" fmla="*/ 95 h 95"/>
                  <a:gd name="T40" fmla="*/ 17 w 43"/>
                  <a:gd name="T4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95">
                    <a:moveTo>
                      <a:pt x="17" y="95"/>
                    </a:moveTo>
                    <a:cubicBezTo>
                      <a:pt x="17" y="83"/>
                      <a:pt x="17" y="83"/>
                      <a:pt x="17" y="83"/>
                    </a:cubicBezTo>
                    <a:cubicBezTo>
                      <a:pt x="11" y="83"/>
                      <a:pt x="4" y="81"/>
                      <a:pt x="0" y="78"/>
                    </a:cubicBezTo>
                    <a:cubicBezTo>
                      <a:pt x="3" y="71"/>
                      <a:pt x="3" y="71"/>
                      <a:pt x="3" y="71"/>
                    </a:cubicBezTo>
                    <a:cubicBezTo>
                      <a:pt x="7" y="73"/>
                      <a:pt x="13" y="76"/>
                      <a:pt x="19" y="76"/>
                    </a:cubicBezTo>
                    <a:cubicBezTo>
                      <a:pt x="27" y="76"/>
                      <a:pt x="33" y="71"/>
                      <a:pt x="33" y="64"/>
                    </a:cubicBezTo>
                    <a:cubicBezTo>
                      <a:pt x="33" y="58"/>
                      <a:pt x="29" y="54"/>
                      <a:pt x="20" y="50"/>
                    </a:cubicBezTo>
                    <a:cubicBezTo>
                      <a:pt x="8" y="46"/>
                      <a:pt x="1" y="40"/>
                      <a:pt x="1" y="30"/>
                    </a:cubicBezTo>
                    <a:cubicBezTo>
                      <a:pt x="1" y="21"/>
                      <a:pt x="8" y="13"/>
                      <a:pt x="18" y="12"/>
                    </a:cubicBezTo>
                    <a:cubicBezTo>
                      <a:pt x="18" y="0"/>
                      <a:pt x="18" y="0"/>
                      <a:pt x="18" y="0"/>
                    </a:cubicBezTo>
                    <a:cubicBezTo>
                      <a:pt x="26" y="0"/>
                      <a:pt x="26" y="0"/>
                      <a:pt x="26" y="0"/>
                    </a:cubicBezTo>
                    <a:cubicBezTo>
                      <a:pt x="26" y="11"/>
                      <a:pt x="26" y="11"/>
                      <a:pt x="26" y="11"/>
                    </a:cubicBezTo>
                    <a:cubicBezTo>
                      <a:pt x="32" y="11"/>
                      <a:pt x="37" y="13"/>
                      <a:pt x="41" y="15"/>
                    </a:cubicBezTo>
                    <a:cubicBezTo>
                      <a:pt x="38" y="23"/>
                      <a:pt x="38" y="23"/>
                      <a:pt x="38" y="23"/>
                    </a:cubicBezTo>
                    <a:cubicBezTo>
                      <a:pt x="35" y="22"/>
                      <a:pt x="30" y="19"/>
                      <a:pt x="23" y="19"/>
                    </a:cubicBezTo>
                    <a:cubicBezTo>
                      <a:pt x="14" y="19"/>
                      <a:pt x="11" y="24"/>
                      <a:pt x="11" y="29"/>
                    </a:cubicBezTo>
                    <a:cubicBezTo>
                      <a:pt x="11" y="35"/>
                      <a:pt x="15" y="38"/>
                      <a:pt x="25" y="42"/>
                    </a:cubicBezTo>
                    <a:cubicBezTo>
                      <a:pt x="37" y="47"/>
                      <a:pt x="43" y="53"/>
                      <a:pt x="43" y="63"/>
                    </a:cubicBezTo>
                    <a:cubicBezTo>
                      <a:pt x="43" y="73"/>
                      <a:pt x="37" y="81"/>
                      <a:pt x="25" y="83"/>
                    </a:cubicBezTo>
                    <a:cubicBezTo>
                      <a:pt x="25" y="95"/>
                      <a:pt x="25" y="95"/>
                      <a:pt x="25" y="95"/>
                    </a:cubicBezTo>
                    <a:lnTo>
                      <a:pt x="17" y="95"/>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0" name="Freeform 15"/>
              <p:cNvSpPr>
                <a:spLocks/>
              </p:cNvSpPr>
              <p:nvPr/>
            </p:nvSpPr>
            <p:spPr bwMode="auto">
              <a:xfrm>
                <a:off x="9800435" y="1408497"/>
                <a:ext cx="82550" cy="117475"/>
              </a:xfrm>
              <a:custGeom>
                <a:avLst/>
                <a:gdLst>
                  <a:gd name="T0" fmla="*/ 40 w 40"/>
                  <a:gd name="T1" fmla="*/ 53 h 57"/>
                  <a:gd name="T2" fmla="*/ 28 w 40"/>
                  <a:gd name="T3" fmla="*/ 57 h 57"/>
                  <a:gd name="T4" fmla="*/ 11 w 40"/>
                  <a:gd name="T5" fmla="*/ 49 h 57"/>
                  <a:gd name="T6" fmla="*/ 5 w 40"/>
                  <a:gd name="T7" fmla="*/ 35 h 57"/>
                  <a:gd name="T8" fmla="*/ 0 w 40"/>
                  <a:gd name="T9" fmla="*/ 35 h 57"/>
                  <a:gd name="T10" fmla="*/ 0 w 40"/>
                  <a:gd name="T11" fmla="*/ 31 h 57"/>
                  <a:gd name="T12" fmla="*/ 4 w 40"/>
                  <a:gd name="T13" fmla="*/ 31 h 57"/>
                  <a:gd name="T14" fmla="*/ 4 w 40"/>
                  <a:gd name="T15" fmla="*/ 29 h 57"/>
                  <a:gd name="T16" fmla="*/ 4 w 40"/>
                  <a:gd name="T17" fmla="*/ 26 h 57"/>
                  <a:gd name="T18" fmla="*/ 0 w 40"/>
                  <a:gd name="T19" fmla="*/ 26 h 57"/>
                  <a:gd name="T20" fmla="*/ 0 w 40"/>
                  <a:gd name="T21" fmla="*/ 21 h 57"/>
                  <a:gd name="T22" fmla="*/ 5 w 40"/>
                  <a:gd name="T23" fmla="*/ 21 h 57"/>
                  <a:gd name="T24" fmla="*/ 12 w 40"/>
                  <a:gd name="T25" fmla="*/ 7 h 57"/>
                  <a:gd name="T26" fmla="*/ 28 w 40"/>
                  <a:gd name="T27" fmla="*/ 0 h 57"/>
                  <a:gd name="T28" fmla="*/ 40 w 40"/>
                  <a:gd name="T29" fmla="*/ 3 h 57"/>
                  <a:gd name="T30" fmla="*/ 38 w 40"/>
                  <a:gd name="T31" fmla="*/ 9 h 57"/>
                  <a:gd name="T32" fmla="*/ 29 w 40"/>
                  <a:gd name="T33" fmla="*/ 6 h 57"/>
                  <a:gd name="T34" fmla="*/ 18 w 40"/>
                  <a:gd name="T35" fmla="*/ 11 h 57"/>
                  <a:gd name="T36" fmla="*/ 13 w 40"/>
                  <a:gd name="T37" fmla="*/ 21 h 57"/>
                  <a:gd name="T38" fmla="*/ 36 w 40"/>
                  <a:gd name="T39" fmla="*/ 21 h 57"/>
                  <a:gd name="T40" fmla="*/ 36 w 40"/>
                  <a:gd name="T41" fmla="*/ 26 h 57"/>
                  <a:gd name="T42" fmla="*/ 12 w 40"/>
                  <a:gd name="T43" fmla="*/ 26 h 57"/>
                  <a:gd name="T44" fmla="*/ 12 w 40"/>
                  <a:gd name="T45" fmla="*/ 29 h 57"/>
                  <a:gd name="T46" fmla="*/ 12 w 40"/>
                  <a:gd name="T47" fmla="*/ 31 h 57"/>
                  <a:gd name="T48" fmla="*/ 36 w 40"/>
                  <a:gd name="T49" fmla="*/ 31 h 57"/>
                  <a:gd name="T50" fmla="*/ 36 w 40"/>
                  <a:gd name="T51" fmla="*/ 35 h 57"/>
                  <a:gd name="T52" fmla="*/ 12 w 40"/>
                  <a:gd name="T53" fmla="*/ 35 h 57"/>
                  <a:gd name="T54" fmla="*/ 17 w 40"/>
                  <a:gd name="T55" fmla="*/ 46 h 57"/>
                  <a:gd name="T56" fmla="*/ 29 w 40"/>
                  <a:gd name="T57" fmla="*/ 51 h 57"/>
                  <a:gd name="T58" fmla="*/ 39 w 40"/>
                  <a:gd name="T59" fmla="*/ 48 h 57"/>
                  <a:gd name="T60" fmla="*/ 40 w 40"/>
                  <a:gd name="T61"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 h="57">
                    <a:moveTo>
                      <a:pt x="40" y="53"/>
                    </a:moveTo>
                    <a:cubicBezTo>
                      <a:pt x="38" y="55"/>
                      <a:pt x="33" y="57"/>
                      <a:pt x="28" y="57"/>
                    </a:cubicBezTo>
                    <a:cubicBezTo>
                      <a:pt x="21" y="57"/>
                      <a:pt x="15" y="54"/>
                      <a:pt x="11" y="49"/>
                    </a:cubicBezTo>
                    <a:cubicBezTo>
                      <a:pt x="8" y="46"/>
                      <a:pt x="5" y="41"/>
                      <a:pt x="5" y="35"/>
                    </a:cubicBezTo>
                    <a:cubicBezTo>
                      <a:pt x="0" y="35"/>
                      <a:pt x="0" y="35"/>
                      <a:pt x="0" y="35"/>
                    </a:cubicBezTo>
                    <a:cubicBezTo>
                      <a:pt x="0" y="31"/>
                      <a:pt x="0" y="31"/>
                      <a:pt x="0" y="31"/>
                    </a:cubicBezTo>
                    <a:cubicBezTo>
                      <a:pt x="4" y="31"/>
                      <a:pt x="4" y="31"/>
                      <a:pt x="4" y="31"/>
                    </a:cubicBezTo>
                    <a:cubicBezTo>
                      <a:pt x="4" y="30"/>
                      <a:pt x="4" y="30"/>
                      <a:pt x="4" y="29"/>
                    </a:cubicBezTo>
                    <a:cubicBezTo>
                      <a:pt x="4" y="28"/>
                      <a:pt x="4" y="27"/>
                      <a:pt x="4" y="26"/>
                    </a:cubicBezTo>
                    <a:cubicBezTo>
                      <a:pt x="0" y="26"/>
                      <a:pt x="0" y="26"/>
                      <a:pt x="0" y="26"/>
                    </a:cubicBezTo>
                    <a:cubicBezTo>
                      <a:pt x="0" y="21"/>
                      <a:pt x="0" y="21"/>
                      <a:pt x="0" y="21"/>
                    </a:cubicBezTo>
                    <a:cubicBezTo>
                      <a:pt x="5" y="21"/>
                      <a:pt x="5" y="21"/>
                      <a:pt x="5" y="21"/>
                    </a:cubicBezTo>
                    <a:cubicBezTo>
                      <a:pt x="6" y="16"/>
                      <a:pt x="9" y="11"/>
                      <a:pt x="12" y="7"/>
                    </a:cubicBezTo>
                    <a:cubicBezTo>
                      <a:pt x="16" y="3"/>
                      <a:pt x="22" y="0"/>
                      <a:pt x="28" y="0"/>
                    </a:cubicBezTo>
                    <a:cubicBezTo>
                      <a:pt x="33" y="0"/>
                      <a:pt x="37" y="2"/>
                      <a:pt x="40" y="3"/>
                    </a:cubicBezTo>
                    <a:cubicBezTo>
                      <a:pt x="38" y="9"/>
                      <a:pt x="38" y="9"/>
                      <a:pt x="38" y="9"/>
                    </a:cubicBezTo>
                    <a:cubicBezTo>
                      <a:pt x="36" y="7"/>
                      <a:pt x="32" y="6"/>
                      <a:pt x="29" y="6"/>
                    </a:cubicBezTo>
                    <a:cubicBezTo>
                      <a:pt x="24" y="6"/>
                      <a:pt x="20" y="8"/>
                      <a:pt x="18" y="11"/>
                    </a:cubicBezTo>
                    <a:cubicBezTo>
                      <a:pt x="15" y="13"/>
                      <a:pt x="13" y="17"/>
                      <a:pt x="13" y="21"/>
                    </a:cubicBezTo>
                    <a:cubicBezTo>
                      <a:pt x="36" y="21"/>
                      <a:pt x="36" y="21"/>
                      <a:pt x="36" y="21"/>
                    </a:cubicBezTo>
                    <a:cubicBezTo>
                      <a:pt x="36" y="26"/>
                      <a:pt x="36" y="26"/>
                      <a:pt x="36" y="26"/>
                    </a:cubicBezTo>
                    <a:cubicBezTo>
                      <a:pt x="12" y="26"/>
                      <a:pt x="12" y="26"/>
                      <a:pt x="12" y="26"/>
                    </a:cubicBezTo>
                    <a:cubicBezTo>
                      <a:pt x="12" y="27"/>
                      <a:pt x="12" y="28"/>
                      <a:pt x="12" y="29"/>
                    </a:cubicBezTo>
                    <a:cubicBezTo>
                      <a:pt x="12" y="30"/>
                      <a:pt x="12" y="30"/>
                      <a:pt x="12" y="31"/>
                    </a:cubicBezTo>
                    <a:cubicBezTo>
                      <a:pt x="36" y="31"/>
                      <a:pt x="36" y="31"/>
                      <a:pt x="36" y="31"/>
                    </a:cubicBezTo>
                    <a:cubicBezTo>
                      <a:pt x="36" y="35"/>
                      <a:pt x="36" y="35"/>
                      <a:pt x="36" y="35"/>
                    </a:cubicBezTo>
                    <a:cubicBezTo>
                      <a:pt x="12" y="35"/>
                      <a:pt x="12" y="35"/>
                      <a:pt x="12" y="35"/>
                    </a:cubicBezTo>
                    <a:cubicBezTo>
                      <a:pt x="13" y="40"/>
                      <a:pt x="15" y="43"/>
                      <a:pt x="17" y="46"/>
                    </a:cubicBezTo>
                    <a:cubicBezTo>
                      <a:pt x="20" y="49"/>
                      <a:pt x="24" y="51"/>
                      <a:pt x="29" y="51"/>
                    </a:cubicBezTo>
                    <a:cubicBezTo>
                      <a:pt x="33" y="51"/>
                      <a:pt x="37" y="49"/>
                      <a:pt x="39" y="48"/>
                    </a:cubicBezTo>
                    <a:lnTo>
                      <a:pt x="40" y="53"/>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1" name="Freeform 16"/>
              <p:cNvSpPr>
                <a:spLocks/>
              </p:cNvSpPr>
              <p:nvPr/>
            </p:nvSpPr>
            <p:spPr bwMode="auto">
              <a:xfrm>
                <a:off x="10310022" y="1722822"/>
                <a:ext cx="115888" cy="155575"/>
              </a:xfrm>
              <a:custGeom>
                <a:avLst/>
                <a:gdLst>
                  <a:gd name="T0" fmla="*/ 22 w 56"/>
                  <a:gd name="T1" fmla="*/ 75 h 75"/>
                  <a:gd name="T2" fmla="*/ 22 w 56"/>
                  <a:gd name="T3" fmla="*/ 55 h 75"/>
                  <a:gd name="T4" fmla="*/ 4 w 56"/>
                  <a:gd name="T5" fmla="*/ 55 h 75"/>
                  <a:gd name="T6" fmla="*/ 4 w 56"/>
                  <a:gd name="T7" fmla="*/ 49 h 75"/>
                  <a:gd name="T8" fmla="*/ 22 w 56"/>
                  <a:gd name="T9" fmla="*/ 49 h 75"/>
                  <a:gd name="T10" fmla="*/ 22 w 56"/>
                  <a:gd name="T11" fmla="*/ 41 h 75"/>
                  <a:gd name="T12" fmla="*/ 4 w 56"/>
                  <a:gd name="T13" fmla="*/ 41 h 75"/>
                  <a:gd name="T14" fmla="*/ 4 w 56"/>
                  <a:gd name="T15" fmla="*/ 35 h 75"/>
                  <a:gd name="T16" fmla="*/ 19 w 56"/>
                  <a:gd name="T17" fmla="*/ 35 h 75"/>
                  <a:gd name="T18" fmla="*/ 0 w 56"/>
                  <a:gd name="T19" fmla="*/ 0 h 75"/>
                  <a:gd name="T20" fmla="*/ 11 w 56"/>
                  <a:gd name="T21" fmla="*/ 0 h 75"/>
                  <a:gd name="T22" fmla="*/ 23 w 56"/>
                  <a:gd name="T23" fmla="*/ 24 h 75"/>
                  <a:gd name="T24" fmla="*/ 27 w 56"/>
                  <a:gd name="T25" fmla="*/ 34 h 75"/>
                  <a:gd name="T26" fmla="*/ 28 w 56"/>
                  <a:gd name="T27" fmla="*/ 34 h 75"/>
                  <a:gd name="T28" fmla="*/ 32 w 56"/>
                  <a:gd name="T29" fmla="*/ 24 h 75"/>
                  <a:gd name="T30" fmla="*/ 45 w 56"/>
                  <a:gd name="T31" fmla="*/ 0 h 75"/>
                  <a:gd name="T32" fmla="*/ 56 w 56"/>
                  <a:gd name="T33" fmla="*/ 0 h 75"/>
                  <a:gd name="T34" fmla="*/ 35 w 56"/>
                  <a:gd name="T35" fmla="*/ 35 h 75"/>
                  <a:gd name="T36" fmla="*/ 50 w 56"/>
                  <a:gd name="T37" fmla="*/ 35 h 75"/>
                  <a:gd name="T38" fmla="*/ 50 w 56"/>
                  <a:gd name="T39" fmla="*/ 41 h 75"/>
                  <a:gd name="T40" fmla="*/ 32 w 56"/>
                  <a:gd name="T41" fmla="*/ 41 h 75"/>
                  <a:gd name="T42" fmla="*/ 32 w 56"/>
                  <a:gd name="T43" fmla="*/ 49 h 75"/>
                  <a:gd name="T44" fmla="*/ 50 w 56"/>
                  <a:gd name="T45" fmla="*/ 49 h 75"/>
                  <a:gd name="T46" fmla="*/ 50 w 56"/>
                  <a:gd name="T47" fmla="*/ 55 h 75"/>
                  <a:gd name="T48" fmla="*/ 32 w 56"/>
                  <a:gd name="T49" fmla="*/ 55 h 75"/>
                  <a:gd name="T50" fmla="*/ 32 w 56"/>
                  <a:gd name="T51" fmla="*/ 75 h 75"/>
                  <a:gd name="T52" fmla="*/ 22 w 56"/>
                  <a:gd name="T5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75">
                    <a:moveTo>
                      <a:pt x="22" y="75"/>
                    </a:moveTo>
                    <a:cubicBezTo>
                      <a:pt x="22" y="55"/>
                      <a:pt x="22" y="55"/>
                      <a:pt x="22" y="55"/>
                    </a:cubicBezTo>
                    <a:cubicBezTo>
                      <a:pt x="4" y="55"/>
                      <a:pt x="4" y="55"/>
                      <a:pt x="4" y="55"/>
                    </a:cubicBezTo>
                    <a:cubicBezTo>
                      <a:pt x="4" y="49"/>
                      <a:pt x="4" y="49"/>
                      <a:pt x="4" y="49"/>
                    </a:cubicBezTo>
                    <a:cubicBezTo>
                      <a:pt x="22" y="49"/>
                      <a:pt x="22" y="49"/>
                      <a:pt x="22" y="49"/>
                    </a:cubicBezTo>
                    <a:cubicBezTo>
                      <a:pt x="22" y="41"/>
                      <a:pt x="22" y="41"/>
                      <a:pt x="22" y="41"/>
                    </a:cubicBezTo>
                    <a:cubicBezTo>
                      <a:pt x="4" y="41"/>
                      <a:pt x="4" y="41"/>
                      <a:pt x="4" y="41"/>
                    </a:cubicBezTo>
                    <a:cubicBezTo>
                      <a:pt x="4" y="35"/>
                      <a:pt x="4" y="35"/>
                      <a:pt x="4" y="35"/>
                    </a:cubicBezTo>
                    <a:cubicBezTo>
                      <a:pt x="19" y="35"/>
                      <a:pt x="19" y="35"/>
                      <a:pt x="19" y="35"/>
                    </a:cubicBezTo>
                    <a:cubicBezTo>
                      <a:pt x="0" y="0"/>
                      <a:pt x="0" y="0"/>
                      <a:pt x="0" y="0"/>
                    </a:cubicBezTo>
                    <a:cubicBezTo>
                      <a:pt x="11" y="0"/>
                      <a:pt x="11" y="0"/>
                      <a:pt x="11" y="0"/>
                    </a:cubicBezTo>
                    <a:cubicBezTo>
                      <a:pt x="23" y="24"/>
                      <a:pt x="23" y="24"/>
                      <a:pt x="23" y="24"/>
                    </a:cubicBezTo>
                    <a:cubicBezTo>
                      <a:pt x="25" y="28"/>
                      <a:pt x="26" y="31"/>
                      <a:pt x="27" y="34"/>
                    </a:cubicBezTo>
                    <a:cubicBezTo>
                      <a:pt x="28" y="34"/>
                      <a:pt x="28" y="34"/>
                      <a:pt x="28" y="34"/>
                    </a:cubicBezTo>
                    <a:cubicBezTo>
                      <a:pt x="29" y="31"/>
                      <a:pt x="30" y="28"/>
                      <a:pt x="32" y="24"/>
                    </a:cubicBezTo>
                    <a:cubicBezTo>
                      <a:pt x="45" y="0"/>
                      <a:pt x="45" y="0"/>
                      <a:pt x="45" y="0"/>
                    </a:cubicBezTo>
                    <a:cubicBezTo>
                      <a:pt x="56" y="0"/>
                      <a:pt x="56" y="0"/>
                      <a:pt x="56" y="0"/>
                    </a:cubicBezTo>
                    <a:cubicBezTo>
                      <a:pt x="35" y="35"/>
                      <a:pt x="35" y="35"/>
                      <a:pt x="35" y="35"/>
                    </a:cubicBezTo>
                    <a:cubicBezTo>
                      <a:pt x="50" y="35"/>
                      <a:pt x="50" y="35"/>
                      <a:pt x="50" y="35"/>
                    </a:cubicBezTo>
                    <a:cubicBezTo>
                      <a:pt x="50" y="41"/>
                      <a:pt x="50" y="41"/>
                      <a:pt x="50" y="41"/>
                    </a:cubicBezTo>
                    <a:cubicBezTo>
                      <a:pt x="32" y="41"/>
                      <a:pt x="32" y="41"/>
                      <a:pt x="32" y="41"/>
                    </a:cubicBezTo>
                    <a:cubicBezTo>
                      <a:pt x="32" y="49"/>
                      <a:pt x="32" y="49"/>
                      <a:pt x="32" y="49"/>
                    </a:cubicBezTo>
                    <a:cubicBezTo>
                      <a:pt x="50" y="49"/>
                      <a:pt x="50" y="49"/>
                      <a:pt x="50" y="49"/>
                    </a:cubicBezTo>
                    <a:cubicBezTo>
                      <a:pt x="50" y="55"/>
                      <a:pt x="50" y="55"/>
                      <a:pt x="50" y="55"/>
                    </a:cubicBezTo>
                    <a:cubicBezTo>
                      <a:pt x="32" y="55"/>
                      <a:pt x="32" y="55"/>
                      <a:pt x="32" y="55"/>
                    </a:cubicBezTo>
                    <a:cubicBezTo>
                      <a:pt x="32" y="75"/>
                      <a:pt x="32" y="75"/>
                      <a:pt x="32" y="75"/>
                    </a:cubicBezTo>
                    <a:lnTo>
                      <a:pt x="22" y="75"/>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2" name="Freeform 17"/>
              <p:cNvSpPr>
                <a:spLocks/>
              </p:cNvSpPr>
              <p:nvPr/>
            </p:nvSpPr>
            <p:spPr bwMode="auto">
              <a:xfrm>
                <a:off x="10268747" y="1473584"/>
                <a:ext cx="57150" cy="92075"/>
              </a:xfrm>
              <a:custGeom>
                <a:avLst/>
                <a:gdLst>
                  <a:gd name="T0" fmla="*/ 0 w 28"/>
                  <a:gd name="T1" fmla="*/ 44 h 44"/>
                  <a:gd name="T2" fmla="*/ 0 w 28"/>
                  <a:gd name="T3" fmla="*/ 41 h 44"/>
                  <a:gd name="T4" fmla="*/ 8 w 28"/>
                  <a:gd name="T5" fmla="*/ 29 h 44"/>
                  <a:gd name="T6" fmla="*/ 7 w 28"/>
                  <a:gd name="T7" fmla="*/ 25 h 44"/>
                  <a:gd name="T8" fmla="*/ 1 w 28"/>
                  <a:gd name="T9" fmla="*/ 25 h 44"/>
                  <a:gd name="T10" fmla="*/ 1 w 28"/>
                  <a:gd name="T11" fmla="*/ 20 h 44"/>
                  <a:gd name="T12" fmla="*/ 7 w 28"/>
                  <a:gd name="T13" fmla="*/ 20 h 44"/>
                  <a:gd name="T14" fmla="*/ 6 w 28"/>
                  <a:gd name="T15" fmla="*/ 13 h 44"/>
                  <a:gd name="T16" fmla="*/ 19 w 28"/>
                  <a:gd name="T17" fmla="*/ 0 h 44"/>
                  <a:gd name="T18" fmla="*/ 26 w 28"/>
                  <a:gd name="T19" fmla="*/ 2 h 44"/>
                  <a:gd name="T20" fmla="*/ 25 w 28"/>
                  <a:gd name="T21" fmla="*/ 6 h 44"/>
                  <a:gd name="T22" fmla="*/ 19 w 28"/>
                  <a:gd name="T23" fmla="*/ 5 h 44"/>
                  <a:gd name="T24" fmla="*/ 12 w 28"/>
                  <a:gd name="T25" fmla="*/ 13 h 44"/>
                  <a:gd name="T26" fmla="*/ 12 w 28"/>
                  <a:gd name="T27" fmla="*/ 20 h 44"/>
                  <a:gd name="T28" fmla="*/ 22 w 28"/>
                  <a:gd name="T29" fmla="*/ 20 h 44"/>
                  <a:gd name="T30" fmla="*/ 22 w 28"/>
                  <a:gd name="T31" fmla="*/ 25 h 44"/>
                  <a:gd name="T32" fmla="*/ 13 w 28"/>
                  <a:gd name="T33" fmla="*/ 25 h 44"/>
                  <a:gd name="T34" fmla="*/ 13 w 28"/>
                  <a:gd name="T35" fmla="*/ 32 h 44"/>
                  <a:gd name="T36" fmla="*/ 8 w 28"/>
                  <a:gd name="T37" fmla="*/ 39 h 44"/>
                  <a:gd name="T38" fmla="*/ 8 w 28"/>
                  <a:gd name="T39" fmla="*/ 40 h 44"/>
                  <a:gd name="T40" fmla="*/ 28 w 28"/>
                  <a:gd name="T41" fmla="*/ 40 h 44"/>
                  <a:gd name="T42" fmla="*/ 28 w 28"/>
                  <a:gd name="T43" fmla="*/ 44 h 44"/>
                  <a:gd name="T44" fmla="*/ 0 w 28"/>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44">
                    <a:moveTo>
                      <a:pt x="0" y="44"/>
                    </a:moveTo>
                    <a:cubicBezTo>
                      <a:pt x="0" y="41"/>
                      <a:pt x="0" y="41"/>
                      <a:pt x="0" y="41"/>
                    </a:cubicBezTo>
                    <a:cubicBezTo>
                      <a:pt x="5" y="39"/>
                      <a:pt x="8" y="34"/>
                      <a:pt x="8" y="29"/>
                    </a:cubicBezTo>
                    <a:cubicBezTo>
                      <a:pt x="8" y="28"/>
                      <a:pt x="8" y="26"/>
                      <a:pt x="7" y="25"/>
                    </a:cubicBezTo>
                    <a:cubicBezTo>
                      <a:pt x="1" y="25"/>
                      <a:pt x="1" y="25"/>
                      <a:pt x="1" y="25"/>
                    </a:cubicBezTo>
                    <a:cubicBezTo>
                      <a:pt x="1" y="20"/>
                      <a:pt x="1" y="20"/>
                      <a:pt x="1" y="20"/>
                    </a:cubicBezTo>
                    <a:cubicBezTo>
                      <a:pt x="7" y="20"/>
                      <a:pt x="7" y="20"/>
                      <a:pt x="7" y="20"/>
                    </a:cubicBezTo>
                    <a:cubicBezTo>
                      <a:pt x="6" y="18"/>
                      <a:pt x="6" y="16"/>
                      <a:pt x="6" y="13"/>
                    </a:cubicBezTo>
                    <a:cubicBezTo>
                      <a:pt x="6" y="5"/>
                      <a:pt x="11" y="0"/>
                      <a:pt x="19" y="0"/>
                    </a:cubicBezTo>
                    <a:cubicBezTo>
                      <a:pt x="22" y="0"/>
                      <a:pt x="25" y="1"/>
                      <a:pt x="26" y="2"/>
                    </a:cubicBezTo>
                    <a:cubicBezTo>
                      <a:pt x="25" y="6"/>
                      <a:pt x="25" y="6"/>
                      <a:pt x="25" y="6"/>
                    </a:cubicBezTo>
                    <a:cubicBezTo>
                      <a:pt x="24" y="5"/>
                      <a:pt x="22" y="5"/>
                      <a:pt x="19" y="5"/>
                    </a:cubicBezTo>
                    <a:cubicBezTo>
                      <a:pt x="14" y="5"/>
                      <a:pt x="12" y="8"/>
                      <a:pt x="12" y="13"/>
                    </a:cubicBezTo>
                    <a:cubicBezTo>
                      <a:pt x="12" y="16"/>
                      <a:pt x="12" y="18"/>
                      <a:pt x="12" y="20"/>
                    </a:cubicBezTo>
                    <a:cubicBezTo>
                      <a:pt x="22" y="20"/>
                      <a:pt x="22" y="20"/>
                      <a:pt x="22" y="20"/>
                    </a:cubicBezTo>
                    <a:cubicBezTo>
                      <a:pt x="22" y="25"/>
                      <a:pt x="22" y="25"/>
                      <a:pt x="22" y="25"/>
                    </a:cubicBezTo>
                    <a:cubicBezTo>
                      <a:pt x="13" y="25"/>
                      <a:pt x="13" y="25"/>
                      <a:pt x="13" y="25"/>
                    </a:cubicBezTo>
                    <a:cubicBezTo>
                      <a:pt x="13" y="27"/>
                      <a:pt x="13" y="30"/>
                      <a:pt x="13" y="32"/>
                    </a:cubicBezTo>
                    <a:cubicBezTo>
                      <a:pt x="12" y="35"/>
                      <a:pt x="10" y="37"/>
                      <a:pt x="8" y="39"/>
                    </a:cubicBezTo>
                    <a:cubicBezTo>
                      <a:pt x="8" y="40"/>
                      <a:pt x="8" y="40"/>
                      <a:pt x="8" y="40"/>
                    </a:cubicBezTo>
                    <a:cubicBezTo>
                      <a:pt x="28" y="40"/>
                      <a:pt x="28" y="40"/>
                      <a:pt x="28" y="40"/>
                    </a:cubicBezTo>
                    <a:cubicBezTo>
                      <a:pt x="28" y="44"/>
                      <a:pt x="28" y="44"/>
                      <a:pt x="28" y="44"/>
                    </a:cubicBezTo>
                    <a:lnTo>
                      <a:pt x="0" y="44"/>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93" name="Group 292"/>
              <p:cNvGrpSpPr/>
              <p:nvPr/>
            </p:nvGrpSpPr>
            <p:grpSpPr>
              <a:xfrm>
                <a:off x="9784163" y="1509696"/>
                <a:ext cx="470694" cy="575472"/>
                <a:chOff x="9784163" y="1509696"/>
                <a:chExt cx="470694" cy="575472"/>
              </a:xfrm>
            </p:grpSpPr>
            <p:sp>
              <p:nvSpPr>
                <p:cNvPr id="294" name="Freeform 18"/>
                <p:cNvSpPr>
                  <a:spLocks noEditPoints="1"/>
                </p:cNvSpPr>
                <p:nvPr/>
              </p:nvSpPr>
              <p:spPr bwMode="auto">
                <a:xfrm rot="20525404">
                  <a:off x="9982997" y="1509696"/>
                  <a:ext cx="269875" cy="268288"/>
                </a:xfrm>
                <a:custGeom>
                  <a:avLst/>
                  <a:gdLst>
                    <a:gd name="T0" fmla="*/ 130 w 130"/>
                    <a:gd name="T1" fmla="*/ 59 h 130"/>
                    <a:gd name="T2" fmla="*/ 125 w 130"/>
                    <a:gd name="T3" fmla="*/ 38 h 130"/>
                    <a:gd name="T4" fmla="*/ 106 w 130"/>
                    <a:gd name="T5" fmla="*/ 40 h 130"/>
                    <a:gd name="T6" fmla="*/ 100 w 130"/>
                    <a:gd name="T7" fmla="*/ 32 h 130"/>
                    <a:gd name="T8" fmla="*/ 107 w 130"/>
                    <a:gd name="T9" fmla="*/ 15 h 130"/>
                    <a:gd name="T10" fmla="*/ 88 w 130"/>
                    <a:gd name="T11" fmla="*/ 4 h 130"/>
                    <a:gd name="T12" fmla="*/ 77 w 130"/>
                    <a:gd name="T13" fmla="*/ 18 h 130"/>
                    <a:gd name="T14" fmla="*/ 65 w 130"/>
                    <a:gd name="T15" fmla="*/ 16 h 130"/>
                    <a:gd name="T16" fmla="*/ 58 w 130"/>
                    <a:gd name="T17" fmla="*/ 0 h 130"/>
                    <a:gd name="T18" fmla="*/ 37 w 130"/>
                    <a:gd name="T19" fmla="*/ 6 h 130"/>
                    <a:gd name="T20" fmla="*/ 39 w 130"/>
                    <a:gd name="T21" fmla="*/ 24 h 130"/>
                    <a:gd name="T22" fmla="*/ 31 w 130"/>
                    <a:gd name="T23" fmla="*/ 30 h 130"/>
                    <a:gd name="T24" fmla="*/ 15 w 130"/>
                    <a:gd name="T25" fmla="*/ 23 h 130"/>
                    <a:gd name="T26" fmla="*/ 4 w 130"/>
                    <a:gd name="T27" fmla="*/ 42 h 130"/>
                    <a:gd name="T28" fmla="*/ 18 w 130"/>
                    <a:gd name="T29" fmla="*/ 53 h 130"/>
                    <a:gd name="T30" fmla="*/ 16 w 130"/>
                    <a:gd name="T31" fmla="*/ 64 h 130"/>
                    <a:gd name="T32" fmla="*/ 0 w 130"/>
                    <a:gd name="T33" fmla="*/ 71 h 130"/>
                    <a:gd name="T34" fmla="*/ 5 w 130"/>
                    <a:gd name="T35" fmla="*/ 92 h 130"/>
                    <a:gd name="T36" fmla="*/ 23 w 130"/>
                    <a:gd name="T37" fmla="*/ 90 h 130"/>
                    <a:gd name="T38" fmla="*/ 30 w 130"/>
                    <a:gd name="T39" fmla="*/ 99 h 130"/>
                    <a:gd name="T40" fmla="*/ 23 w 130"/>
                    <a:gd name="T41" fmla="*/ 115 h 130"/>
                    <a:gd name="T42" fmla="*/ 42 w 130"/>
                    <a:gd name="T43" fmla="*/ 126 h 130"/>
                    <a:gd name="T44" fmla="*/ 53 w 130"/>
                    <a:gd name="T45" fmla="*/ 112 h 130"/>
                    <a:gd name="T46" fmla="*/ 64 w 130"/>
                    <a:gd name="T47" fmla="*/ 114 h 130"/>
                    <a:gd name="T48" fmla="*/ 71 w 130"/>
                    <a:gd name="T49" fmla="*/ 130 h 130"/>
                    <a:gd name="T50" fmla="*/ 92 w 130"/>
                    <a:gd name="T51" fmla="*/ 125 h 130"/>
                    <a:gd name="T52" fmla="*/ 90 w 130"/>
                    <a:gd name="T53" fmla="*/ 107 h 130"/>
                    <a:gd name="T54" fmla="*/ 99 w 130"/>
                    <a:gd name="T55" fmla="*/ 100 h 130"/>
                    <a:gd name="T56" fmla="*/ 115 w 130"/>
                    <a:gd name="T57" fmla="*/ 107 h 130"/>
                    <a:gd name="T58" fmla="*/ 126 w 130"/>
                    <a:gd name="T59" fmla="*/ 88 h 130"/>
                    <a:gd name="T60" fmla="*/ 112 w 130"/>
                    <a:gd name="T61" fmla="*/ 77 h 130"/>
                    <a:gd name="T62" fmla="*/ 113 w 130"/>
                    <a:gd name="T63" fmla="*/ 66 h 130"/>
                    <a:gd name="T64" fmla="*/ 130 w 130"/>
                    <a:gd name="T65" fmla="*/ 59 h 130"/>
                    <a:gd name="T66" fmla="*/ 79 w 130"/>
                    <a:gd name="T67" fmla="*/ 92 h 130"/>
                    <a:gd name="T68" fmla="*/ 38 w 130"/>
                    <a:gd name="T69" fmla="*/ 79 h 130"/>
                    <a:gd name="T70" fmla="*/ 51 w 130"/>
                    <a:gd name="T71" fmla="*/ 38 h 130"/>
                    <a:gd name="T72" fmla="*/ 92 w 130"/>
                    <a:gd name="T73" fmla="*/ 51 h 130"/>
                    <a:gd name="T74" fmla="*/ 79 w 130"/>
                    <a:gd name="T75"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30">
                      <a:moveTo>
                        <a:pt x="130" y="59"/>
                      </a:moveTo>
                      <a:cubicBezTo>
                        <a:pt x="125" y="38"/>
                        <a:pt x="125" y="38"/>
                        <a:pt x="125" y="38"/>
                      </a:cubicBezTo>
                      <a:cubicBezTo>
                        <a:pt x="106" y="40"/>
                        <a:pt x="106" y="40"/>
                        <a:pt x="106" y="40"/>
                      </a:cubicBezTo>
                      <a:cubicBezTo>
                        <a:pt x="105" y="37"/>
                        <a:pt x="102" y="34"/>
                        <a:pt x="100" y="32"/>
                      </a:cubicBezTo>
                      <a:cubicBezTo>
                        <a:pt x="107" y="15"/>
                        <a:pt x="107" y="15"/>
                        <a:pt x="107" y="15"/>
                      </a:cubicBezTo>
                      <a:cubicBezTo>
                        <a:pt x="88" y="4"/>
                        <a:pt x="88" y="4"/>
                        <a:pt x="88" y="4"/>
                      </a:cubicBezTo>
                      <a:cubicBezTo>
                        <a:pt x="77" y="18"/>
                        <a:pt x="77" y="18"/>
                        <a:pt x="77" y="18"/>
                      </a:cubicBezTo>
                      <a:cubicBezTo>
                        <a:pt x="73" y="17"/>
                        <a:pt x="69" y="16"/>
                        <a:pt x="65" y="16"/>
                      </a:cubicBezTo>
                      <a:cubicBezTo>
                        <a:pt x="58" y="0"/>
                        <a:pt x="58" y="0"/>
                        <a:pt x="58" y="0"/>
                      </a:cubicBezTo>
                      <a:cubicBezTo>
                        <a:pt x="37" y="6"/>
                        <a:pt x="37" y="6"/>
                        <a:pt x="37" y="6"/>
                      </a:cubicBezTo>
                      <a:cubicBezTo>
                        <a:pt x="39" y="24"/>
                        <a:pt x="39" y="24"/>
                        <a:pt x="39" y="24"/>
                      </a:cubicBezTo>
                      <a:cubicBezTo>
                        <a:pt x="36" y="26"/>
                        <a:pt x="34" y="28"/>
                        <a:pt x="31" y="30"/>
                      </a:cubicBezTo>
                      <a:cubicBezTo>
                        <a:pt x="15" y="23"/>
                        <a:pt x="15" y="23"/>
                        <a:pt x="15" y="23"/>
                      </a:cubicBezTo>
                      <a:cubicBezTo>
                        <a:pt x="4" y="42"/>
                        <a:pt x="4" y="42"/>
                        <a:pt x="4" y="42"/>
                      </a:cubicBezTo>
                      <a:cubicBezTo>
                        <a:pt x="18" y="53"/>
                        <a:pt x="18" y="53"/>
                        <a:pt x="18" y="53"/>
                      </a:cubicBezTo>
                      <a:cubicBezTo>
                        <a:pt x="17" y="56"/>
                        <a:pt x="16" y="60"/>
                        <a:pt x="16" y="64"/>
                      </a:cubicBezTo>
                      <a:cubicBezTo>
                        <a:pt x="0" y="71"/>
                        <a:pt x="0" y="71"/>
                        <a:pt x="0" y="71"/>
                      </a:cubicBezTo>
                      <a:cubicBezTo>
                        <a:pt x="5" y="92"/>
                        <a:pt x="5" y="92"/>
                        <a:pt x="5" y="92"/>
                      </a:cubicBezTo>
                      <a:cubicBezTo>
                        <a:pt x="23" y="90"/>
                        <a:pt x="23" y="90"/>
                        <a:pt x="23" y="90"/>
                      </a:cubicBezTo>
                      <a:cubicBezTo>
                        <a:pt x="25" y="93"/>
                        <a:pt x="27" y="96"/>
                        <a:pt x="30" y="99"/>
                      </a:cubicBezTo>
                      <a:cubicBezTo>
                        <a:pt x="23" y="115"/>
                        <a:pt x="23" y="115"/>
                        <a:pt x="23" y="115"/>
                      </a:cubicBezTo>
                      <a:cubicBezTo>
                        <a:pt x="42" y="126"/>
                        <a:pt x="42" y="126"/>
                        <a:pt x="42" y="126"/>
                      </a:cubicBezTo>
                      <a:cubicBezTo>
                        <a:pt x="53" y="112"/>
                        <a:pt x="53" y="112"/>
                        <a:pt x="53" y="112"/>
                      </a:cubicBezTo>
                      <a:cubicBezTo>
                        <a:pt x="57" y="113"/>
                        <a:pt x="60" y="114"/>
                        <a:pt x="64" y="114"/>
                      </a:cubicBezTo>
                      <a:cubicBezTo>
                        <a:pt x="71" y="130"/>
                        <a:pt x="71" y="130"/>
                        <a:pt x="71" y="130"/>
                      </a:cubicBezTo>
                      <a:cubicBezTo>
                        <a:pt x="92" y="125"/>
                        <a:pt x="92" y="125"/>
                        <a:pt x="92" y="125"/>
                      </a:cubicBezTo>
                      <a:cubicBezTo>
                        <a:pt x="90" y="107"/>
                        <a:pt x="90" y="107"/>
                        <a:pt x="90" y="107"/>
                      </a:cubicBezTo>
                      <a:cubicBezTo>
                        <a:pt x="93" y="105"/>
                        <a:pt x="96" y="103"/>
                        <a:pt x="99" y="100"/>
                      </a:cubicBezTo>
                      <a:cubicBezTo>
                        <a:pt x="115" y="107"/>
                        <a:pt x="115" y="107"/>
                        <a:pt x="115" y="107"/>
                      </a:cubicBezTo>
                      <a:cubicBezTo>
                        <a:pt x="126" y="88"/>
                        <a:pt x="126" y="88"/>
                        <a:pt x="126" y="88"/>
                      </a:cubicBezTo>
                      <a:cubicBezTo>
                        <a:pt x="112" y="77"/>
                        <a:pt x="112" y="77"/>
                        <a:pt x="112" y="77"/>
                      </a:cubicBezTo>
                      <a:cubicBezTo>
                        <a:pt x="113" y="73"/>
                        <a:pt x="113" y="70"/>
                        <a:pt x="113" y="66"/>
                      </a:cubicBezTo>
                      <a:lnTo>
                        <a:pt x="130" y="59"/>
                      </a:lnTo>
                      <a:close/>
                      <a:moveTo>
                        <a:pt x="79" y="92"/>
                      </a:moveTo>
                      <a:cubicBezTo>
                        <a:pt x="64" y="99"/>
                        <a:pt x="46" y="94"/>
                        <a:pt x="38" y="79"/>
                      </a:cubicBezTo>
                      <a:cubicBezTo>
                        <a:pt x="31" y="64"/>
                        <a:pt x="37" y="46"/>
                        <a:pt x="51" y="38"/>
                      </a:cubicBezTo>
                      <a:cubicBezTo>
                        <a:pt x="66" y="30"/>
                        <a:pt x="84" y="36"/>
                        <a:pt x="92" y="51"/>
                      </a:cubicBezTo>
                      <a:cubicBezTo>
                        <a:pt x="100" y="66"/>
                        <a:pt x="94" y="84"/>
                        <a:pt x="79" y="9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5" name="Freeform 19"/>
                <p:cNvSpPr>
                  <a:spLocks noEditPoints="1"/>
                </p:cNvSpPr>
                <p:nvPr/>
              </p:nvSpPr>
              <p:spPr bwMode="auto">
                <a:xfrm>
                  <a:off x="9798847" y="1593833"/>
                  <a:ext cx="192088" cy="195263"/>
                </a:xfrm>
                <a:custGeom>
                  <a:avLst/>
                  <a:gdLst>
                    <a:gd name="T0" fmla="*/ 93 w 93"/>
                    <a:gd name="T1" fmla="*/ 43 h 94"/>
                    <a:gd name="T2" fmla="*/ 90 w 93"/>
                    <a:gd name="T3" fmla="*/ 28 h 94"/>
                    <a:gd name="T4" fmla="*/ 76 w 93"/>
                    <a:gd name="T5" fmla="*/ 29 h 94"/>
                    <a:gd name="T6" fmla="*/ 72 w 93"/>
                    <a:gd name="T7" fmla="*/ 23 h 94"/>
                    <a:gd name="T8" fmla="*/ 77 w 93"/>
                    <a:gd name="T9" fmla="*/ 11 h 94"/>
                    <a:gd name="T10" fmla="*/ 63 w 93"/>
                    <a:gd name="T11" fmla="*/ 3 h 94"/>
                    <a:gd name="T12" fmla="*/ 55 w 93"/>
                    <a:gd name="T13" fmla="*/ 13 h 94"/>
                    <a:gd name="T14" fmla="*/ 46 w 93"/>
                    <a:gd name="T15" fmla="*/ 12 h 94"/>
                    <a:gd name="T16" fmla="*/ 41 w 93"/>
                    <a:gd name="T17" fmla="*/ 0 h 94"/>
                    <a:gd name="T18" fmla="*/ 26 w 93"/>
                    <a:gd name="T19" fmla="*/ 5 h 94"/>
                    <a:gd name="T20" fmla="*/ 28 w 93"/>
                    <a:gd name="T21" fmla="*/ 17 h 94"/>
                    <a:gd name="T22" fmla="*/ 22 w 93"/>
                    <a:gd name="T23" fmla="*/ 22 h 94"/>
                    <a:gd name="T24" fmla="*/ 11 w 93"/>
                    <a:gd name="T25" fmla="*/ 17 h 94"/>
                    <a:gd name="T26" fmla="*/ 2 w 93"/>
                    <a:gd name="T27" fmla="*/ 30 h 94"/>
                    <a:gd name="T28" fmla="*/ 12 w 93"/>
                    <a:gd name="T29" fmla="*/ 38 h 94"/>
                    <a:gd name="T30" fmla="*/ 11 w 93"/>
                    <a:gd name="T31" fmla="*/ 47 h 94"/>
                    <a:gd name="T32" fmla="*/ 0 w 93"/>
                    <a:gd name="T33" fmla="*/ 51 h 94"/>
                    <a:gd name="T34" fmla="*/ 3 w 93"/>
                    <a:gd name="T35" fmla="*/ 67 h 94"/>
                    <a:gd name="T36" fmla="*/ 16 w 93"/>
                    <a:gd name="T37" fmla="*/ 65 h 94"/>
                    <a:gd name="T38" fmla="*/ 21 w 93"/>
                    <a:gd name="T39" fmla="*/ 72 h 94"/>
                    <a:gd name="T40" fmla="*/ 16 w 93"/>
                    <a:gd name="T41" fmla="*/ 83 h 94"/>
                    <a:gd name="T42" fmla="*/ 30 w 93"/>
                    <a:gd name="T43" fmla="*/ 91 h 94"/>
                    <a:gd name="T44" fmla="*/ 38 w 93"/>
                    <a:gd name="T45" fmla="*/ 82 h 94"/>
                    <a:gd name="T46" fmla="*/ 46 w 93"/>
                    <a:gd name="T47" fmla="*/ 83 h 94"/>
                    <a:gd name="T48" fmla="*/ 51 w 93"/>
                    <a:gd name="T49" fmla="*/ 94 h 94"/>
                    <a:gd name="T50" fmla="*/ 66 w 93"/>
                    <a:gd name="T51" fmla="*/ 90 h 94"/>
                    <a:gd name="T52" fmla="*/ 65 w 93"/>
                    <a:gd name="T53" fmla="*/ 77 h 94"/>
                    <a:gd name="T54" fmla="*/ 71 w 93"/>
                    <a:gd name="T55" fmla="*/ 73 h 94"/>
                    <a:gd name="T56" fmla="*/ 83 w 93"/>
                    <a:gd name="T57" fmla="*/ 77 h 94"/>
                    <a:gd name="T58" fmla="*/ 91 w 93"/>
                    <a:gd name="T59" fmla="*/ 64 h 94"/>
                    <a:gd name="T60" fmla="*/ 81 w 93"/>
                    <a:gd name="T61" fmla="*/ 56 h 94"/>
                    <a:gd name="T62" fmla="*/ 82 w 93"/>
                    <a:gd name="T63" fmla="*/ 48 h 94"/>
                    <a:gd name="T64" fmla="*/ 93 w 93"/>
                    <a:gd name="T65" fmla="*/ 43 h 94"/>
                    <a:gd name="T66" fmla="*/ 57 w 93"/>
                    <a:gd name="T67" fmla="*/ 67 h 94"/>
                    <a:gd name="T68" fmla="*/ 27 w 93"/>
                    <a:gd name="T69" fmla="*/ 57 h 94"/>
                    <a:gd name="T70" fmla="*/ 37 w 93"/>
                    <a:gd name="T71" fmla="*/ 28 h 94"/>
                    <a:gd name="T72" fmla="*/ 66 w 93"/>
                    <a:gd name="T73" fmla="*/ 37 h 94"/>
                    <a:gd name="T74" fmla="*/ 57 w 93"/>
                    <a:gd name="T75" fmla="*/ 6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 h="94">
                      <a:moveTo>
                        <a:pt x="93" y="43"/>
                      </a:moveTo>
                      <a:cubicBezTo>
                        <a:pt x="90" y="28"/>
                        <a:pt x="90" y="28"/>
                        <a:pt x="90" y="28"/>
                      </a:cubicBezTo>
                      <a:cubicBezTo>
                        <a:pt x="76" y="29"/>
                        <a:pt x="76" y="29"/>
                        <a:pt x="76" y="29"/>
                      </a:cubicBezTo>
                      <a:cubicBezTo>
                        <a:pt x="75" y="27"/>
                        <a:pt x="74" y="25"/>
                        <a:pt x="72" y="23"/>
                      </a:cubicBezTo>
                      <a:cubicBezTo>
                        <a:pt x="77" y="11"/>
                        <a:pt x="77" y="11"/>
                        <a:pt x="77" y="11"/>
                      </a:cubicBezTo>
                      <a:cubicBezTo>
                        <a:pt x="63" y="3"/>
                        <a:pt x="63" y="3"/>
                        <a:pt x="63" y="3"/>
                      </a:cubicBezTo>
                      <a:cubicBezTo>
                        <a:pt x="55" y="13"/>
                        <a:pt x="55" y="13"/>
                        <a:pt x="55" y="13"/>
                      </a:cubicBezTo>
                      <a:cubicBezTo>
                        <a:pt x="52" y="12"/>
                        <a:pt x="49" y="12"/>
                        <a:pt x="46" y="12"/>
                      </a:cubicBezTo>
                      <a:cubicBezTo>
                        <a:pt x="41" y="0"/>
                        <a:pt x="41" y="0"/>
                        <a:pt x="41" y="0"/>
                      </a:cubicBezTo>
                      <a:cubicBezTo>
                        <a:pt x="26" y="5"/>
                        <a:pt x="26" y="5"/>
                        <a:pt x="26" y="5"/>
                      </a:cubicBezTo>
                      <a:cubicBezTo>
                        <a:pt x="28" y="17"/>
                        <a:pt x="28" y="17"/>
                        <a:pt x="28" y="17"/>
                      </a:cubicBezTo>
                      <a:cubicBezTo>
                        <a:pt x="26" y="19"/>
                        <a:pt x="24" y="20"/>
                        <a:pt x="22" y="22"/>
                      </a:cubicBezTo>
                      <a:cubicBezTo>
                        <a:pt x="11" y="17"/>
                        <a:pt x="11" y="17"/>
                        <a:pt x="11" y="17"/>
                      </a:cubicBezTo>
                      <a:cubicBezTo>
                        <a:pt x="2" y="30"/>
                        <a:pt x="2" y="30"/>
                        <a:pt x="2" y="30"/>
                      </a:cubicBezTo>
                      <a:cubicBezTo>
                        <a:pt x="12" y="38"/>
                        <a:pt x="12" y="38"/>
                        <a:pt x="12" y="38"/>
                      </a:cubicBezTo>
                      <a:cubicBezTo>
                        <a:pt x="11" y="41"/>
                        <a:pt x="11" y="44"/>
                        <a:pt x="11" y="47"/>
                      </a:cubicBezTo>
                      <a:cubicBezTo>
                        <a:pt x="0" y="51"/>
                        <a:pt x="0" y="51"/>
                        <a:pt x="0" y="51"/>
                      </a:cubicBezTo>
                      <a:cubicBezTo>
                        <a:pt x="3" y="67"/>
                        <a:pt x="3" y="67"/>
                        <a:pt x="3" y="67"/>
                      </a:cubicBezTo>
                      <a:cubicBezTo>
                        <a:pt x="16" y="65"/>
                        <a:pt x="16" y="65"/>
                        <a:pt x="16" y="65"/>
                      </a:cubicBezTo>
                      <a:cubicBezTo>
                        <a:pt x="17" y="68"/>
                        <a:pt x="19" y="70"/>
                        <a:pt x="21" y="72"/>
                      </a:cubicBezTo>
                      <a:cubicBezTo>
                        <a:pt x="16" y="83"/>
                        <a:pt x="16" y="83"/>
                        <a:pt x="16" y="83"/>
                      </a:cubicBezTo>
                      <a:cubicBezTo>
                        <a:pt x="30" y="91"/>
                        <a:pt x="30" y="91"/>
                        <a:pt x="30" y="91"/>
                      </a:cubicBezTo>
                      <a:cubicBezTo>
                        <a:pt x="38" y="82"/>
                        <a:pt x="38" y="82"/>
                        <a:pt x="38" y="82"/>
                      </a:cubicBezTo>
                      <a:cubicBezTo>
                        <a:pt x="40" y="82"/>
                        <a:pt x="43" y="83"/>
                        <a:pt x="46" y="83"/>
                      </a:cubicBezTo>
                      <a:cubicBezTo>
                        <a:pt x="51" y="94"/>
                        <a:pt x="51" y="94"/>
                        <a:pt x="51" y="94"/>
                      </a:cubicBezTo>
                      <a:cubicBezTo>
                        <a:pt x="66" y="90"/>
                        <a:pt x="66" y="90"/>
                        <a:pt x="66" y="90"/>
                      </a:cubicBezTo>
                      <a:cubicBezTo>
                        <a:pt x="65" y="77"/>
                        <a:pt x="65" y="77"/>
                        <a:pt x="65" y="77"/>
                      </a:cubicBezTo>
                      <a:cubicBezTo>
                        <a:pt x="67" y="76"/>
                        <a:pt x="69" y="74"/>
                        <a:pt x="71" y="73"/>
                      </a:cubicBezTo>
                      <a:cubicBezTo>
                        <a:pt x="83" y="77"/>
                        <a:pt x="83" y="77"/>
                        <a:pt x="83" y="77"/>
                      </a:cubicBezTo>
                      <a:cubicBezTo>
                        <a:pt x="91" y="64"/>
                        <a:pt x="91" y="64"/>
                        <a:pt x="91" y="64"/>
                      </a:cubicBezTo>
                      <a:cubicBezTo>
                        <a:pt x="81" y="56"/>
                        <a:pt x="81" y="56"/>
                        <a:pt x="81" y="56"/>
                      </a:cubicBezTo>
                      <a:cubicBezTo>
                        <a:pt x="81" y="53"/>
                        <a:pt x="81" y="51"/>
                        <a:pt x="82" y="48"/>
                      </a:cubicBezTo>
                      <a:lnTo>
                        <a:pt x="93" y="43"/>
                      </a:lnTo>
                      <a:close/>
                      <a:moveTo>
                        <a:pt x="57" y="67"/>
                      </a:moveTo>
                      <a:cubicBezTo>
                        <a:pt x="46" y="72"/>
                        <a:pt x="33" y="68"/>
                        <a:pt x="27" y="57"/>
                      </a:cubicBezTo>
                      <a:cubicBezTo>
                        <a:pt x="22" y="46"/>
                        <a:pt x="26" y="33"/>
                        <a:pt x="37" y="28"/>
                      </a:cubicBezTo>
                      <a:cubicBezTo>
                        <a:pt x="47" y="22"/>
                        <a:pt x="61" y="26"/>
                        <a:pt x="66" y="37"/>
                      </a:cubicBezTo>
                      <a:cubicBezTo>
                        <a:pt x="72" y="48"/>
                        <a:pt x="67" y="61"/>
                        <a:pt x="57" y="6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6" name="Freeform: Shape 295"/>
                <p:cNvSpPr/>
                <p:nvPr/>
              </p:nvSpPr>
              <p:spPr bwMode="auto">
                <a:xfrm flipV="1">
                  <a:off x="9784163" y="1783146"/>
                  <a:ext cx="470694" cy="302022"/>
                </a:xfrm>
                <a:custGeom>
                  <a:avLst/>
                  <a:gdLst>
                    <a:gd name="connsiteX0" fmla="*/ 133116 w 470694"/>
                    <a:gd name="connsiteY0" fmla="*/ 259100 h 302022"/>
                    <a:gd name="connsiteX1" fmla="*/ 122539 w 470694"/>
                    <a:gd name="connsiteY1" fmla="*/ 248523 h 302022"/>
                    <a:gd name="connsiteX2" fmla="*/ 122539 w 470694"/>
                    <a:gd name="connsiteY2" fmla="*/ 206217 h 302022"/>
                    <a:gd name="connsiteX3" fmla="*/ 133116 w 470694"/>
                    <a:gd name="connsiteY3" fmla="*/ 195640 h 302022"/>
                    <a:gd name="connsiteX4" fmla="*/ 337578 w 470694"/>
                    <a:gd name="connsiteY4" fmla="*/ 195640 h 302022"/>
                    <a:gd name="connsiteX5" fmla="*/ 348155 w 470694"/>
                    <a:gd name="connsiteY5" fmla="*/ 206217 h 302022"/>
                    <a:gd name="connsiteX6" fmla="*/ 348155 w 470694"/>
                    <a:gd name="connsiteY6" fmla="*/ 248523 h 302022"/>
                    <a:gd name="connsiteX7" fmla="*/ 337578 w 470694"/>
                    <a:gd name="connsiteY7" fmla="*/ 259100 h 302022"/>
                    <a:gd name="connsiteX8" fmla="*/ 0 w 470694"/>
                    <a:gd name="connsiteY8" fmla="*/ 302022 h 302022"/>
                    <a:gd name="connsiteX9" fmla="*/ 470694 w 470694"/>
                    <a:gd name="connsiteY9" fmla="*/ 302022 h 302022"/>
                    <a:gd name="connsiteX10" fmla="*/ 470694 w 470694"/>
                    <a:gd name="connsiteY10" fmla="*/ 45575 h 302022"/>
                    <a:gd name="connsiteX11" fmla="*/ 425119 w 470694"/>
                    <a:gd name="connsiteY11" fmla="*/ 0 h 302022"/>
                    <a:gd name="connsiteX12" fmla="*/ 45575 w 470694"/>
                    <a:gd name="connsiteY12" fmla="*/ 0 h 302022"/>
                    <a:gd name="connsiteX13" fmla="*/ 0 w 470694"/>
                    <a:gd name="connsiteY13" fmla="*/ 45575 h 30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0694" h="302022">
                      <a:moveTo>
                        <a:pt x="133116" y="259100"/>
                      </a:moveTo>
                      <a:cubicBezTo>
                        <a:pt x="127274" y="259100"/>
                        <a:pt x="122539" y="254365"/>
                        <a:pt x="122539" y="248523"/>
                      </a:cubicBezTo>
                      <a:lnTo>
                        <a:pt x="122539" y="206217"/>
                      </a:lnTo>
                      <a:cubicBezTo>
                        <a:pt x="122539" y="200375"/>
                        <a:pt x="127274" y="195640"/>
                        <a:pt x="133116" y="195640"/>
                      </a:cubicBezTo>
                      <a:lnTo>
                        <a:pt x="337578" y="195640"/>
                      </a:lnTo>
                      <a:cubicBezTo>
                        <a:pt x="343420" y="195640"/>
                        <a:pt x="348155" y="200375"/>
                        <a:pt x="348155" y="206217"/>
                      </a:cubicBezTo>
                      <a:lnTo>
                        <a:pt x="348155" y="248523"/>
                      </a:lnTo>
                      <a:cubicBezTo>
                        <a:pt x="348155" y="254365"/>
                        <a:pt x="343420" y="259100"/>
                        <a:pt x="337578" y="259100"/>
                      </a:cubicBezTo>
                      <a:close/>
                      <a:moveTo>
                        <a:pt x="0" y="302022"/>
                      </a:moveTo>
                      <a:lnTo>
                        <a:pt x="470694" y="302022"/>
                      </a:lnTo>
                      <a:lnTo>
                        <a:pt x="470694" y="45575"/>
                      </a:lnTo>
                      <a:cubicBezTo>
                        <a:pt x="470694" y="20405"/>
                        <a:pt x="450289" y="0"/>
                        <a:pt x="425119" y="0"/>
                      </a:cubicBezTo>
                      <a:lnTo>
                        <a:pt x="45575" y="0"/>
                      </a:lnTo>
                      <a:cubicBezTo>
                        <a:pt x="20405" y="0"/>
                        <a:pt x="0" y="20405"/>
                        <a:pt x="0" y="45575"/>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288" name="Rectangle 287"/>
            <p:cNvSpPr/>
            <p:nvPr/>
          </p:nvSpPr>
          <p:spPr>
            <a:xfrm>
              <a:off x="10360868" y="1559752"/>
              <a:ext cx="1043876" cy="4247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Line of</a:t>
              </a:r>
              <a:br>
                <a:rPr kumimoji="0" lang="en-US" sz="12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br>
              <a:r>
                <a:rPr kumimoji="0" lang="en-US" sz="12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business apps</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56" name="Group 155"/>
          <p:cNvGrpSpPr/>
          <p:nvPr/>
        </p:nvGrpSpPr>
        <p:grpSpPr>
          <a:xfrm>
            <a:off x="10549395" y="5325365"/>
            <a:ext cx="1376384" cy="965318"/>
            <a:chOff x="5279082" y="4834241"/>
            <a:chExt cx="1376384" cy="965318"/>
          </a:xfrm>
        </p:grpSpPr>
        <p:sp>
          <p:nvSpPr>
            <p:cNvPr id="180" name="Freeform 7"/>
            <p:cNvSpPr>
              <a:spLocks noChangeAspect="1" noEditPoints="1"/>
            </p:cNvSpPr>
            <p:nvPr/>
          </p:nvSpPr>
          <p:spPr bwMode="auto">
            <a:xfrm>
              <a:off x="5761779"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82"/>
            <p:cNvSpPr/>
            <p:nvPr/>
          </p:nvSpPr>
          <p:spPr>
            <a:xfrm>
              <a:off x="5279082" y="5337894"/>
              <a:ext cx="1376384"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mn-ea"/>
                  <a:cs typeface="+mn-cs"/>
                </a:rPr>
                <a:t>Other Identity Provider* accounts</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85" name="Group 184"/>
          <p:cNvGrpSpPr/>
          <p:nvPr/>
        </p:nvGrpSpPr>
        <p:grpSpPr>
          <a:xfrm>
            <a:off x="9594923" y="5325365"/>
            <a:ext cx="914400" cy="965318"/>
            <a:chOff x="10389002" y="4834241"/>
            <a:chExt cx="914400" cy="965318"/>
          </a:xfrm>
        </p:grpSpPr>
        <p:sp>
          <p:nvSpPr>
            <p:cNvPr id="189" name="Freeform 7"/>
            <p:cNvSpPr>
              <a:spLocks noChangeAspect="1" noEditPoints="1"/>
            </p:cNvSpPr>
            <p:nvPr/>
          </p:nvSpPr>
          <p:spPr bwMode="auto">
            <a:xfrm>
              <a:off x="10621493"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1" name="Rectangle 190"/>
            <p:cNvSpPr/>
            <p:nvPr/>
          </p:nvSpPr>
          <p:spPr>
            <a:xfrm>
              <a:off x="10389002" y="5337894"/>
              <a:ext cx="9144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mn-ea"/>
                  <a:cs typeface="+mn-cs"/>
                </a:rPr>
                <a:t>Employee accounts</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99" name="Group 198"/>
          <p:cNvGrpSpPr/>
          <p:nvPr/>
        </p:nvGrpSpPr>
        <p:grpSpPr>
          <a:xfrm>
            <a:off x="8370523" y="5325365"/>
            <a:ext cx="914400" cy="965318"/>
            <a:chOff x="9161145" y="4834241"/>
            <a:chExt cx="914400" cy="965318"/>
          </a:xfrm>
        </p:grpSpPr>
        <p:sp>
          <p:nvSpPr>
            <p:cNvPr id="200" name="Freeform 7"/>
            <p:cNvSpPr>
              <a:spLocks noChangeAspect="1" noEditPoints="1"/>
            </p:cNvSpPr>
            <p:nvPr/>
          </p:nvSpPr>
          <p:spPr bwMode="auto">
            <a:xfrm>
              <a:off x="9398441"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1" name="Rectangle 200"/>
            <p:cNvSpPr/>
            <p:nvPr/>
          </p:nvSpPr>
          <p:spPr>
            <a:xfrm>
              <a:off x="9161145" y="5337894"/>
              <a:ext cx="9144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mn-ea"/>
                  <a:cs typeface="+mn-cs"/>
                </a:rPr>
                <a:t>Google* accounts</a:t>
              </a:r>
            </a:p>
          </p:txBody>
        </p:sp>
      </p:grpSp>
      <p:grpSp>
        <p:nvGrpSpPr>
          <p:cNvPr id="202" name="Group 201"/>
          <p:cNvGrpSpPr/>
          <p:nvPr/>
        </p:nvGrpSpPr>
        <p:grpSpPr>
          <a:xfrm>
            <a:off x="7146121" y="5325365"/>
            <a:ext cx="914400" cy="965318"/>
            <a:chOff x="7933290" y="4834241"/>
            <a:chExt cx="914400" cy="965318"/>
          </a:xfrm>
        </p:grpSpPr>
        <p:sp>
          <p:nvSpPr>
            <p:cNvPr id="203" name="Freeform 7"/>
            <p:cNvSpPr>
              <a:spLocks noChangeAspect="1" noEditPoints="1"/>
            </p:cNvSpPr>
            <p:nvPr/>
          </p:nvSpPr>
          <p:spPr bwMode="auto">
            <a:xfrm>
              <a:off x="8175389"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865FC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6" name="Rectangle 205"/>
            <p:cNvSpPr/>
            <p:nvPr/>
          </p:nvSpPr>
          <p:spPr>
            <a:xfrm>
              <a:off x="7933290" y="5337894"/>
              <a:ext cx="9144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mn-ea"/>
                  <a:cs typeface="+mn-cs"/>
                </a:rPr>
                <a:t>Azure AD accounts</a:t>
              </a:r>
            </a:p>
          </p:txBody>
        </p:sp>
      </p:grpSp>
      <p:grpSp>
        <p:nvGrpSpPr>
          <p:cNvPr id="207" name="Group 206"/>
          <p:cNvGrpSpPr/>
          <p:nvPr/>
        </p:nvGrpSpPr>
        <p:grpSpPr>
          <a:xfrm>
            <a:off x="5921719" y="5325365"/>
            <a:ext cx="914400" cy="965318"/>
            <a:chOff x="6705435" y="4834241"/>
            <a:chExt cx="914400" cy="965318"/>
          </a:xfrm>
        </p:grpSpPr>
        <p:sp>
          <p:nvSpPr>
            <p:cNvPr id="208" name="Freeform 7"/>
            <p:cNvSpPr>
              <a:spLocks noChangeAspect="1" noEditPoints="1"/>
            </p:cNvSpPr>
            <p:nvPr/>
          </p:nvSpPr>
          <p:spPr bwMode="auto">
            <a:xfrm>
              <a:off x="6952337"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Rectangle 208"/>
            <p:cNvSpPr/>
            <p:nvPr/>
          </p:nvSpPr>
          <p:spPr>
            <a:xfrm>
              <a:off x="6705435" y="5337894"/>
              <a:ext cx="9144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mn-ea"/>
                  <a:cs typeface="+mn-cs"/>
                </a:rPr>
                <a:t>MSA accounts</a:t>
              </a:r>
            </a:p>
          </p:txBody>
        </p:sp>
      </p:grpSp>
      <p:pic>
        <p:nvPicPr>
          <p:cNvPr id="218" name="Picture 217"/>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9994129" y="2378734"/>
            <a:ext cx="430250" cy="288581"/>
          </a:xfrm>
          <a:prstGeom prst="rect">
            <a:avLst/>
          </a:prstGeom>
        </p:spPr>
      </p:pic>
    </p:spTree>
    <p:extLst>
      <p:ext uri="{BB962C8B-B14F-4D97-AF65-F5344CB8AC3E}">
        <p14:creationId xmlns:p14="http://schemas.microsoft.com/office/powerpoint/2010/main" val="517309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9"/>
                                        </p:tgtEl>
                                        <p:attrNameLst>
                                          <p:attrName>style.visibility</p:attrName>
                                        </p:attrNameLst>
                                      </p:cBhvr>
                                      <p:to>
                                        <p:strVal val="visible"/>
                                      </p:to>
                                    </p:set>
                                    <p:animEffect transition="in" filter="fade">
                                      <p:cBhvr>
                                        <p:cTn id="11" dur="500"/>
                                        <p:tgtEl>
                                          <p:spTgt spid="11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p:bldP spid="119" grpId="0"/>
      <p:bldP spid="12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91C62C-CAEB-4120-ACD1-629D51EA81D2}"/>
              </a:ext>
            </a:extLst>
          </p:cNvPr>
          <p:cNvSpPr>
            <a:spLocks noGrp="1"/>
          </p:cNvSpPr>
          <p:nvPr>
            <p:ph type="title"/>
          </p:nvPr>
        </p:nvSpPr>
        <p:spPr>
          <a:xfrm>
            <a:off x="269242" y="1217195"/>
            <a:ext cx="5378548" cy="1080617"/>
          </a:xfrm>
        </p:spPr>
        <p:txBody>
          <a:bodyPr/>
          <a:lstStyle/>
          <a:p>
            <a:r>
              <a:rPr lang="en-US" dirty="0"/>
              <a:t>Lab Setup</a:t>
            </a:r>
          </a:p>
        </p:txBody>
      </p:sp>
      <p:sp>
        <p:nvSpPr>
          <p:cNvPr id="8" name="Picture Placeholder 7">
            <a:extLst>
              <a:ext uri="{FF2B5EF4-FFF2-40B4-BE49-F238E27FC236}">
                <a16:creationId xmlns:a16="http://schemas.microsoft.com/office/drawing/2014/main" id="{DBF80AE0-97C3-476E-913C-6E0A3E72610E}"/>
              </a:ext>
            </a:extLst>
          </p:cNvPr>
          <p:cNvSpPr>
            <a:spLocks noGrp="1"/>
          </p:cNvSpPr>
          <p:nvPr>
            <p:ph type="pic" sz="quarter" idx="10"/>
          </p:nvPr>
        </p:nvSpPr>
        <p:spPr/>
      </p:sp>
    </p:spTree>
    <p:extLst>
      <p:ext uri="{BB962C8B-B14F-4D97-AF65-F5344CB8AC3E}">
        <p14:creationId xmlns:p14="http://schemas.microsoft.com/office/powerpoint/2010/main" val="26023751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665DF-4791-4804-AEF8-CCF3FE652D79}"/>
              </a:ext>
            </a:extLst>
          </p:cNvPr>
          <p:cNvSpPr>
            <a:spLocks noGrp="1"/>
          </p:cNvSpPr>
          <p:nvPr>
            <p:ph type="title"/>
          </p:nvPr>
        </p:nvSpPr>
        <p:spPr/>
        <p:txBody>
          <a:bodyPr/>
          <a:lstStyle/>
          <a:p>
            <a:pPr algn="ctr"/>
            <a:r>
              <a:rPr lang="en-US" dirty="0"/>
              <a:t>Azure AD B2B collaboration</a:t>
            </a:r>
          </a:p>
        </p:txBody>
      </p:sp>
      <p:grpSp>
        <p:nvGrpSpPr>
          <p:cNvPr id="389" name="Group 388">
            <a:extLst>
              <a:ext uri="{FF2B5EF4-FFF2-40B4-BE49-F238E27FC236}">
                <a16:creationId xmlns:a16="http://schemas.microsoft.com/office/drawing/2014/main" id="{6F6489BD-E415-4500-B9DE-E1570F84DF20}"/>
              </a:ext>
            </a:extLst>
          </p:cNvPr>
          <p:cNvGrpSpPr/>
          <p:nvPr/>
        </p:nvGrpSpPr>
        <p:grpSpPr>
          <a:xfrm>
            <a:off x="9233488" y="2209398"/>
            <a:ext cx="2423815" cy="1405559"/>
            <a:chOff x="9363841" y="1485874"/>
            <a:chExt cx="2472418" cy="1433743"/>
          </a:xfrm>
        </p:grpSpPr>
        <p:grpSp>
          <p:nvGrpSpPr>
            <p:cNvPr id="390" name="Group 389">
              <a:extLst>
                <a:ext uri="{FF2B5EF4-FFF2-40B4-BE49-F238E27FC236}">
                  <a16:creationId xmlns:a16="http://schemas.microsoft.com/office/drawing/2014/main" id="{3D3AD55B-1235-4C78-B968-4B791C5F7889}"/>
                </a:ext>
              </a:extLst>
            </p:cNvPr>
            <p:cNvGrpSpPr/>
            <p:nvPr/>
          </p:nvGrpSpPr>
          <p:grpSpPr>
            <a:xfrm flipH="1">
              <a:off x="9363841" y="1485874"/>
              <a:ext cx="2472418" cy="1433743"/>
              <a:chOff x="-225126" y="1275670"/>
              <a:chExt cx="3546068" cy="2056345"/>
            </a:xfrm>
          </p:grpSpPr>
          <p:sp>
            <p:nvSpPr>
              <p:cNvPr id="393" name="Freeform 38">
                <a:extLst>
                  <a:ext uri="{FF2B5EF4-FFF2-40B4-BE49-F238E27FC236}">
                    <a16:creationId xmlns:a16="http://schemas.microsoft.com/office/drawing/2014/main" id="{14AD8D11-345D-46F3-8536-C1183AB4AFE9}"/>
                  </a:ext>
                </a:extLst>
              </p:cNvPr>
              <p:cNvSpPr>
                <a:spLocks noChangeAspect="1"/>
              </p:cNvSpPr>
              <p:nvPr/>
            </p:nvSpPr>
            <p:spPr bwMode="auto">
              <a:xfrm>
                <a:off x="193680" y="1275670"/>
                <a:ext cx="3127262" cy="205634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12700">
                <a:solidFill>
                  <a:srgbClr val="0078D7"/>
                </a:solid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394" name="TextBox 393">
                <a:extLst>
                  <a:ext uri="{FF2B5EF4-FFF2-40B4-BE49-F238E27FC236}">
                    <a16:creationId xmlns:a16="http://schemas.microsoft.com/office/drawing/2014/main" id="{E1ABFFC1-5BA4-482E-9934-71C8969ADCA0}"/>
                  </a:ext>
                </a:extLst>
              </p:cNvPr>
              <p:cNvSpPr txBox="1"/>
              <p:nvPr/>
            </p:nvSpPr>
            <p:spPr>
              <a:xfrm>
                <a:off x="-225126" y="2424720"/>
                <a:ext cx="2599243" cy="437014"/>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r>
                  <a:rPr kumimoji="0" lang="en-US" sz="1078"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SharePoint Online</a:t>
                </a:r>
                <a:br>
                  <a:rPr kumimoji="0" lang="en-US" sz="1078"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br>
                <a:r>
                  <a:rPr kumimoji="0" lang="en-US" sz="1078"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amp; Office 365 apps</a:t>
                </a:r>
              </a:p>
            </p:txBody>
          </p:sp>
          <p:sp>
            <p:nvSpPr>
              <p:cNvPr id="395" name="Freeform 131">
                <a:extLst>
                  <a:ext uri="{FF2B5EF4-FFF2-40B4-BE49-F238E27FC236}">
                    <a16:creationId xmlns:a16="http://schemas.microsoft.com/office/drawing/2014/main" id="{F4B8CBA6-10F1-4BAE-A031-2349AF1BEC6A}"/>
                  </a:ext>
                </a:extLst>
              </p:cNvPr>
              <p:cNvSpPr>
                <a:spLocks noChangeAspect="1"/>
              </p:cNvSpPr>
              <p:nvPr/>
            </p:nvSpPr>
            <p:spPr bwMode="black">
              <a:xfrm flipH="1">
                <a:off x="1960020" y="1518735"/>
                <a:ext cx="559204" cy="67071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DA3104"/>
              </a:solidFill>
              <a:ln>
                <a:noFill/>
              </a:ln>
              <a:extLst/>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pic>
          <p:nvPicPr>
            <p:cNvPr id="391" name="Picture 390">
              <a:extLst>
                <a:ext uri="{FF2B5EF4-FFF2-40B4-BE49-F238E27FC236}">
                  <a16:creationId xmlns:a16="http://schemas.microsoft.com/office/drawing/2014/main" id="{C711125A-7E8E-4BE1-905F-47D23DD322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75296" y="1776248"/>
              <a:ext cx="573743" cy="573743"/>
            </a:xfrm>
            <a:prstGeom prst="rect">
              <a:avLst/>
            </a:prstGeom>
          </p:spPr>
        </p:pic>
        <p:pic>
          <p:nvPicPr>
            <p:cNvPr id="392" name="Picture 391">
              <a:extLst>
                <a:ext uri="{FF2B5EF4-FFF2-40B4-BE49-F238E27FC236}">
                  <a16:creationId xmlns:a16="http://schemas.microsoft.com/office/drawing/2014/main" id="{121338A3-0E56-48FF-A4BC-7B430A688DD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5223" y="1782950"/>
              <a:ext cx="345649" cy="345649"/>
            </a:xfrm>
            <a:prstGeom prst="rect">
              <a:avLst/>
            </a:prstGeom>
          </p:spPr>
        </p:pic>
      </p:grpSp>
      <p:sp>
        <p:nvSpPr>
          <p:cNvPr id="396" name="Arc 395">
            <a:extLst>
              <a:ext uri="{FF2B5EF4-FFF2-40B4-BE49-F238E27FC236}">
                <a16:creationId xmlns:a16="http://schemas.microsoft.com/office/drawing/2014/main" id="{D6360F80-8EB7-47B4-825D-E8EBF6513ABF}"/>
              </a:ext>
            </a:extLst>
          </p:cNvPr>
          <p:cNvSpPr/>
          <p:nvPr/>
        </p:nvSpPr>
        <p:spPr>
          <a:xfrm rot="10019872">
            <a:off x="3574778" y="1743994"/>
            <a:ext cx="2007010" cy="2238189"/>
          </a:xfrm>
          <a:prstGeom prst="arc">
            <a:avLst>
              <a:gd name="adj1" fmla="val 17142088"/>
              <a:gd name="adj2" fmla="val 21386133"/>
            </a:avLst>
          </a:prstGeom>
          <a:noFill/>
          <a:ln w="31750" cap="rnd" cmpd="sng" algn="ctr">
            <a:solidFill>
              <a:srgbClr val="353535"/>
            </a:solidFill>
            <a:prstDash val="sysDot"/>
            <a:headEnd type="triangl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397" name="Arc 396">
            <a:extLst>
              <a:ext uri="{FF2B5EF4-FFF2-40B4-BE49-F238E27FC236}">
                <a16:creationId xmlns:a16="http://schemas.microsoft.com/office/drawing/2014/main" id="{04DD426D-F44A-4393-961F-4A0067F6569D}"/>
              </a:ext>
            </a:extLst>
          </p:cNvPr>
          <p:cNvSpPr/>
          <p:nvPr/>
        </p:nvSpPr>
        <p:spPr>
          <a:xfrm rot="14400000" flipH="1">
            <a:off x="7167059" y="2391293"/>
            <a:ext cx="1160132" cy="2172270"/>
          </a:xfrm>
          <a:prstGeom prst="arc">
            <a:avLst>
              <a:gd name="adj1" fmla="val 17033909"/>
              <a:gd name="adj2" fmla="val 1888686"/>
            </a:avLst>
          </a:prstGeom>
          <a:noFill/>
          <a:ln w="31750" cap="rnd" cmpd="sng" algn="ctr">
            <a:solidFill>
              <a:srgbClr val="353535"/>
            </a:solidFill>
            <a:prstDash val="sysDot"/>
            <a:headEnd type="none" w="med" len="med"/>
            <a:tailEnd type="triangl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398" name="TextBox 397">
            <a:extLst>
              <a:ext uri="{FF2B5EF4-FFF2-40B4-BE49-F238E27FC236}">
                <a16:creationId xmlns:a16="http://schemas.microsoft.com/office/drawing/2014/main" id="{99CA5B6F-2F0F-4A2E-8FF3-D8FD7C2891BA}"/>
              </a:ext>
            </a:extLst>
          </p:cNvPr>
          <p:cNvSpPr txBox="1"/>
          <p:nvPr/>
        </p:nvSpPr>
        <p:spPr>
          <a:xfrm flipH="1">
            <a:off x="6850018" y="2233727"/>
            <a:ext cx="2753734" cy="380175"/>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r>
              <a:rPr kumimoji="0" lang="en-US" sz="1372" b="0" i="0" u="none" strike="noStrike" kern="120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Assign B2B users access to any app or service your organization owns</a:t>
            </a:r>
          </a:p>
        </p:txBody>
      </p:sp>
      <p:sp>
        <p:nvSpPr>
          <p:cNvPr id="399" name="TextBox 398">
            <a:extLst>
              <a:ext uri="{FF2B5EF4-FFF2-40B4-BE49-F238E27FC236}">
                <a16:creationId xmlns:a16="http://schemas.microsoft.com/office/drawing/2014/main" id="{26C47942-288C-4C10-85DE-D2D8A8E67A71}"/>
              </a:ext>
            </a:extLst>
          </p:cNvPr>
          <p:cNvSpPr txBox="1"/>
          <p:nvPr/>
        </p:nvSpPr>
        <p:spPr>
          <a:xfrm flipH="1">
            <a:off x="688834" y="3259724"/>
            <a:ext cx="3357521" cy="380175"/>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r>
              <a:rPr kumimoji="0" lang="en-US" sz="1372" b="0" i="0" u="none" strike="noStrike" kern="120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Add B2B users with accounts in </a:t>
            </a:r>
            <a:br>
              <a:rPr kumimoji="0" lang="en-US" sz="1372" b="0" i="0" u="none" strike="noStrike" kern="120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br>
            <a:r>
              <a:rPr kumimoji="0" lang="en-US" sz="1372" b="0" i="0" u="none" strike="noStrike" kern="120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other Azure AD organizations</a:t>
            </a:r>
          </a:p>
        </p:txBody>
      </p:sp>
      <p:sp>
        <p:nvSpPr>
          <p:cNvPr id="400" name="Freeform: Shape 399">
            <a:extLst>
              <a:ext uri="{FF2B5EF4-FFF2-40B4-BE49-F238E27FC236}">
                <a16:creationId xmlns:a16="http://schemas.microsoft.com/office/drawing/2014/main" id="{80AB96A2-0326-4DD9-A2A6-AF6126B2FF53}"/>
              </a:ext>
            </a:extLst>
          </p:cNvPr>
          <p:cNvSpPr/>
          <p:nvPr/>
        </p:nvSpPr>
        <p:spPr>
          <a:xfrm flipH="1">
            <a:off x="8303589" y="2690591"/>
            <a:ext cx="2064547" cy="1357552"/>
          </a:xfrm>
          <a:custGeom>
            <a:avLst/>
            <a:gdLst>
              <a:gd name="connsiteX0" fmla="*/ 1627536 w 2877656"/>
              <a:gd name="connsiteY0" fmla="*/ 0 h 1892217"/>
              <a:gd name="connsiteX1" fmla="*/ 2425623 w 2877656"/>
              <a:gd name="connsiteY1" fmla="*/ 798431 h 1892217"/>
              <a:gd name="connsiteX2" fmla="*/ 2424542 w 2877656"/>
              <a:gd name="connsiteY2" fmla="*/ 836297 h 1892217"/>
              <a:gd name="connsiteX3" fmla="*/ 2877656 w 2877656"/>
              <a:gd name="connsiteY3" fmla="*/ 1361011 h 1892217"/>
              <a:gd name="connsiteX4" fmla="*/ 2347761 w 2877656"/>
              <a:gd name="connsiteY4" fmla="*/ 1892217 h 1892217"/>
              <a:gd name="connsiteX5" fmla="*/ 2316400 w 2877656"/>
              <a:gd name="connsiteY5" fmla="*/ 1891135 h 1892217"/>
              <a:gd name="connsiteX6" fmla="*/ 656421 w 2877656"/>
              <a:gd name="connsiteY6" fmla="*/ 1891135 h 1892217"/>
              <a:gd name="connsiteX7" fmla="*/ 621816 w 2877656"/>
              <a:gd name="connsiteY7" fmla="*/ 1892217 h 1892217"/>
              <a:gd name="connsiteX8" fmla="*/ 588292 w 2877656"/>
              <a:gd name="connsiteY8" fmla="*/ 1891135 h 1892217"/>
              <a:gd name="connsiteX9" fmla="*/ 587211 w 2877656"/>
              <a:gd name="connsiteY9" fmla="*/ 1891135 h 1892217"/>
              <a:gd name="connsiteX10" fmla="*/ 0 w 2877656"/>
              <a:gd name="connsiteY10" fmla="*/ 1270133 h 1892217"/>
              <a:gd name="connsiteX11" fmla="*/ 287658 w 2877656"/>
              <a:gd name="connsiteY11" fmla="*/ 745419 h 1892217"/>
              <a:gd name="connsiteX12" fmla="*/ 287658 w 2877656"/>
              <a:gd name="connsiteY12" fmla="*/ 736764 h 1892217"/>
              <a:gd name="connsiteX13" fmla="*/ 732121 w 2877656"/>
              <a:gd name="connsiteY13" fmla="*/ 292109 h 1892217"/>
              <a:gd name="connsiteX14" fmla="*/ 962463 w 2877656"/>
              <a:gd name="connsiteY14" fmla="*/ 357022 h 1892217"/>
              <a:gd name="connsiteX15" fmla="*/ 1627536 w 2877656"/>
              <a:gd name="connsiteY15" fmla="*/ 0 h 189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7656" h="1892217">
                <a:moveTo>
                  <a:pt x="1627536" y="0"/>
                </a:moveTo>
                <a:cubicBezTo>
                  <a:pt x="2067673" y="0"/>
                  <a:pt x="2425623" y="357022"/>
                  <a:pt x="2425623" y="798431"/>
                </a:cubicBezTo>
                <a:cubicBezTo>
                  <a:pt x="2425623" y="810332"/>
                  <a:pt x="2424542" y="823315"/>
                  <a:pt x="2424542" y="836297"/>
                </a:cubicBezTo>
                <a:cubicBezTo>
                  <a:pt x="2680838" y="873081"/>
                  <a:pt x="2877656" y="1093786"/>
                  <a:pt x="2877656" y="1361011"/>
                </a:cubicBezTo>
                <a:cubicBezTo>
                  <a:pt x="2877656" y="1655284"/>
                  <a:pt x="2640825" y="1892217"/>
                  <a:pt x="2347761" y="1892217"/>
                </a:cubicBezTo>
                <a:cubicBezTo>
                  <a:pt x="2336947" y="1892217"/>
                  <a:pt x="2326132" y="1892217"/>
                  <a:pt x="2316400" y="1891135"/>
                </a:cubicBezTo>
                <a:cubicBezTo>
                  <a:pt x="2316400" y="1891135"/>
                  <a:pt x="2316400" y="1891135"/>
                  <a:pt x="656421" y="1891135"/>
                </a:cubicBezTo>
                <a:cubicBezTo>
                  <a:pt x="644526" y="1892217"/>
                  <a:pt x="633712" y="1892217"/>
                  <a:pt x="621816" y="1892217"/>
                </a:cubicBezTo>
                <a:cubicBezTo>
                  <a:pt x="611002" y="1892217"/>
                  <a:pt x="599106" y="1892217"/>
                  <a:pt x="588292" y="1891135"/>
                </a:cubicBezTo>
                <a:cubicBezTo>
                  <a:pt x="588292" y="1891135"/>
                  <a:pt x="588292" y="1891135"/>
                  <a:pt x="587211" y="1891135"/>
                </a:cubicBezTo>
                <a:cubicBezTo>
                  <a:pt x="259541" y="1873825"/>
                  <a:pt x="0" y="1602272"/>
                  <a:pt x="0" y="1270133"/>
                </a:cubicBezTo>
                <a:cubicBezTo>
                  <a:pt x="0" y="1049429"/>
                  <a:pt x="114631" y="855771"/>
                  <a:pt x="287658" y="745419"/>
                </a:cubicBezTo>
                <a:cubicBezTo>
                  <a:pt x="287658" y="742173"/>
                  <a:pt x="287658" y="740009"/>
                  <a:pt x="287658" y="736764"/>
                </a:cubicBezTo>
                <a:cubicBezTo>
                  <a:pt x="287658" y="491176"/>
                  <a:pt x="486639" y="292109"/>
                  <a:pt x="732121" y="292109"/>
                </a:cubicBezTo>
                <a:cubicBezTo>
                  <a:pt x="816472" y="292109"/>
                  <a:pt x="895415" y="315911"/>
                  <a:pt x="962463" y="357022"/>
                </a:cubicBezTo>
                <a:cubicBezTo>
                  <a:pt x="1105210" y="141727"/>
                  <a:pt x="1349611" y="0"/>
                  <a:pt x="1627536" y="0"/>
                </a:cubicBezTo>
                <a:close/>
              </a:path>
            </a:pathLst>
          </a:custGeom>
          <a:blipFill dpi="0" rotWithShape="1">
            <a:blip r:embed="rId5" cstate="print">
              <a:extLst>
                <a:ext uri="{28A0092B-C50C-407E-A947-70E740481C1C}">
                  <a14:useLocalDpi xmlns:a14="http://schemas.microsoft.com/office/drawing/2010/main" val="0"/>
                </a:ext>
              </a:extLst>
            </a:blip>
            <a:srcRect/>
            <a:stretch>
              <a:fillRect/>
            </a:stretch>
          </a:blipFill>
          <a:ln w="12700" cap="flat" cmpd="sng" algn="ctr">
            <a:solidFill>
              <a:srgbClr val="0078D7"/>
            </a:solidFill>
            <a:prstDash val="solid"/>
          </a:ln>
          <a:effectLst/>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01" name="Arc 400">
            <a:extLst>
              <a:ext uri="{FF2B5EF4-FFF2-40B4-BE49-F238E27FC236}">
                <a16:creationId xmlns:a16="http://schemas.microsoft.com/office/drawing/2014/main" id="{D12035B1-FFF0-4453-84C7-DFBFAC43D351}"/>
              </a:ext>
            </a:extLst>
          </p:cNvPr>
          <p:cNvSpPr/>
          <p:nvPr/>
        </p:nvSpPr>
        <p:spPr>
          <a:xfrm rot="10019872">
            <a:off x="6503851" y="2704175"/>
            <a:ext cx="3147334" cy="2622131"/>
          </a:xfrm>
          <a:prstGeom prst="arc">
            <a:avLst>
              <a:gd name="adj1" fmla="val 17953540"/>
              <a:gd name="adj2" fmla="val 21155371"/>
            </a:avLst>
          </a:prstGeom>
          <a:noFill/>
          <a:ln w="31750" cap="rnd" cmpd="sng" algn="ctr">
            <a:solidFill>
              <a:srgbClr val="353535"/>
            </a:solidFill>
            <a:prstDash val="sysDot"/>
            <a:headEnd type="triangle" w="med" len="med"/>
            <a:tailEnd type="triangl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402" name="Group 401">
            <a:extLst>
              <a:ext uri="{FF2B5EF4-FFF2-40B4-BE49-F238E27FC236}">
                <a16:creationId xmlns:a16="http://schemas.microsoft.com/office/drawing/2014/main" id="{AD8F6128-2EAA-4B30-8601-E2BB177BF42F}"/>
              </a:ext>
            </a:extLst>
          </p:cNvPr>
          <p:cNvGrpSpPr/>
          <p:nvPr/>
        </p:nvGrpSpPr>
        <p:grpSpPr>
          <a:xfrm>
            <a:off x="1933578" y="1741818"/>
            <a:ext cx="2187545" cy="1438429"/>
            <a:chOff x="4455227" y="1776248"/>
            <a:chExt cx="2231410" cy="1467273"/>
          </a:xfrm>
        </p:grpSpPr>
        <p:sp>
          <p:nvSpPr>
            <p:cNvPr id="403" name="Freeform 38">
              <a:extLst>
                <a:ext uri="{FF2B5EF4-FFF2-40B4-BE49-F238E27FC236}">
                  <a16:creationId xmlns:a16="http://schemas.microsoft.com/office/drawing/2014/main" id="{69495571-15FD-41DB-906F-4B6A4BEC002D}"/>
                </a:ext>
              </a:extLst>
            </p:cNvPr>
            <p:cNvSpPr>
              <a:spLocks noChangeAspect="1"/>
            </p:cNvSpPr>
            <p:nvPr/>
          </p:nvSpPr>
          <p:spPr bwMode="auto">
            <a:xfrm flipH="1">
              <a:off x="4455227" y="1776248"/>
              <a:ext cx="2231410" cy="1467273"/>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12700">
              <a:solidFill>
                <a:srgbClr val="0078D7"/>
              </a:solid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04" name="TextBox 403">
              <a:extLst>
                <a:ext uri="{FF2B5EF4-FFF2-40B4-BE49-F238E27FC236}">
                  <a16:creationId xmlns:a16="http://schemas.microsoft.com/office/drawing/2014/main" id="{3D6938F4-2250-4954-A78C-CDA2F8107AE2}"/>
                </a:ext>
              </a:extLst>
            </p:cNvPr>
            <p:cNvSpPr txBox="1"/>
            <p:nvPr/>
          </p:nvSpPr>
          <p:spPr>
            <a:xfrm flipH="1">
              <a:off x="5376858" y="2290663"/>
              <a:ext cx="1274550" cy="332399"/>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Other</a:t>
              </a:r>
              <a:b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br>
              <a: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organizations</a:t>
              </a:r>
            </a:p>
          </p:txBody>
        </p:sp>
        <p:sp>
          <p:nvSpPr>
            <p:cNvPr id="405" name="Freeform: Shape 404">
              <a:extLst>
                <a:ext uri="{FF2B5EF4-FFF2-40B4-BE49-F238E27FC236}">
                  <a16:creationId xmlns:a16="http://schemas.microsoft.com/office/drawing/2014/main" id="{271C312A-D3CB-46FE-8734-4EBA4C2225AA}"/>
                </a:ext>
              </a:extLst>
            </p:cNvPr>
            <p:cNvSpPr>
              <a:spLocks noChangeAspect="1"/>
            </p:cNvSpPr>
            <p:nvPr/>
          </p:nvSpPr>
          <p:spPr bwMode="auto">
            <a:xfrm flipH="1">
              <a:off x="5852265" y="2717316"/>
              <a:ext cx="285037" cy="318773"/>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865FC5"/>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353535"/>
                </a:solidFill>
                <a:effectLst/>
                <a:uLnTx/>
                <a:uFillTx/>
                <a:latin typeface="Segoe UI Semilight"/>
                <a:ea typeface="+mn-ea"/>
                <a:cs typeface="+mn-cs"/>
              </a:endParaRPr>
            </a:p>
          </p:txBody>
        </p:sp>
        <p:pic>
          <p:nvPicPr>
            <p:cNvPr id="406" name="Picture 405">
              <a:extLst>
                <a:ext uri="{FF2B5EF4-FFF2-40B4-BE49-F238E27FC236}">
                  <a16:creationId xmlns:a16="http://schemas.microsoft.com/office/drawing/2014/main" id="{A7B227AF-C20B-46DD-B4F6-D41255C63023}"/>
                </a:ext>
              </a:extLst>
            </p:cNvPr>
            <p:cNvPicPr>
              <a:picLocks noChangeAspect="1"/>
            </p:cNvPicPr>
            <p:nvPr/>
          </p:nvPicPr>
          <p:blipFill>
            <a:blip r:embed="rId6"/>
            <a:stretch>
              <a:fillRect/>
            </a:stretch>
          </p:blipFill>
          <p:spPr>
            <a:xfrm>
              <a:off x="5185695" y="2769197"/>
              <a:ext cx="215010" cy="215010"/>
            </a:xfrm>
            <a:prstGeom prst="rect">
              <a:avLst/>
            </a:prstGeom>
          </p:spPr>
        </p:pic>
        <p:pic>
          <p:nvPicPr>
            <p:cNvPr id="407" name="Picture 406">
              <a:extLst>
                <a:ext uri="{FF2B5EF4-FFF2-40B4-BE49-F238E27FC236}">
                  <a16:creationId xmlns:a16="http://schemas.microsoft.com/office/drawing/2014/main" id="{95829CF9-7D23-445A-B330-033A2B6561FF}"/>
                </a:ext>
              </a:extLst>
            </p:cNvPr>
            <p:cNvPicPr>
              <a:picLocks noChangeAspect="1"/>
            </p:cNvPicPr>
            <p:nvPr/>
          </p:nvPicPr>
          <p:blipFill>
            <a:blip r:embed="rId7"/>
            <a:stretch>
              <a:fillRect/>
            </a:stretch>
          </p:blipFill>
          <p:spPr>
            <a:xfrm>
              <a:off x="4916845" y="2769892"/>
              <a:ext cx="213620" cy="213620"/>
            </a:xfrm>
            <a:prstGeom prst="rect">
              <a:avLst/>
            </a:prstGeom>
          </p:spPr>
        </p:pic>
        <p:pic>
          <p:nvPicPr>
            <p:cNvPr id="408" name="Picture 407">
              <a:extLst>
                <a:ext uri="{FF2B5EF4-FFF2-40B4-BE49-F238E27FC236}">
                  <a16:creationId xmlns:a16="http://schemas.microsoft.com/office/drawing/2014/main" id="{26BBAAA2-9866-44B2-AB35-0274876023DF}"/>
                </a:ext>
              </a:extLst>
            </p:cNvPr>
            <p:cNvPicPr>
              <a:picLocks noChangeAspect="1"/>
            </p:cNvPicPr>
            <p:nvPr/>
          </p:nvPicPr>
          <p:blipFill>
            <a:blip r:embed="rId8"/>
            <a:stretch>
              <a:fillRect/>
            </a:stretch>
          </p:blipFill>
          <p:spPr>
            <a:xfrm>
              <a:off x="4647901" y="2769358"/>
              <a:ext cx="214684" cy="214684"/>
            </a:xfrm>
            <a:prstGeom prst="rect">
              <a:avLst/>
            </a:prstGeom>
          </p:spPr>
        </p:pic>
        <p:sp>
          <p:nvSpPr>
            <p:cNvPr id="409" name="Freeform: Shape 408">
              <a:extLst>
                <a:ext uri="{FF2B5EF4-FFF2-40B4-BE49-F238E27FC236}">
                  <a16:creationId xmlns:a16="http://schemas.microsoft.com/office/drawing/2014/main" id="{05B0456A-6C42-40B6-8606-211912DB80EC}"/>
                </a:ext>
              </a:extLst>
            </p:cNvPr>
            <p:cNvSpPr>
              <a:spLocks noChangeAspect="1"/>
            </p:cNvSpPr>
            <p:nvPr/>
          </p:nvSpPr>
          <p:spPr bwMode="auto">
            <a:xfrm flipV="1">
              <a:off x="5035931" y="1949643"/>
              <a:ext cx="647883" cy="643692"/>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10" name="Arc 409">
            <a:extLst>
              <a:ext uri="{FF2B5EF4-FFF2-40B4-BE49-F238E27FC236}">
                <a16:creationId xmlns:a16="http://schemas.microsoft.com/office/drawing/2014/main" id="{0B9F810E-FB7D-407A-BFD7-BEE73E89E11E}"/>
              </a:ext>
            </a:extLst>
          </p:cNvPr>
          <p:cNvSpPr/>
          <p:nvPr/>
        </p:nvSpPr>
        <p:spPr>
          <a:xfrm rot="5400000">
            <a:off x="2595579" y="2591436"/>
            <a:ext cx="1334769" cy="3812767"/>
          </a:xfrm>
          <a:prstGeom prst="arc">
            <a:avLst>
              <a:gd name="adj1" fmla="val 16318506"/>
              <a:gd name="adj2" fmla="val 18525068"/>
            </a:avLst>
          </a:prstGeom>
          <a:noFill/>
          <a:ln w="38100" cap="rnd" cmpd="sng" algn="ctr">
            <a:solidFill>
              <a:srgbClr val="353535"/>
            </a:solidFill>
            <a:prstDash val="sysDot"/>
            <a:headEnd type="triangl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11" name="Arc 410">
            <a:extLst>
              <a:ext uri="{FF2B5EF4-FFF2-40B4-BE49-F238E27FC236}">
                <a16:creationId xmlns:a16="http://schemas.microsoft.com/office/drawing/2014/main" id="{AC36E685-B475-413E-976F-A2F28F10E47B}"/>
              </a:ext>
            </a:extLst>
          </p:cNvPr>
          <p:cNvSpPr/>
          <p:nvPr/>
        </p:nvSpPr>
        <p:spPr>
          <a:xfrm rot="5400000">
            <a:off x="2595579" y="2591436"/>
            <a:ext cx="1334769" cy="3812767"/>
          </a:xfrm>
          <a:prstGeom prst="arc">
            <a:avLst>
              <a:gd name="adj1" fmla="val 16318506"/>
              <a:gd name="adj2" fmla="val 1232474"/>
            </a:avLst>
          </a:prstGeom>
          <a:noFill/>
          <a:ln w="31750" cap="rnd" cmpd="sng" algn="ctr">
            <a:solidFill>
              <a:srgbClr val="353535"/>
            </a:solidFill>
            <a:prstDash val="sysDot"/>
            <a:headEnd type="triangl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12" name="TextBox 411">
            <a:extLst>
              <a:ext uri="{FF2B5EF4-FFF2-40B4-BE49-F238E27FC236}">
                <a16:creationId xmlns:a16="http://schemas.microsoft.com/office/drawing/2014/main" id="{41F53010-1EA5-49DA-BF0F-865D7BE170D4}"/>
              </a:ext>
            </a:extLst>
          </p:cNvPr>
          <p:cNvSpPr txBox="1"/>
          <p:nvPr/>
        </p:nvSpPr>
        <p:spPr>
          <a:xfrm flipH="1">
            <a:off x="875135" y="5760092"/>
            <a:ext cx="2648951" cy="380175"/>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r>
              <a:rPr kumimoji="0" lang="en-US" sz="1372" b="0" i="0" u="none" strike="noStrike" kern="120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Add B2B users with MSA or other Identity Provider accounts</a:t>
            </a:r>
          </a:p>
        </p:txBody>
      </p:sp>
      <p:grpSp>
        <p:nvGrpSpPr>
          <p:cNvPr id="413" name="Group 412">
            <a:extLst>
              <a:ext uri="{FF2B5EF4-FFF2-40B4-BE49-F238E27FC236}">
                <a16:creationId xmlns:a16="http://schemas.microsoft.com/office/drawing/2014/main" id="{9EE71D32-4852-4FF7-9F87-AE3ADC4AFF54}"/>
              </a:ext>
            </a:extLst>
          </p:cNvPr>
          <p:cNvGrpSpPr/>
          <p:nvPr/>
        </p:nvGrpSpPr>
        <p:grpSpPr>
          <a:xfrm>
            <a:off x="2388491" y="4804409"/>
            <a:ext cx="929065" cy="876415"/>
            <a:chOff x="628581" y="4263465"/>
            <a:chExt cx="1359232" cy="1282204"/>
          </a:xfrm>
        </p:grpSpPr>
        <p:grpSp>
          <p:nvGrpSpPr>
            <p:cNvPr id="414" name="Group 413">
              <a:extLst>
                <a:ext uri="{FF2B5EF4-FFF2-40B4-BE49-F238E27FC236}">
                  <a16:creationId xmlns:a16="http://schemas.microsoft.com/office/drawing/2014/main" id="{20D486B4-DD30-41B3-BCA1-B21C3187FF08}"/>
                </a:ext>
              </a:extLst>
            </p:cNvPr>
            <p:cNvGrpSpPr/>
            <p:nvPr/>
          </p:nvGrpSpPr>
          <p:grpSpPr>
            <a:xfrm flipH="1">
              <a:off x="1103792" y="4263465"/>
              <a:ext cx="408814" cy="648079"/>
              <a:chOff x="9780057" y="2720193"/>
              <a:chExt cx="408814" cy="648079"/>
            </a:xfrm>
          </p:grpSpPr>
          <p:grpSp>
            <p:nvGrpSpPr>
              <p:cNvPr id="416" name="Group 415">
                <a:extLst>
                  <a:ext uri="{FF2B5EF4-FFF2-40B4-BE49-F238E27FC236}">
                    <a16:creationId xmlns:a16="http://schemas.microsoft.com/office/drawing/2014/main" id="{D55F5BDB-E7FD-4D5A-B5C0-E0820BFF5F5F}"/>
                  </a:ext>
                </a:extLst>
              </p:cNvPr>
              <p:cNvGrpSpPr/>
              <p:nvPr/>
            </p:nvGrpSpPr>
            <p:grpSpPr>
              <a:xfrm>
                <a:off x="9801584" y="3002512"/>
                <a:ext cx="365760" cy="365760"/>
                <a:chOff x="-6245345" y="6694786"/>
                <a:chExt cx="365760" cy="365760"/>
              </a:xfrm>
            </p:grpSpPr>
            <p:sp>
              <p:nvSpPr>
                <p:cNvPr id="418" name="Oval 417">
                  <a:extLst>
                    <a:ext uri="{FF2B5EF4-FFF2-40B4-BE49-F238E27FC236}">
                      <a16:creationId xmlns:a16="http://schemas.microsoft.com/office/drawing/2014/main" id="{3F81E36B-C6CE-4E2C-B17A-AE25863CBE3E}"/>
                    </a:ext>
                  </a:extLst>
                </p:cNvPr>
                <p:cNvSpPr/>
                <p:nvPr/>
              </p:nvSpPr>
              <p:spPr bwMode="auto">
                <a:xfrm>
                  <a:off x="-6245345" y="6694786"/>
                  <a:ext cx="365760" cy="365760"/>
                </a:xfrm>
                <a:prstGeom prst="ellipse">
                  <a:avLst/>
                </a:prstGeom>
                <a:solidFill>
                  <a:srgbClr val="FFFFFF"/>
                </a:solidFill>
                <a:ln w="19050" cap="flat" cmpd="sng" algn="ctr">
                  <a:solidFill>
                    <a:srgbClr val="FF8C00">
                      <a:lumMod val="75000"/>
                    </a:srgbClr>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19" name="Freeform: Shape 418">
                  <a:extLst>
                    <a:ext uri="{FF2B5EF4-FFF2-40B4-BE49-F238E27FC236}">
                      <a16:creationId xmlns:a16="http://schemas.microsoft.com/office/drawing/2014/main" id="{19506DA5-9ABF-40A8-8079-E02C48CCE66C}"/>
                    </a:ext>
                  </a:extLst>
                </p:cNvPr>
                <p:cNvSpPr>
                  <a:spLocks noChangeAspect="1"/>
                </p:cNvSpPr>
                <p:nvPr/>
              </p:nvSpPr>
              <p:spPr bwMode="auto">
                <a:xfrm flipH="1">
                  <a:off x="-6207780" y="6719692"/>
                  <a:ext cx="282059" cy="243154"/>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FF8C00">
                    <a:lumMod val="75000"/>
                  </a:srgbClr>
                </a:solidFill>
                <a:ln w="1524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grpSp>
          <p:sp>
            <p:nvSpPr>
              <p:cNvPr id="417" name="Freeform: Shape 416">
                <a:extLst>
                  <a:ext uri="{FF2B5EF4-FFF2-40B4-BE49-F238E27FC236}">
                    <a16:creationId xmlns:a16="http://schemas.microsoft.com/office/drawing/2014/main" id="{5E6393D4-BE1D-469B-8F14-866025F7E971}"/>
                  </a:ext>
                </a:extLst>
              </p:cNvPr>
              <p:cNvSpPr>
                <a:spLocks noChangeAspect="1"/>
              </p:cNvSpPr>
              <p:nvPr/>
            </p:nvSpPr>
            <p:spPr bwMode="auto">
              <a:xfrm>
                <a:off x="9780057" y="2720193"/>
                <a:ext cx="408814" cy="457200"/>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FF8C00">
                  <a:lumMod val="75000"/>
                </a:srgb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353535"/>
                  </a:solidFill>
                  <a:effectLst/>
                  <a:uLnTx/>
                  <a:uFillTx/>
                  <a:latin typeface="Segoe UI Semilight"/>
                  <a:ea typeface="+mn-ea"/>
                  <a:cs typeface="+mn-cs"/>
                </a:endParaRPr>
              </a:p>
            </p:txBody>
          </p:sp>
        </p:grpSp>
        <p:sp>
          <p:nvSpPr>
            <p:cNvPr id="415" name="Rectangle 414">
              <a:extLst>
                <a:ext uri="{FF2B5EF4-FFF2-40B4-BE49-F238E27FC236}">
                  <a16:creationId xmlns:a16="http://schemas.microsoft.com/office/drawing/2014/main" id="{70DA5E7F-F32D-4094-BFB1-E54D7A52E1EF}"/>
                </a:ext>
              </a:extLst>
            </p:cNvPr>
            <p:cNvSpPr/>
            <p:nvPr/>
          </p:nvSpPr>
          <p:spPr>
            <a:xfrm flipH="1">
              <a:off x="628581" y="4971811"/>
              <a:ext cx="1359232" cy="573858"/>
            </a:xfrm>
            <a:prstGeom prst="rect">
              <a:avLst/>
            </a:prstGeom>
          </p:spPr>
          <p:txBody>
            <a:bodyPr wrap="non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t>Other Identity</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t>Providers*</a:t>
              </a:r>
              <a:endParaRPr kumimoji="0" lang="en-US" sz="98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420" name="Group 419">
            <a:extLst>
              <a:ext uri="{FF2B5EF4-FFF2-40B4-BE49-F238E27FC236}">
                <a16:creationId xmlns:a16="http://schemas.microsoft.com/office/drawing/2014/main" id="{40D95103-04BB-45C8-AC3F-BEEC0ABFAED9}"/>
              </a:ext>
            </a:extLst>
          </p:cNvPr>
          <p:cNvGrpSpPr/>
          <p:nvPr/>
        </p:nvGrpSpPr>
        <p:grpSpPr>
          <a:xfrm>
            <a:off x="3679578" y="4804409"/>
            <a:ext cx="690199" cy="876415"/>
            <a:chOff x="1886389" y="4263465"/>
            <a:chExt cx="1009768" cy="1282204"/>
          </a:xfrm>
        </p:grpSpPr>
        <p:sp>
          <p:nvSpPr>
            <p:cNvPr id="421" name="Oval 420">
              <a:extLst>
                <a:ext uri="{FF2B5EF4-FFF2-40B4-BE49-F238E27FC236}">
                  <a16:creationId xmlns:a16="http://schemas.microsoft.com/office/drawing/2014/main" id="{9E8C3D6B-DC1E-4D53-BD93-7EA4A5C92040}"/>
                </a:ext>
              </a:extLst>
            </p:cNvPr>
            <p:cNvSpPr/>
            <p:nvPr/>
          </p:nvSpPr>
          <p:spPr bwMode="auto">
            <a:xfrm flipH="1">
              <a:off x="2208392" y="4538077"/>
              <a:ext cx="365760" cy="365760"/>
            </a:xfrm>
            <a:prstGeom prst="ellipse">
              <a:avLst/>
            </a:prstGeom>
            <a:solidFill>
              <a:srgbClr val="FFFFFF"/>
            </a:solidFill>
            <a:ln w="19050"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353535"/>
                </a:solidFill>
                <a:effectLst/>
                <a:uLnTx/>
                <a:uFillTx/>
                <a:latin typeface="Segoe UI Semilight"/>
                <a:ea typeface="+mn-ea"/>
                <a:cs typeface="+mn-cs"/>
              </a:endParaRPr>
            </a:p>
          </p:txBody>
        </p:sp>
        <p:pic>
          <p:nvPicPr>
            <p:cNvPr id="422" name="Picture 421">
              <a:extLst>
                <a:ext uri="{FF2B5EF4-FFF2-40B4-BE49-F238E27FC236}">
                  <a16:creationId xmlns:a16="http://schemas.microsoft.com/office/drawing/2014/main" id="{951BED80-B05B-42A5-A629-ACA83FADB2B7}"/>
                </a:ext>
              </a:extLst>
            </p:cNvPr>
            <p:cNvPicPr>
              <a:picLocks noChangeAspect="1"/>
            </p:cNvPicPr>
            <p:nvPr/>
          </p:nvPicPr>
          <p:blipFill>
            <a:blip r:embed="rId9"/>
            <a:stretch>
              <a:fillRect/>
            </a:stretch>
          </p:blipFill>
          <p:spPr>
            <a:xfrm>
              <a:off x="2295791" y="4629712"/>
              <a:ext cx="196124" cy="196122"/>
            </a:xfrm>
            <a:prstGeom prst="rect">
              <a:avLst/>
            </a:prstGeom>
          </p:spPr>
        </p:pic>
        <p:sp>
          <p:nvSpPr>
            <p:cNvPr id="423" name="Freeform: Shape 422">
              <a:extLst>
                <a:ext uri="{FF2B5EF4-FFF2-40B4-BE49-F238E27FC236}">
                  <a16:creationId xmlns:a16="http://schemas.microsoft.com/office/drawing/2014/main" id="{5922A599-2A6A-4D30-925C-062CF3FC23B4}"/>
                </a:ext>
              </a:extLst>
            </p:cNvPr>
            <p:cNvSpPr>
              <a:spLocks noChangeAspect="1"/>
            </p:cNvSpPr>
            <p:nvPr/>
          </p:nvSpPr>
          <p:spPr bwMode="auto">
            <a:xfrm flipH="1">
              <a:off x="2186865" y="4263465"/>
              <a:ext cx="408814" cy="457200"/>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24" name="Rectangle 423">
              <a:extLst>
                <a:ext uri="{FF2B5EF4-FFF2-40B4-BE49-F238E27FC236}">
                  <a16:creationId xmlns:a16="http://schemas.microsoft.com/office/drawing/2014/main" id="{F97817FB-6093-4382-90DB-DD69F9031EDD}"/>
                </a:ext>
              </a:extLst>
            </p:cNvPr>
            <p:cNvSpPr/>
            <p:nvPr/>
          </p:nvSpPr>
          <p:spPr>
            <a:xfrm flipH="1">
              <a:off x="1886389" y="4971811"/>
              <a:ext cx="1009768" cy="573858"/>
            </a:xfrm>
            <a:prstGeom prst="rect">
              <a:avLst/>
            </a:prstGeom>
          </p:spPr>
          <p:txBody>
            <a:bodyPr wrap="non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t>Microsoft</a:t>
              </a:r>
              <a:br>
                <a:rPr kumimoji="0" lang="en-US" sz="980" b="0" i="0" u="none" strike="noStrike" kern="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br>
              <a:r>
                <a:rPr kumimoji="0" lang="en-US" sz="980" b="0" i="0" u="none" strike="noStrike" kern="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t>Account</a:t>
              </a:r>
              <a:endParaRPr kumimoji="0" lang="en-US" sz="98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425" name="Group 424">
            <a:extLst>
              <a:ext uri="{FF2B5EF4-FFF2-40B4-BE49-F238E27FC236}">
                <a16:creationId xmlns:a16="http://schemas.microsoft.com/office/drawing/2014/main" id="{7A50D5D9-7BD6-4A8E-A559-FFE3C5233571}"/>
              </a:ext>
            </a:extLst>
          </p:cNvPr>
          <p:cNvGrpSpPr/>
          <p:nvPr/>
        </p:nvGrpSpPr>
        <p:grpSpPr>
          <a:xfrm>
            <a:off x="6793790" y="4610257"/>
            <a:ext cx="3067569" cy="1757426"/>
            <a:chOff x="7985545" y="4468077"/>
            <a:chExt cx="3129080" cy="1792666"/>
          </a:xfrm>
        </p:grpSpPr>
        <p:sp>
          <p:nvSpPr>
            <p:cNvPr id="426" name="Freeform 280">
              <a:extLst>
                <a:ext uri="{FF2B5EF4-FFF2-40B4-BE49-F238E27FC236}">
                  <a16:creationId xmlns:a16="http://schemas.microsoft.com/office/drawing/2014/main" id="{561BC37B-64D3-481A-80FD-5A1C0B8FE42F}"/>
                </a:ext>
              </a:extLst>
            </p:cNvPr>
            <p:cNvSpPr/>
            <p:nvPr/>
          </p:nvSpPr>
          <p:spPr bwMode="auto">
            <a:xfrm>
              <a:off x="7985545" y="4468077"/>
              <a:ext cx="3129080" cy="179266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27" name="Rectangle 426">
              <a:extLst>
                <a:ext uri="{FF2B5EF4-FFF2-40B4-BE49-F238E27FC236}">
                  <a16:creationId xmlns:a16="http://schemas.microsoft.com/office/drawing/2014/main" id="{82D3CCB8-1F06-4502-847F-8333CB1BF00D}"/>
                </a:ext>
              </a:extLst>
            </p:cNvPr>
            <p:cNvSpPr/>
            <p:nvPr/>
          </p:nvSpPr>
          <p:spPr bwMode="auto">
            <a:xfrm>
              <a:off x="9149524" y="5599398"/>
              <a:ext cx="1341506" cy="498598"/>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b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br>
              <a: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On-</a:t>
              </a:r>
              <a:b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br>
              <a: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premises</a:t>
              </a:r>
            </a:p>
          </p:txBody>
        </p:sp>
        <p:grpSp>
          <p:nvGrpSpPr>
            <p:cNvPr id="428" name="Group 207">
              <a:extLst>
                <a:ext uri="{FF2B5EF4-FFF2-40B4-BE49-F238E27FC236}">
                  <a16:creationId xmlns:a16="http://schemas.microsoft.com/office/drawing/2014/main" id="{6A671090-2B94-4710-B373-3579B5B20A16}"/>
                </a:ext>
              </a:extLst>
            </p:cNvPr>
            <p:cNvGrpSpPr>
              <a:grpSpLocks noChangeAspect="1"/>
            </p:cNvGrpSpPr>
            <p:nvPr/>
          </p:nvGrpSpPr>
          <p:grpSpPr bwMode="auto">
            <a:xfrm>
              <a:off x="8732720" y="5421290"/>
              <a:ext cx="672524" cy="654403"/>
              <a:chOff x="3750" y="2040"/>
              <a:chExt cx="334" cy="325"/>
            </a:xfrm>
          </p:grpSpPr>
          <p:sp>
            <p:nvSpPr>
              <p:cNvPr id="430" name="Rectangle 208">
                <a:extLst>
                  <a:ext uri="{FF2B5EF4-FFF2-40B4-BE49-F238E27FC236}">
                    <a16:creationId xmlns:a16="http://schemas.microsoft.com/office/drawing/2014/main" id="{1EE07C0E-3F78-4545-9F26-F17F9F06EEF0}"/>
                  </a:ext>
                </a:extLst>
              </p:cNvPr>
              <p:cNvSpPr>
                <a:spLocks noChangeArrowheads="1"/>
              </p:cNvSpPr>
              <p:nvPr/>
            </p:nvSpPr>
            <p:spPr bwMode="auto">
              <a:xfrm>
                <a:off x="3860" y="2071"/>
                <a:ext cx="150" cy="294"/>
              </a:xfrm>
              <a:prstGeom prst="rect">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1" name="Freeform 209">
                <a:extLst>
                  <a:ext uri="{FF2B5EF4-FFF2-40B4-BE49-F238E27FC236}">
                    <a16:creationId xmlns:a16="http://schemas.microsoft.com/office/drawing/2014/main" id="{FCC9DBB0-74FC-4B50-8E84-1B5DA0BD4D51}"/>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2" name="Freeform 210">
                <a:extLst>
                  <a:ext uri="{FF2B5EF4-FFF2-40B4-BE49-F238E27FC236}">
                    <a16:creationId xmlns:a16="http://schemas.microsoft.com/office/drawing/2014/main" id="{8B770955-7CE4-468E-9B3C-32E6D81C0ABD}"/>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3" name="Freeform 211">
                <a:extLst>
                  <a:ext uri="{FF2B5EF4-FFF2-40B4-BE49-F238E27FC236}">
                    <a16:creationId xmlns:a16="http://schemas.microsoft.com/office/drawing/2014/main" id="{40DB64A6-9299-44C5-9EA4-17D8C2C08577}"/>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4" name="Rectangle 212">
                <a:extLst>
                  <a:ext uri="{FF2B5EF4-FFF2-40B4-BE49-F238E27FC236}">
                    <a16:creationId xmlns:a16="http://schemas.microsoft.com/office/drawing/2014/main" id="{495434AD-B9F9-4501-868A-5D1EDDBFF9DA}"/>
                  </a:ext>
                </a:extLst>
              </p:cNvPr>
              <p:cNvSpPr>
                <a:spLocks noChangeArrowheads="1"/>
              </p:cNvSpPr>
              <p:nvPr/>
            </p:nvSpPr>
            <p:spPr bwMode="auto">
              <a:xfrm>
                <a:off x="3888" y="2040"/>
                <a:ext cx="42" cy="31"/>
              </a:xfrm>
              <a:prstGeom prst="rect">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5" name="Rectangle 213">
                <a:extLst>
                  <a:ext uri="{FF2B5EF4-FFF2-40B4-BE49-F238E27FC236}">
                    <a16:creationId xmlns:a16="http://schemas.microsoft.com/office/drawing/2014/main" id="{0D7795E6-F89C-4ED6-AED5-7E8493854DA8}"/>
                  </a:ext>
                </a:extLst>
              </p:cNvPr>
              <p:cNvSpPr>
                <a:spLocks noChangeArrowheads="1"/>
              </p:cNvSpPr>
              <p:nvPr/>
            </p:nvSpPr>
            <p:spPr bwMode="auto">
              <a:xfrm>
                <a:off x="3970" y="209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6" name="Rectangle 214">
                <a:extLst>
                  <a:ext uri="{FF2B5EF4-FFF2-40B4-BE49-F238E27FC236}">
                    <a16:creationId xmlns:a16="http://schemas.microsoft.com/office/drawing/2014/main" id="{6CC39377-D367-4FEB-9E0F-81E478FEBD4A}"/>
                  </a:ext>
                </a:extLst>
              </p:cNvPr>
              <p:cNvSpPr>
                <a:spLocks noChangeArrowheads="1"/>
              </p:cNvSpPr>
              <p:nvPr/>
            </p:nvSpPr>
            <p:spPr bwMode="auto">
              <a:xfrm>
                <a:off x="3970" y="213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7" name="Rectangle 215">
                <a:extLst>
                  <a:ext uri="{FF2B5EF4-FFF2-40B4-BE49-F238E27FC236}">
                    <a16:creationId xmlns:a16="http://schemas.microsoft.com/office/drawing/2014/main" id="{85555027-7BB9-46FC-B71F-34637BA54CB3}"/>
                  </a:ext>
                </a:extLst>
              </p:cNvPr>
              <p:cNvSpPr>
                <a:spLocks noChangeArrowheads="1"/>
              </p:cNvSpPr>
              <p:nvPr/>
            </p:nvSpPr>
            <p:spPr bwMode="auto">
              <a:xfrm>
                <a:off x="3970" y="2176"/>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8" name="Rectangle 216">
                <a:extLst>
                  <a:ext uri="{FF2B5EF4-FFF2-40B4-BE49-F238E27FC236}">
                    <a16:creationId xmlns:a16="http://schemas.microsoft.com/office/drawing/2014/main" id="{22318588-2046-4667-8E4A-E1642937B71E}"/>
                  </a:ext>
                </a:extLst>
              </p:cNvPr>
              <p:cNvSpPr>
                <a:spLocks noChangeArrowheads="1"/>
              </p:cNvSpPr>
              <p:nvPr/>
            </p:nvSpPr>
            <p:spPr bwMode="auto">
              <a:xfrm>
                <a:off x="3970" y="2216"/>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9" name="Rectangle 217">
                <a:extLst>
                  <a:ext uri="{FF2B5EF4-FFF2-40B4-BE49-F238E27FC236}">
                    <a16:creationId xmlns:a16="http://schemas.microsoft.com/office/drawing/2014/main" id="{52742EC4-FC50-414E-BBFB-E6182242EC8A}"/>
                  </a:ext>
                </a:extLst>
              </p:cNvPr>
              <p:cNvSpPr>
                <a:spLocks noChangeArrowheads="1"/>
              </p:cNvSpPr>
              <p:nvPr/>
            </p:nvSpPr>
            <p:spPr bwMode="auto">
              <a:xfrm>
                <a:off x="3970" y="2254"/>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0" name="Rectangle 218">
                <a:extLst>
                  <a:ext uri="{FF2B5EF4-FFF2-40B4-BE49-F238E27FC236}">
                    <a16:creationId xmlns:a16="http://schemas.microsoft.com/office/drawing/2014/main" id="{41E8C1B8-EAF6-4336-AF1D-D70434792DA6}"/>
                  </a:ext>
                </a:extLst>
              </p:cNvPr>
              <p:cNvSpPr>
                <a:spLocks noChangeArrowheads="1"/>
              </p:cNvSpPr>
              <p:nvPr/>
            </p:nvSpPr>
            <p:spPr bwMode="auto">
              <a:xfrm>
                <a:off x="3885" y="209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1" name="Rectangle 219">
                <a:extLst>
                  <a:ext uri="{FF2B5EF4-FFF2-40B4-BE49-F238E27FC236}">
                    <a16:creationId xmlns:a16="http://schemas.microsoft.com/office/drawing/2014/main" id="{CFBBC455-CA7F-4087-8C42-EFAB8BD1B40F}"/>
                  </a:ext>
                </a:extLst>
              </p:cNvPr>
              <p:cNvSpPr>
                <a:spLocks noChangeArrowheads="1"/>
              </p:cNvSpPr>
              <p:nvPr/>
            </p:nvSpPr>
            <p:spPr bwMode="auto">
              <a:xfrm>
                <a:off x="3885" y="213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2" name="Rectangle 220">
                <a:extLst>
                  <a:ext uri="{FF2B5EF4-FFF2-40B4-BE49-F238E27FC236}">
                    <a16:creationId xmlns:a16="http://schemas.microsoft.com/office/drawing/2014/main" id="{7A68F09E-6F73-4FE0-A0A3-0DCA2870A50D}"/>
                  </a:ext>
                </a:extLst>
              </p:cNvPr>
              <p:cNvSpPr>
                <a:spLocks noChangeArrowheads="1"/>
              </p:cNvSpPr>
              <p:nvPr/>
            </p:nvSpPr>
            <p:spPr bwMode="auto">
              <a:xfrm>
                <a:off x="3885" y="2176"/>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3" name="Rectangle 221">
                <a:extLst>
                  <a:ext uri="{FF2B5EF4-FFF2-40B4-BE49-F238E27FC236}">
                    <a16:creationId xmlns:a16="http://schemas.microsoft.com/office/drawing/2014/main" id="{C149B0F5-A75B-4DE7-AAC3-EE57962BA204}"/>
                  </a:ext>
                </a:extLst>
              </p:cNvPr>
              <p:cNvSpPr>
                <a:spLocks noChangeArrowheads="1"/>
              </p:cNvSpPr>
              <p:nvPr/>
            </p:nvSpPr>
            <p:spPr bwMode="auto">
              <a:xfrm>
                <a:off x="3885" y="2216"/>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4" name="Rectangle 222">
                <a:extLst>
                  <a:ext uri="{FF2B5EF4-FFF2-40B4-BE49-F238E27FC236}">
                    <a16:creationId xmlns:a16="http://schemas.microsoft.com/office/drawing/2014/main" id="{EB3F53D2-621B-46CF-92E5-C11D9AE3AECC}"/>
                  </a:ext>
                </a:extLst>
              </p:cNvPr>
              <p:cNvSpPr>
                <a:spLocks noChangeArrowheads="1"/>
              </p:cNvSpPr>
              <p:nvPr/>
            </p:nvSpPr>
            <p:spPr bwMode="auto">
              <a:xfrm>
                <a:off x="3885" y="2254"/>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5" name="Rectangle 223">
                <a:extLst>
                  <a:ext uri="{FF2B5EF4-FFF2-40B4-BE49-F238E27FC236}">
                    <a16:creationId xmlns:a16="http://schemas.microsoft.com/office/drawing/2014/main" id="{74E33E03-527D-4BB7-BC9D-C7D63628FD92}"/>
                  </a:ext>
                </a:extLst>
              </p:cNvPr>
              <p:cNvSpPr>
                <a:spLocks noChangeArrowheads="1"/>
              </p:cNvSpPr>
              <p:nvPr/>
            </p:nvSpPr>
            <p:spPr bwMode="auto">
              <a:xfrm>
                <a:off x="3927" y="209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6" name="Rectangle 224">
                <a:extLst>
                  <a:ext uri="{FF2B5EF4-FFF2-40B4-BE49-F238E27FC236}">
                    <a16:creationId xmlns:a16="http://schemas.microsoft.com/office/drawing/2014/main" id="{A0CB767E-103D-4161-956B-9F770776E8CD}"/>
                  </a:ext>
                </a:extLst>
              </p:cNvPr>
              <p:cNvSpPr>
                <a:spLocks noChangeArrowheads="1"/>
              </p:cNvSpPr>
              <p:nvPr/>
            </p:nvSpPr>
            <p:spPr bwMode="auto">
              <a:xfrm>
                <a:off x="3927" y="213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7" name="Rectangle 225">
                <a:extLst>
                  <a:ext uri="{FF2B5EF4-FFF2-40B4-BE49-F238E27FC236}">
                    <a16:creationId xmlns:a16="http://schemas.microsoft.com/office/drawing/2014/main" id="{EA2FAC2C-FEA9-462E-AE9C-9A84920E85D5}"/>
                  </a:ext>
                </a:extLst>
              </p:cNvPr>
              <p:cNvSpPr>
                <a:spLocks noChangeArrowheads="1"/>
              </p:cNvSpPr>
              <p:nvPr/>
            </p:nvSpPr>
            <p:spPr bwMode="auto">
              <a:xfrm>
                <a:off x="3927" y="2176"/>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8" name="Rectangle 226">
                <a:extLst>
                  <a:ext uri="{FF2B5EF4-FFF2-40B4-BE49-F238E27FC236}">
                    <a16:creationId xmlns:a16="http://schemas.microsoft.com/office/drawing/2014/main" id="{A897C509-B429-4089-9B52-652F912A65EA}"/>
                  </a:ext>
                </a:extLst>
              </p:cNvPr>
              <p:cNvSpPr>
                <a:spLocks noChangeArrowheads="1"/>
              </p:cNvSpPr>
              <p:nvPr/>
            </p:nvSpPr>
            <p:spPr bwMode="auto">
              <a:xfrm>
                <a:off x="3927" y="2216"/>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9" name="Rectangle 227">
                <a:extLst>
                  <a:ext uri="{FF2B5EF4-FFF2-40B4-BE49-F238E27FC236}">
                    <a16:creationId xmlns:a16="http://schemas.microsoft.com/office/drawing/2014/main" id="{A058A6A4-49F5-49E0-B94E-33EC6BAC9B31}"/>
                  </a:ext>
                </a:extLst>
              </p:cNvPr>
              <p:cNvSpPr>
                <a:spLocks noChangeArrowheads="1"/>
              </p:cNvSpPr>
              <p:nvPr/>
            </p:nvSpPr>
            <p:spPr bwMode="auto">
              <a:xfrm>
                <a:off x="3927" y="2254"/>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0" name="Rectangle 228">
                <a:extLst>
                  <a:ext uri="{FF2B5EF4-FFF2-40B4-BE49-F238E27FC236}">
                    <a16:creationId xmlns:a16="http://schemas.microsoft.com/office/drawing/2014/main" id="{855180F7-EEF6-4858-BE8E-9F42628E25C8}"/>
                  </a:ext>
                </a:extLst>
              </p:cNvPr>
              <p:cNvSpPr>
                <a:spLocks noChangeArrowheads="1"/>
              </p:cNvSpPr>
              <p:nvPr/>
            </p:nvSpPr>
            <p:spPr bwMode="auto">
              <a:xfrm>
                <a:off x="3776" y="2176"/>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1" name="Rectangle 229">
                <a:extLst>
                  <a:ext uri="{FF2B5EF4-FFF2-40B4-BE49-F238E27FC236}">
                    <a16:creationId xmlns:a16="http://schemas.microsoft.com/office/drawing/2014/main" id="{C8E8AA46-8FB0-4F2E-885B-20451E6940E8}"/>
                  </a:ext>
                </a:extLst>
              </p:cNvPr>
              <p:cNvSpPr>
                <a:spLocks noChangeArrowheads="1"/>
              </p:cNvSpPr>
              <p:nvPr/>
            </p:nvSpPr>
            <p:spPr bwMode="auto">
              <a:xfrm>
                <a:off x="3776" y="2216"/>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2" name="Rectangle 230">
                <a:extLst>
                  <a:ext uri="{FF2B5EF4-FFF2-40B4-BE49-F238E27FC236}">
                    <a16:creationId xmlns:a16="http://schemas.microsoft.com/office/drawing/2014/main" id="{F83CEE6D-4E51-486B-8E6A-552FA4618073}"/>
                  </a:ext>
                </a:extLst>
              </p:cNvPr>
              <p:cNvSpPr>
                <a:spLocks noChangeArrowheads="1"/>
              </p:cNvSpPr>
              <p:nvPr/>
            </p:nvSpPr>
            <p:spPr bwMode="auto">
              <a:xfrm>
                <a:off x="3776" y="2254"/>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3" name="Rectangle 231">
                <a:extLst>
                  <a:ext uri="{FF2B5EF4-FFF2-40B4-BE49-F238E27FC236}">
                    <a16:creationId xmlns:a16="http://schemas.microsoft.com/office/drawing/2014/main" id="{4B66C034-77C0-43C6-9F01-A5F809839CED}"/>
                  </a:ext>
                </a:extLst>
              </p:cNvPr>
              <p:cNvSpPr>
                <a:spLocks noChangeArrowheads="1"/>
              </p:cNvSpPr>
              <p:nvPr/>
            </p:nvSpPr>
            <p:spPr bwMode="auto">
              <a:xfrm>
                <a:off x="3818" y="2176"/>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4" name="Rectangle 232">
                <a:extLst>
                  <a:ext uri="{FF2B5EF4-FFF2-40B4-BE49-F238E27FC236}">
                    <a16:creationId xmlns:a16="http://schemas.microsoft.com/office/drawing/2014/main" id="{1EBC37EC-24E4-4158-8716-F0929054168F}"/>
                  </a:ext>
                </a:extLst>
              </p:cNvPr>
              <p:cNvSpPr>
                <a:spLocks noChangeArrowheads="1"/>
              </p:cNvSpPr>
              <p:nvPr/>
            </p:nvSpPr>
            <p:spPr bwMode="auto">
              <a:xfrm>
                <a:off x="3818" y="2216"/>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5" name="Rectangle 233">
                <a:extLst>
                  <a:ext uri="{FF2B5EF4-FFF2-40B4-BE49-F238E27FC236}">
                    <a16:creationId xmlns:a16="http://schemas.microsoft.com/office/drawing/2014/main" id="{4EE6DC88-7500-47AB-AE25-F0EDE83A9E4B}"/>
                  </a:ext>
                </a:extLst>
              </p:cNvPr>
              <p:cNvSpPr>
                <a:spLocks noChangeArrowheads="1"/>
              </p:cNvSpPr>
              <p:nvPr/>
            </p:nvSpPr>
            <p:spPr bwMode="auto">
              <a:xfrm>
                <a:off x="3818" y="2254"/>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6" name="Rectangle 234">
                <a:extLst>
                  <a:ext uri="{FF2B5EF4-FFF2-40B4-BE49-F238E27FC236}">
                    <a16:creationId xmlns:a16="http://schemas.microsoft.com/office/drawing/2014/main" id="{90F00B2B-E64D-4B0C-A65A-4F041EF06F8C}"/>
                  </a:ext>
                </a:extLst>
              </p:cNvPr>
              <p:cNvSpPr>
                <a:spLocks noChangeArrowheads="1"/>
              </p:cNvSpPr>
              <p:nvPr/>
            </p:nvSpPr>
            <p:spPr bwMode="auto">
              <a:xfrm>
                <a:off x="3776" y="2295"/>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7" name="Rectangle 235">
                <a:extLst>
                  <a:ext uri="{FF2B5EF4-FFF2-40B4-BE49-F238E27FC236}">
                    <a16:creationId xmlns:a16="http://schemas.microsoft.com/office/drawing/2014/main" id="{5CB202CC-8DD4-4C78-BB5A-CA1276EB6E0A}"/>
                  </a:ext>
                </a:extLst>
              </p:cNvPr>
              <p:cNvSpPr>
                <a:spLocks noChangeArrowheads="1"/>
              </p:cNvSpPr>
              <p:nvPr/>
            </p:nvSpPr>
            <p:spPr bwMode="auto">
              <a:xfrm>
                <a:off x="3818" y="2295"/>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pic>
          <p:nvPicPr>
            <p:cNvPr id="429" name="Picture 428">
              <a:extLst>
                <a:ext uri="{FF2B5EF4-FFF2-40B4-BE49-F238E27FC236}">
                  <a16:creationId xmlns:a16="http://schemas.microsoft.com/office/drawing/2014/main" id="{A051F3EB-683A-4692-8A92-0879217E75A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064792" y="4594782"/>
              <a:ext cx="986067" cy="652749"/>
            </a:xfrm>
            <a:prstGeom prst="rect">
              <a:avLst/>
            </a:prstGeom>
          </p:spPr>
        </p:pic>
      </p:grpSp>
      <p:grpSp>
        <p:nvGrpSpPr>
          <p:cNvPr id="458" name="Group 457">
            <a:extLst>
              <a:ext uri="{FF2B5EF4-FFF2-40B4-BE49-F238E27FC236}">
                <a16:creationId xmlns:a16="http://schemas.microsoft.com/office/drawing/2014/main" id="{F50D11D8-09E4-4879-8E14-0E8EDDF4E69B}"/>
              </a:ext>
            </a:extLst>
          </p:cNvPr>
          <p:cNvGrpSpPr/>
          <p:nvPr/>
        </p:nvGrpSpPr>
        <p:grpSpPr>
          <a:xfrm>
            <a:off x="6895061" y="4870110"/>
            <a:ext cx="367409" cy="378910"/>
            <a:chOff x="7596294" y="4477333"/>
            <a:chExt cx="374776" cy="386508"/>
          </a:xfrm>
        </p:grpSpPr>
        <p:sp>
          <p:nvSpPr>
            <p:cNvPr id="459" name="Oval 458">
              <a:extLst>
                <a:ext uri="{FF2B5EF4-FFF2-40B4-BE49-F238E27FC236}">
                  <a16:creationId xmlns:a16="http://schemas.microsoft.com/office/drawing/2014/main" id="{9353C5FE-7AB8-4A11-9892-526B8CAFAAC7}"/>
                </a:ext>
              </a:extLst>
            </p:cNvPr>
            <p:cNvSpPr/>
            <p:nvPr/>
          </p:nvSpPr>
          <p:spPr bwMode="auto">
            <a:xfrm>
              <a:off x="7596294" y="4484497"/>
              <a:ext cx="374776" cy="37477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0" name="Freeform 149">
              <a:extLst>
                <a:ext uri="{FF2B5EF4-FFF2-40B4-BE49-F238E27FC236}">
                  <a16:creationId xmlns:a16="http://schemas.microsoft.com/office/drawing/2014/main" id="{57D2DA40-AA15-4F45-B091-F2458A8F628F}"/>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461" name="Group 460">
            <a:extLst>
              <a:ext uri="{FF2B5EF4-FFF2-40B4-BE49-F238E27FC236}">
                <a16:creationId xmlns:a16="http://schemas.microsoft.com/office/drawing/2014/main" id="{58014797-3D65-4E4B-95B3-372FD6FA2B0F}"/>
              </a:ext>
            </a:extLst>
          </p:cNvPr>
          <p:cNvGrpSpPr/>
          <p:nvPr/>
        </p:nvGrpSpPr>
        <p:grpSpPr>
          <a:xfrm>
            <a:off x="4540526" y="2953953"/>
            <a:ext cx="2556763" cy="1602958"/>
            <a:chOff x="4887885" y="2663200"/>
            <a:chExt cx="2660704" cy="1668125"/>
          </a:xfrm>
        </p:grpSpPr>
        <p:grpSp>
          <p:nvGrpSpPr>
            <p:cNvPr id="462" name="Group 461">
              <a:extLst>
                <a:ext uri="{FF2B5EF4-FFF2-40B4-BE49-F238E27FC236}">
                  <a16:creationId xmlns:a16="http://schemas.microsoft.com/office/drawing/2014/main" id="{24955915-2F85-4776-8764-2963E2CBAF1F}"/>
                </a:ext>
              </a:extLst>
            </p:cNvPr>
            <p:cNvGrpSpPr/>
            <p:nvPr/>
          </p:nvGrpSpPr>
          <p:grpSpPr>
            <a:xfrm>
              <a:off x="4887885" y="2663200"/>
              <a:ext cx="2660704" cy="1668125"/>
              <a:chOff x="4931021" y="2660526"/>
              <a:chExt cx="2660704" cy="1668125"/>
            </a:xfrm>
          </p:grpSpPr>
          <p:sp>
            <p:nvSpPr>
              <p:cNvPr id="464" name="Freeform 5">
                <a:extLst>
                  <a:ext uri="{FF2B5EF4-FFF2-40B4-BE49-F238E27FC236}">
                    <a16:creationId xmlns:a16="http://schemas.microsoft.com/office/drawing/2014/main" id="{E5359902-7495-42F1-816E-2757C6B48800}"/>
                  </a:ext>
                </a:extLst>
              </p:cNvPr>
              <p:cNvSpPr/>
              <p:nvPr/>
            </p:nvSpPr>
            <p:spPr>
              <a:xfrm>
                <a:off x="4983684" y="2660526"/>
                <a:ext cx="2608041" cy="1668125"/>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E6E6E6">
                  <a:lumMod val="90000"/>
                </a:srgbClr>
              </a:solidFill>
              <a:ln w="15873" cap="flat">
                <a:noFill/>
                <a:prstDash val="solid"/>
              </a:ln>
            </p:spPr>
            <p:txBody>
              <a:bodyPr vert="horz" wrap="square" lIns="87868" tIns="43933" rIns="87868" bIns="43933"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mn-ea"/>
                  <a:cs typeface="+mn-cs"/>
                </a:endParaRPr>
              </a:p>
            </p:txBody>
          </p:sp>
          <p:sp>
            <p:nvSpPr>
              <p:cNvPr id="465" name="Freeform 5">
                <a:extLst>
                  <a:ext uri="{FF2B5EF4-FFF2-40B4-BE49-F238E27FC236}">
                    <a16:creationId xmlns:a16="http://schemas.microsoft.com/office/drawing/2014/main" id="{B3DAD039-721A-44FB-9888-201C8C4AF724}"/>
                  </a:ext>
                </a:extLst>
              </p:cNvPr>
              <p:cNvSpPr/>
              <p:nvPr/>
            </p:nvSpPr>
            <p:spPr>
              <a:xfrm>
                <a:off x="4931021" y="2716939"/>
                <a:ext cx="2574432" cy="1560646"/>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FFFFFF"/>
              </a:solidFill>
              <a:ln w="15873" cap="flat">
                <a:noFill/>
                <a:prstDash val="solid"/>
              </a:ln>
            </p:spPr>
            <p:txBody>
              <a:bodyPr vert="horz" wrap="square" lIns="87868" tIns="43933" rIns="87868" bIns="43933"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mn-ea"/>
                  <a:cs typeface="+mn-cs"/>
                </a:endParaRPr>
              </a:p>
            </p:txBody>
          </p:sp>
        </p:grpSp>
        <p:sp>
          <p:nvSpPr>
            <p:cNvPr id="463" name="Freeform: Shape 1817">
              <a:extLst>
                <a:ext uri="{FF2B5EF4-FFF2-40B4-BE49-F238E27FC236}">
                  <a16:creationId xmlns:a16="http://schemas.microsoft.com/office/drawing/2014/main" id="{1E5FB400-75E2-44B1-821C-F4DF3E8E1763}"/>
                </a:ext>
              </a:extLst>
            </p:cNvPr>
            <p:cNvSpPr/>
            <p:nvPr/>
          </p:nvSpPr>
          <p:spPr>
            <a:xfrm flipV="1">
              <a:off x="5799146" y="2773153"/>
              <a:ext cx="838183" cy="864526"/>
            </a:xfrm>
            <a:custGeom>
              <a:avLst/>
              <a:gdLst>
                <a:gd name="f0" fmla="val 10800000"/>
                <a:gd name="f1" fmla="val 5400000"/>
                <a:gd name="f2" fmla="val 180"/>
                <a:gd name="f3" fmla="val w"/>
                <a:gd name="f4" fmla="val h"/>
                <a:gd name="f5" fmla="val 0"/>
                <a:gd name="f6" fmla="val 7802051"/>
                <a:gd name="f7" fmla="val 7751588"/>
                <a:gd name="f8" fmla="val 3669750"/>
                <a:gd name="f9" fmla="val 4921020"/>
                <a:gd name="f10" fmla="val 3676808"/>
                <a:gd name="f11" fmla="val 4917189"/>
                <a:gd name="f12" fmla="val 3726054"/>
                <a:gd name="f13" fmla="val 4901903"/>
                <a:gd name="f14" fmla="val 2529358"/>
                <a:gd name="f15" fmla="val 2407723"/>
                <a:gd name="f16" fmla="val 3310455"/>
                <a:gd name="f17" fmla="val 2418532"/>
                <a:gd name="f18" fmla="val 3417678"/>
                <a:gd name="f19" fmla="val 3504005"/>
                <a:gd name="f20" fmla="val 2401037"/>
                <a:gd name="f21" fmla="val 3586244"/>
                <a:gd name="f22" fmla="val 2369399"/>
                <a:gd name="f23" fmla="val 3661045"/>
                <a:gd name="f24" fmla="val 2362622"/>
                <a:gd name="f25" fmla="val 3673532"/>
                <a:gd name="f26" fmla="val 4279965"/>
                <a:gd name="f27" fmla="val 4958071"/>
                <a:gd name="f28" fmla="val 5406368"/>
                <a:gd name="f29" fmla="val 3581135"/>
                <a:gd name="f30" fmla="val 5396221"/>
                <a:gd name="f31" fmla="val 3548447"/>
                <a:gd name="f32" fmla="val 5387893"/>
                <a:gd name="f33" fmla="val 3507746"/>
                <a:gd name="f34" fmla="val 5383519"/>
                <a:gd name="f35" fmla="val 3465605"/>
                <a:gd name="f36" fmla="val 3422441"/>
                <a:gd name="f37" fmla="val 5392133"/>
                <a:gd name="f38" fmla="val 3336986"/>
                <a:gd name="f39" fmla="val 4117986"/>
                <a:gd name="f40" fmla="val 2509174"/>
                <a:gd name="f41" fmla="val 4066733"/>
                <a:gd name="f42" fmla="val 2525083"/>
                <a:gd name="f43" fmla="val 4044164"/>
                <a:gd name="f44" fmla="val 2527359"/>
                <a:gd name="f45" fmla="val 4874334"/>
                <a:gd name="f46" fmla="val 4077374"/>
                <a:gd name="f47" fmla="val 4877682"/>
                <a:gd name="f48" fmla="val 4121512"/>
                <a:gd name="f49" fmla="val 4886714"/>
                <a:gd name="f50" fmla="val 4164089"/>
                <a:gd name="f51" fmla="val 4900035"/>
                <a:gd name="f52" fmla="val 4204647"/>
                <a:gd name="f53" fmla="val 4917190"/>
                <a:gd name="f54" fmla="val 3940727"/>
                <a:gd name="f55" fmla="val 6219967"/>
                <a:gd name="f56" fmla="val 3566261"/>
                <a:gd name="f57" fmla="val 3262698"/>
                <a:gd name="f58" fmla="val 5916403"/>
                <a:gd name="f59" fmla="val 5541937"/>
                <a:gd name="f60" fmla="val 5401512"/>
                <a:gd name="f61" fmla="val 3305387"/>
                <a:gd name="f62" fmla="val 5271058"/>
                <a:gd name="f63" fmla="val 3378494"/>
                <a:gd name="f64" fmla="val 5162844"/>
                <a:gd name="f65" fmla="val 3384198"/>
                <a:gd name="f66" fmla="val 5155931"/>
                <a:gd name="f67" fmla="val 2119419"/>
                <a:gd name="f68" fmla="val 3948859"/>
                <a:gd name="f69" fmla="val 2036672"/>
                <a:gd name="f70" fmla="val 3993772"/>
                <a:gd name="f71" fmla="val 1961870"/>
                <a:gd name="f72" fmla="val 4025410"/>
                <a:gd name="f73" fmla="val 1879630"/>
                <a:gd name="f74" fmla="val 4042906"/>
                <a:gd name="f75" fmla="val 1793305"/>
                <a:gd name="f76" fmla="val 1448001"/>
                <a:gd name="f77" fmla="val 1168077"/>
                <a:gd name="f78" fmla="val 3762982"/>
                <a:gd name="f79" fmla="val 1168076"/>
                <a:gd name="f80" fmla="val 3072374"/>
                <a:gd name="f81" fmla="val 1448000"/>
                <a:gd name="f82" fmla="val 2792450"/>
                <a:gd name="f83" fmla="val 1793304"/>
                <a:gd name="f84" fmla="val 2792451"/>
                <a:gd name="f85" fmla="val 1965957"/>
                <a:gd name="f86" fmla="val 2122264"/>
                <a:gd name="f87" fmla="val 2862431"/>
                <a:gd name="f88" fmla="val 2235408"/>
                <a:gd name="f89" fmla="val 2975575"/>
                <a:gd name="f90" fmla="val 2241113"/>
                <a:gd name="f91" fmla="val 2982489"/>
                <a:gd name="f92" fmla="val 3433657"/>
                <a:gd name="f93" fmla="val 2275919"/>
                <a:gd name="f94" fmla="val 3422279"/>
                <a:gd name="f95" fmla="val 2262129"/>
                <a:gd name="f96" fmla="val 3354864"/>
                <a:gd name="f97" fmla="val 2162342"/>
                <a:gd name="f98" fmla="val 3315500"/>
                <a:gd name="f99" fmla="val 2042047"/>
                <a:gd name="f100" fmla="val 1912558"/>
                <a:gd name="f101" fmla="val 1567254"/>
                <a:gd name="f102" fmla="val 3595424"/>
                <a:gd name="f103" fmla="val 1287330"/>
                <a:gd name="f104" fmla="val 3940728"/>
                <a:gd name="f105" fmla="val 4286032"/>
                <a:gd name="f106" fmla="val 4565956"/>
                <a:gd name="f107" fmla="val 4526592"/>
                <a:gd name="f108" fmla="val 4459177"/>
                <a:gd name="f109" fmla="val 4442548"/>
                <a:gd name="f110" fmla="val 2282283"/>
                <a:gd name="f111" fmla="val 5549310"/>
                <a:gd name="f112" fmla="val 3001346"/>
                <a:gd name="f113" fmla="val 5566644"/>
                <a:gd name="f114" fmla="val 2980338"/>
                <a:gd name="f115" fmla="val 5679788"/>
                <a:gd name="f116" fmla="val 2867194"/>
                <a:gd name="f117" fmla="val 5836095"/>
                <a:gd name="f118" fmla="val 2797213"/>
                <a:gd name="f119" fmla="val 6008747"/>
                <a:gd name="f120" fmla="val 6354050"/>
                <a:gd name="f121" fmla="val 6633975"/>
                <a:gd name="f122" fmla="val 3077137"/>
                <a:gd name="f123" fmla="val 6633974"/>
                <a:gd name="f124" fmla="val 3767745"/>
                <a:gd name="f125" fmla="val 4047669"/>
                <a:gd name="f126" fmla="val 4047670"/>
                <a:gd name="f127" fmla="val 5879257"/>
                <a:gd name="f128" fmla="val 5758963"/>
                <a:gd name="f129" fmla="val 4008305"/>
                <a:gd name="f130" fmla="val 5659175"/>
                <a:gd name="f131" fmla="val 3940890"/>
                <a:gd name="f132" fmla="val 5615689"/>
                <a:gd name="f133" fmla="val 3905011"/>
                <a:gd name="f134" fmla="val 4536367"/>
                <a:gd name="f135" fmla="val 5224392"/>
                <a:gd name="f136" fmla="val 4565475"/>
                <a:gd name="f137" fmla="val 5278017"/>
                <a:gd name="f138" fmla="val 4599785"/>
                <a:gd name="f139" fmla="val 5359135"/>
                <a:gd name="f140" fmla="val 4618758"/>
                <a:gd name="f141" fmla="val 5448320"/>
                <a:gd name="f142" fmla="val 4315194"/>
                <a:gd name="f143" fmla="val 3898615"/>
                <a:gd name="f144" fmla="val 7797230"/>
                <a:gd name="f145" fmla="val 3181174"/>
                <a:gd name="f146" fmla="val 3903436"/>
                <a:gd name="f147" fmla="val 4821"/>
                <a:gd name="f148" fmla="+- 0 0 -90"/>
                <a:gd name="f149" fmla="*/ f3 1 7802051"/>
                <a:gd name="f150" fmla="*/ f4 1 7751588"/>
                <a:gd name="f151" fmla="val f5"/>
                <a:gd name="f152" fmla="val f6"/>
                <a:gd name="f153" fmla="val f7"/>
                <a:gd name="f154" fmla="*/ f148 f0 1"/>
                <a:gd name="f155" fmla="+- f153 0 f151"/>
                <a:gd name="f156" fmla="+- f152 0 f151"/>
                <a:gd name="f157" fmla="*/ f154 1 f2"/>
                <a:gd name="f158" fmla="*/ f156 1 7802051"/>
                <a:gd name="f159" fmla="*/ f155 1 7751588"/>
                <a:gd name="f160" fmla="*/ 3669750 f156 1"/>
                <a:gd name="f161" fmla="*/ 4921020 f155 1"/>
                <a:gd name="f162" fmla="*/ 3676808 f156 1"/>
                <a:gd name="f163" fmla="*/ 4917189 f155 1"/>
                <a:gd name="f164" fmla="*/ 3726054 f156 1"/>
                <a:gd name="f165" fmla="*/ 4901903 f155 1"/>
                <a:gd name="f166" fmla="*/ 2529358 f155 1"/>
                <a:gd name="f167" fmla="*/ 2407723 f156 1"/>
                <a:gd name="f168" fmla="*/ 3310455 f155 1"/>
                <a:gd name="f169" fmla="*/ 2418532 f156 1"/>
                <a:gd name="f170" fmla="*/ 3417678 f155 1"/>
                <a:gd name="f171" fmla="*/ 2369399 f156 1"/>
                <a:gd name="f172" fmla="*/ 3661045 f155 1"/>
                <a:gd name="f173" fmla="*/ 2362622 f156 1"/>
                <a:gd name="f174" fmla="*/ 3673532 f155 1"/>
                <a:gd name="f175" fmla="*/ 4279965 f156 1"/>
                <a:gd name="f176" fmla="*/ 4958071 f155 1"/>
                <a:gd name="f177" fmla="*/ 5406368 f156 1"/>
                <a:gd name="f178" fmla="*/ 3581135 f155 1"/>
                <a:gd name="f179" fmla="*/ 5396221 f156 1"/>
                <a:gd name="f180" fmla="*/ 3548447 f155 1"/>
                <a:gd name="f181" fmla="*/ 5383519 f156 1"/>
                <a:gd name="f182" fmla="*/ 3422441 f155 1"/>
                <a:gd name="f183" fmla="*/ 5392133 f156 1"/>
                <a:gd name="f184" fmla="*/ 3336986 f155 1"/>
                <a:gd name="f185" fmla="*/ 4117986 f156 1"/>
                <a:gd name="f186" fmla="*/ 2509174 f155 1"/>
                <a:gd name="f187" fmla="*/ 4066733 f156 1"/>
                <a:gd name="f188" fmla="*/ 2525083 f155 1"/>
                <a:gd name="f189" fmla="*/ 4044164 f156 1"/>
                <a:gd name="f190" fmla="*/ 2527359 f155 1"/>
                <a:gd name="f191" fmla="*/ 4874334 f155 1"/>
                <a:gd name="f192" fmla="*/ 4077374 f156 1"/>
                <a:gd name="f193" fmla="*/ 4877682 f155 1"/>
                <a:gd name="f194" fmla="*/ 4204647 f156 1"/>
                <a:gd name="f195" fmla="*/ 4917190 f155 1"/>
                <a:gd name="f196" fmla="*/ 3940727 f156 1"/>
                <a:gd name="f197" fmla="*/ 6219967 f155 1"/>
                <a:gd name="f198" fmla="*/ 3262698 f156 1"/>
                <a:gd name="f199" fmla="*/ 5541937 f155 1"/>
                <a:gd name="f200" fmla="*/ 3378494 f156 1"/>
                <a:gd name="f201" fmla="*/ 5162844 f155 1"/>
                <a:gd name="f202" fmla="*/ 3384198 f156 1"/>
                <a:gd name="f203" fmla="*/ 5155931 f155 1"/>
                <a:gd name="f204" fmla="*/ 2119419 f156 1"/>
                <a:gd name="f205" fmla="*/ 3948859 f155 1"/>
                <a:gd name="f206" fmla="*/ 2036672 f156 1"/>
                <a:gd name="f207" fmla="*/ 3993772 f155 1"/>
                <a:gd name="f208" fmla="*/ 1793305 f156 1"/>
                <a:gd name="f209" fmla="*/ 4042906 f155 1"/>
                <a:gd name="f210" fmla="*/ 1168076 f156 1"/>
                <a:gd name="f211" fmla="*/ 1793304 f156 1"/>
                <a:gd name="f212" fmla="*/ 2792451 f155 1"/>
                <a:gd name="f213" fmla="*/ 2235408 f156 1"/>
                <a:gd name="f214" fmla="*/ 2975575 f155 1"/>
                <a:gd name="f215" fmla="*/ 2241113 f156 1"/>
                <a:gd name="f216" fmla="*/ 2982489 f155 1"/>
                <a:gd name="f217" fmla="*/ 3433657 f156 1"/>
                <a:gd name="f218" fmla="*/ 2275919 f155 1"/>
                <a:gd name="f219" fmla="*/ 3422279 f156 1"/>
                <a:gd name="f220" fmla="*/ 2262129 f155 1"/>
                <a:gd name="f221" fmla="*/ 3315500 f156 1"/>
                <a:gd name="f222" fmla="*/ 1912558 f155 1"/>
                <a:gd name="f223" fmla="*/ 3940728 f156 1"/>
                <a:gd name="f224" fmla="*/ 1287330 f155 1"/>
                <a:gd name="f225" fmla="*/ 4565956 f156 1"/>
                <a:gd name="f226" fmla="*/ 4459177 f156 1"/>
                <a:gd name="f227" fmla="*/ 4442548 f156 1"/>
                <a:gd name="f228" fmla="*/ 2282283 f155 1"/>
                <a:gd name="f229" fmla="*/ 5549310 f156 1"/>
                <a:gd name="f230" fmla="*/ 3001346 f155 1"/>
                <a:gd name="f231" fmla="*/ 5566644 f156 1"/>
                <a:gd name="f232" fmla="*/ 2980338 f155 1"/>
                <a:gd name="f233" fmla="*/ 6008747 f156 1"/>
                <a:gd name="f234" fmla="*/ 2797213 f155 1"/>
                <a:gd name="f235" fmla="*/ 6633974 f156 1"/>
                <a:gd name="f236" fmla="*/ 4047670 f155 1"/>
                <a:gd name="f237" fmla="*/ 5659175 f156 1"/>
                <a:gd name="f238" fmla="*/ 3940890 f155 1"/>
                <a:gd name="f239" fmla="*/ 5615689 f156 1"/>
                <a:gd name="f240" fmla="*/ 3905011 f155 1"/>
                <a:gd name="f241" fmla="*/ 4536367 f156 1"/>
                <a:gd name="f242" fmla="*/ 5224392 f155 1"/>
                <a:gd name="f243" fmla="*/ 4565475 f156 1"/>
                <a:gd name="f244" fmla="*/ 5278017 f155 1"/>
                <a:gd name="f245" fmla="*/ 4618758 f156 1"/>
                <a:gd name="f246" fmla="*/ 3898615 f156 1"/>
                <a:gd name="f247" fmla="*/ 7751588 f155 1"/>
                <a:gd name="f248" fmla="*/ 7797230 f156 1"/>
                <a:gd name="f249" fmla="*/ 3181174 f155 1"/>
                <a:gd name="f250" fmla="*/ 7802051 f156 1"/>
                <a:gd name="f251" fmla="*/ 3903436 f156 1"/>
                <a:gd name="f252" fmla="*/ 0 f155 1"/>
                <a:gd name="f253" fmla="*/ 4821 f156 1"/>
                <a:gd name="f254" fmla="*/ 0 f156 1"/>
                <a:gd name="f255" fmla="+- f157 0 f1"/>
                <a:gd name="f256" fmla="*/ f160 1 7802051"/>
                <a:gd name="f257" fmla="*/ f161 1 7751588"/>
                <a:gd name="f258" fmla="*/ f162 1 7802051"/>
                <a:gd name="f259" fmla="*/ f163 1 7751588"/>
                <a:gd name="f260" fmla="*/ f164 1 7802051"/>
                <a:gd name="f261" fmla="*/ f165 1 7751588"/>
                <a:gd name="f262" fmla="*/ f166 1 7751588"/>
                <a:gd name="f263" fmla="*/ f167 1 7802051"/>
                <a:gd name="f264" fmla="*/ f168 1 7751588"/>
                <a:gd name="f265" fmla="*/ f169 1 7802051"/>
                <a:gd name="f266" fmla="*/ f170 1 7751588"/>
                <a:gd name="f267" fmla="*/ f171 1 7802051"/>
                <a:gd name="f268" fmla="*/ f172 1 7751588"/>
                <a:gd name="f269" fmla="*/ f173 1 7802051"/>
                <a:gd name="f270" fmla="*/ f174 1 7751588"/>
                <a:gd name="f271" fmla="*/ f175 1 7802051"/>
                <a:gd name="f272" fmla="*/ f176 1 7751588"/>
                <a:gd name="f273" fmla="*/ f177 1 7802051"/>
                <a:gd name="f274" fmla="*/ f178 1 7751588"/>
                <a:gd name="f275" fmla="*/ f179 1 7802051"/>
                <a:gd name="f276" fmla="*/ f180 1 7751588"/>
                <a:gd name="f277" fmla="*/ f181 1 7802051"/>
                <a:gd name="f278" fmla="*/ f182 1 7751588"/>
                <a:gd name="f279" fmla="*/ f183 1 7802051"/>
                <a:gd name="f280" fmla="*/ f184 1 7751588"/>
                <a:gd name="f281" fmla="*/ f185 1 7802051"/>
                <a:gd name="f282" fmla="*/ f186 1 7751588"/>
                <a:gd name="f283" fmla="*/ f187 1 7802051"/>
                <a:gd name="f284" fmla="*/ f188 1 7751588"/>
                <a:gd name="f285" fmla="*/ f189 1 7802051"/>
                <a:gd name="f286" fmla="*/ f190 1 7751588"/>
                <a:gd name="f287" fmla="*/ f191 1 7751588"/>
                <a:gd name="f288" fmla="*/ f192 1 7802051"/>
                <a:gd name="f289" fmla="*/ f193 1 7751588"/>
                <a:gd name="f290" fmla="*/ f194 1 7802051"/>
                <a:gd name="f291" fmla="*/ f195 1 7751588"/>
                <a:gd name="f292" fmla="*/ f196 1 7802051"/>
                <a:gd name="f293" fmla="*/ f197 1 7751588"/>
                <a:gd name="f294" fmla="*/ f198 1 7802051"/>
                <a:gd name="f295" fmla="*/ f199 1 7751588"/>
                <a:gd name="f296" fmla="*/ f200 1 7802051"/>
                <a:gd name="f297" fmla="*/ f201 1 7751588"/>
                <a:gd name="f298" fmla="*/ f202 1 7802051"/>
                <a:gd name="f299" fmla="*/ f203 1 7751588"/>
                <a:gd name="f300" fmla="*/ f204 1 7802051"/>
                <a:gd name="f301" fmla="*/ f205 1 7751588"/>
                <a:gd name="f302" fmla="*/ f206 1 7802051"/>
                <a:gd name="f303" fmla="*/ f207 1 7751588"/>
                <a:gd name="f304" fmla="*/ f208 1 7802051"/>
                <a:gd name="f305" fmla="*/ f209 1 7751588"/>
                <a:gd name="f306" fmla="*/ f210 1 7802051"/>
                <a:gd name="f307" fmla="*/ f211 1 7802051"/>
                <a:gd name="f308" fmla="*/ f212 1 7751588"/>
                <a:gd name="f309" fmla="*/ f213 1 7802051"/>
                <a:gd name="f310" fmla="*/ f214 1 7751588"/>
                <a:gd name="f311" fmla="*/ f215 1 7802051"/>
                <a:gd name="f312" fmla="*/ f216 1 7751588"/>
                <a:gd name="f313" fmla="*/ f217 1 7802051"/>
                <a:gd name="f314" fmla="*/ f218 1 7751588"/>
                <a:gd name="f315" fmla="*/ f219 1 7802051"/>
                <a:gd name="f316" fmla="*/ f220 1 7751588"/>
                <a:gd name="f317" fmla="*/ f221 1 7802051"/>
                <a:gd name="f318" fmla="*/ f222 1 7751588"/>
                <a:gd name="f319" fmla="*/ f223 1 7802051"/>
                <a:gd name="f320" fmla="*/ f224 1 7751588"/>
                <a:gd name="f321" fmla="*/ f225 1 7802051"/>
                <a:gd name="f322" fmla="*/ f226 1 7802051"/>
                <a:gd name="f323" fmla="*/ f227 1 7802051"/>
                <a:gd name="f324" fmla="*/ f228 1 7751588"/>
                <a:gd name="f325" fmla="*/ f229 1 7802051"/>
                <a:gd name="f326" fmla="*/ f230 1 7751588"/>
                <a:gd name="f327" fmla="*/ f231 1 7802051"/>
                <a:gd name="f328" fmla="*/ f232 1 7751588"/>
                <a:gd name="f329" fmla="*/ f233 1 7802051"/>
                <a:gd name="f330" fmla="*/ f234 1 7751588"/>
                <a:gd name="f331" fmla="*/ f235 1 7802051"/>
                <a:gd name="f332" fmla="*/ f236 1 7751588"/>
                <a:gd name="f333" fmla="*/ f237 1 7802051"/>
                <a:gd name="f334" fmla="*/ f238 1 7751588"/>
                <a:gd name="f335" fmla="*/ f239 1 7802051"/>
                <a:gd name="f336" fmla="*/ f240 1 7751588"/>
                <a:gd name="f337" fmla="*/ f241 1 7802051"/>
                <a:gd name="f338" fmla="*/ f242 1 7751588"/>
                <a:gd name="f339" fmla="*/ f243 1 7802051"/>
                <a:gd name="f340" fmla="*/ f244 1 7751588"/>
                <a:gd name="f341" fmla="*/ f245 1 7802051"/>
                <a:gd name="f342" fmla="*/ f246 1 7802051"/>
                <a:gd name="f343" fmla="*/ f247 1 7751588"/>
                <a:gd name="f344" fmla="*/ f248 1 7802051"/>
                <a:gd name="f345" fmla="*/ f249 1 7751588"/>
                <a:gd name="f346" fmla="*/ f250 1 7802051"/>
                <a:gd name="f347" fmla="*/ f251 1 7802051"/>
                <a:gd name="f348" fmla="*/ f252 1 7751588"/>
                <a:gd name="f349" fmla="*/ f253 1 7802051"/>
                <a:gd name="f350" fmla="*/ f254 1 7802051"/>
                <a:gd name="f351" fmla="*/ f151 1 f158"/>
                <a:gd name="f352" fmla="*/ f152 1 f158"/>
                <a:gd name="f353" fmla="*/ f151 1 f159"/>
                <a:gd name="f354" fmla="*/ f153 1 f159"/>
                <a:gd name="f355" fmla="*/ f256 1 f158"/>
                <a:gd name="f356" fmla="*/ f257 1 f159"/>
                <a:gd name="f357" fmla="*/ f258 1 f158"/>
                <a:gd name="f358" fmla="*/ f259 1 f159"/>
                <a:gd name="f359" fmla="*/ f260 1 f158"/>
                <a:gd name="f360" fmla="*/ f261 1 f159"/>
                <a:gd name="f361" fmla="*/ f262 1 f159"/>
                <a:gd name="f362" fmla="*/ f263 1 f158"/>
                <a:gd name="f363" fmla="*/ f264 1 f159"/>
                <a:gd name="f364" fmla="*/ f265 1 f158"/>
                <a:gd name="f365" fmla="*/ f266 1 f159"/>
                <a:gd name="f366" fmla="*/ f267 1 f158"/>
                <a:gd name="f367" fmla="*/ f268 1 f159"/>
                <a:gd name="f368" fmla="*/ f269 1 f158"/>
                <a:gd name="f369" fmla="*/ f270 1 f159"/>
                <a:gd name="f370" fmla="*/ f271 1 f158"/>
                <a:gd name="f371" fmla="*/ f272 1 f159"/>
                <a:gd name="f372" fmla="*/ f273 1 f158"/>
                <a:gd name="f373" fmla="*/ f274 1 f159"/>
                <a:gd name="f374" fmla="*/ f275 1 f158"/>
                <a:gd name="f375" fmla="*/ f276 1 f159"/>
                <a:gd name="f376" fmla="*/ f277 1 f158"/>
                <a:gd name="f377" fmla="*/ f278 1 f159"/>
                <a:gd name="f378" fmla="*/ f279 1 f158"/>
                <a:gd name="f379" fmla="*/ f280 1 f159"/>
                <a:gd name="f380" fmla="*/ f281 1 f158"/>
                <a:gd name="f381" fmla="*/ f282 1 f159"/>
                <a:gd name="f382" fmla="*/ f283 1 f158"/>
                <a:gd name="f383" fmla="*/ f284 1 f159"/>
                <a:gd name="f384" fmla="*/ f285 1 f158"/>
                <a:gd name="f385" fmla="*/ f286 1 f159"/>
                <a:gd name="f386" fmla="*/ f287 1 f159"/>
                <a:gd name="f387" fmla="*/ f288 1 f158"/>
                <a:gd name="f388" fmla="*/ f289 1 f159"/>
                <a:gd name="f389" fmla="*/ f290 1 f158"/>
                <a:gd name="f390" fmla="*/ f291 1 f159"/>
                <a:gd name="f391" fmla="*/ f292 1 f158"/>
                <a:gd name="f392" fmla="*/ f293 1 f159"/>
                <a:gd name="f393" fmla="*/ f294 1 f158"/>
                <a:gd name="f394" fmla="*/ f295 1 f159"/>
                <a:gd name="f395" fmla="*/ f296 1 f158"/>
                <a:gd name="f396" fmla="*/ f297 1 f159"/>
                <a:gd name="f397" fmla="*/ f298 1 f158"/>
                <a:gd name="f398" fmla="*/ f299 1 f159"/>
                <a:gd name="f399" fmla="*/ f300 1 f158"/>
                <a:gd name="f400" fmla="*/ f301 1 f159"/>
                <a:gd name="f401" fmla="*/ f302 1 f158"/>
                <a:gd name="f402" fmla="*/ f303 1 f159"/>
                <a:gd name="f403" fmla="*/ f304 1 f158"/>
                <a:gd name="f404" fmla="*/ f305 1 f159"/>
                <a:gd name="f405" fmla="*/ f306 1 f158"/>
                <a:gd name="f406" fmla="*/ f307 1 f158"/>
                <a:gd name="f407" fmla="*/ f308 1 f159"/>
                <a:gd name="f408" fmla="*/ f309 1 f158"/>
                <a:gd name="f409" fmla="*/ f310 1 f159"/>
                <a:gd name="f410" fmla="*/ f311 1 f158"/>
                <a:gd name="f411" fmla="*/ f312 1 f159"/>
                <a:gd name="f412" fmla="*/ f313 1 f158"/>
                <a:gd name="f413" fmla="*/ f314 1 f159"/>
                <a:gd name="f414" fmla="*/ f315 1 f158"/>
                <a:gd name="f415" fmla="*/ f316 1 f159"/>
                <a:gd name="f416" fmla="*/ f317 1 f158"/>
                <a:gd name="f417" fmla="*/ f318 1 f159"/>
                <a:gd name="f418" fmla="*/ f319 1 f158"/>
                <a:gd name="f419" fmla="*/ f320 1 f159"/>
                <a:gd name="f420" fmla="*/ f321 1 f158"/>
                <a:gd name="f421" fmla="*/ f322 1 f158"/>
                <a:gd name="f422" fmla="*/ f323 1 f158"/>
                <a:gd name="f423" fmla="*/ f324 1 f159"/>
                <a:gd name="f424" fmla="*/ f325 1 f158"/>
                <a:gd name="f425" fmla="*/ f326 1 f159"/>
                <a:gd name="f426" fmla="*/ f327 1 f158"/>
                <a:gd name="f427" fmla="*/ f328 1 f159"/>
                <a:gd name="f428" fmla="*/ f329 1 f158"/>
                <a:gd name="f429" fmla="*/ f330 1 f159"/>
                <a:gd name="f430" fmla="*/ f331 1 f158"/>
                <a:gd name="f431" fmla="*/ f332 1 f159"/>
                <a:gd name="f432" fmla="*/ f333 1 f158"/>
                <a:gd name="f433" fmla="*/ f334 1 f159"/>
                <a:gd name="f434" fmla="*/ f335 1 f158"/>
                <a:gd name="f435" fmla="*/ f336 1 f159"/>
                <a:gd name="f436" fmla="*/ f337 1 f158"/>
                <a:gd name="f437" fmla="*/ f338 1 f159"/>
                <a:gd name="f438" fmla="*/ f339 1 f158"/>
                <a:gd name="f439" fmla="*/ f340 1 f159"/>
                <a:gd name="f440" fmla="*/ f341 1 f158"/>
                <a:gd name="f441" fmla="*/ f342 1 f158"/>
                <a:gd name="f442" fmla="*/ f343 1 f159"/>
                <a:gd name="f443" fmla="*/ f344 1 f158"/>
                <a:gd name="f444" fmla="*/ f345 1 f159"/>
                <a:gd name="f445" fmla="*/ f346 1 f158"/>
                <a:gd name="f446" fmla="*/ f347 1 f158"/>
                <a:gd name="f447" fmla="*/ f348 1 f159"/>
                <a:gd name="f448" fmla="*/ f349 1 f158"/>
                <a:gd name="f449" fmla="*/ f350 1 f158"/>
                <a:gd name="f450" fmla="*/ f351 f149 1"/>
                <a:gd name="f451" fmla="*/ f352 f149 1"/>
                <a:gd name="f452" fmla="*/ f354 f150 1"/>
                <a:gd name="f453" fmla="*/ f353 f150 1"/>
                <a:gd name="f454" fmla="*/ f355 f149 1"/>
                <a:gd name="f455" fmla="*/ f356 f150 1"/>
                <a:gd name="f456" fmla="*/ f357 f149 1"/>
                <a:gd name="f457" fmla="*/ f358 f150 1"/>
                <a:gd name="f458" fmla="*/ f359 f149 1"/>
                <a:gd name="f459" fmla="*/ f360 f150 1"/>
                <a:gd name="f460" fmla="*/ f361 f150 1"/>
                <a:gd name="f461" fmla="*/ f362 f149 1"/>
                <a:gd name="f462" fmla="*/ f363 f150 1"/>
                <a:gd name="f463" fmla="*/ f364 f149 1"/>
                <a:gd name="f464" fmla="*/ f365 f150 1"/>
                <a:gd name="f465" fmla="*/ f366 f149 1"/>
                <a:gd name="f466" fmla="*/ f367 f150 1"/>
                <a:gd name="f467" fmla="*/ f368 f149 1"/>
                <a:gd name="f468" fmla="*/ f369 f150 1"/>
                <a:gd name="f469" fmla="*/ f370 f149 1"/>
                <a:gd name="f470" fmla="*/ f371 f150 1"/>
                <a:gd name="f471" fmla="*/ f372 f149 1"/>
                <a:gd name="f472" fmla="*/ f373 f150 1"/>
                <a:gd name="f473" fmla="*/ f374 f149 1"/>
                <a:gd name="f474" fmla="*/ f375 f150 1"/>
                <a:gd name="f475" fmla="*/ f376 f149 1"/>
                <a:gd name="f476" fmla="*/ f377 f150 1"/>
                <a:gd name="f477" fmla="*/ f378 f149 1"/>
                <a:gd name="f478" fmla="*/ f379 f150 1"/>
                <a:gd name="f479" fmla="*/ f380 f149 1"/>
                <a:gd name="f480" fmla="*/ f381 f150 1"/>
                <a:gd name="f481" fmla="*/ f382 f149 1"/>
                <a:gd name="f482" fmla="*/ f383 f150 1"/>
                <a:gd name="f483" fmla="*/ f384 f149 1"/>
                <a:gd name="f484" fmla="*/ f385 f150 1"/>
                <a:gd name="f485" fmla="*/ f386 f150 1"/>
                <a:gd name="f486" fmla="*/ f387 f149 1"/>
                <a:gd name="f487" fmla="*/ f388 f150 1"/>
                <a:gd name="f488" fmla="*/ f389 f149 1"/>
                <a:gd name="f489" fmla="*/ f390 f150 1"/>
                <a:gd name="f490" fmla="*/ f391 f149 1"/>
                <a:gd name="f491" fmla="*/ f392 f150 1"/>
                <a:gd name="f492" fmla="*/ f393 f149 1"/>
                <a:gd name="f493" fmla="*/ f394 f150 1"/>
                <a:gd name="f494" fmla="*/ f395 f149 1"/>
                <a:gd name="f495" fmla="*/ f396 f150 1"/>
                <a:gd name="f496" fmla="*/ f397 f149 1"/>
                <a:gd name="f497" fmla="*/ f398 f150 1"/>
                <a:gd name="f498" fmla="*/ f399 f149 1"/>
                <a:gd name="f499" fmla="*/ f400 f150 1"/>
                <a:gd name="f500" fmla="*/ f401 f149 1"/>
                <a:gd name="f501" fmla="*/ f402 f150 1"/>
                <a:gd name="f502" fmla="*/ f403 f149 1"/>
                <a:gd name="f503" fmla="*/ f404 f150 1"/>
                <a:gd name="f504" fmla="*/ f405 f149 1"/>
                <a:gd name="f505" fmla="*/ f406 f149 1"/>
                <a:gd name="f506" fmla="*/ f407 f150 1"/>
                <a:gd name="f507" fmla="*/ f408 f149 1"/>
                <a:gd name="f508" fmla="*/ f409 f150 1"/>
                <a:gd name="f509" fmla="*/ f410 f149 1"/>
                <a:gd name="f510" fmla="*/ f411 f150 1"/>
                <a:gd name="f511" fmla="*/ f412 f149 1"/>
                <a:gd name="f512" fmla="*/ f413 f150 1"/>
                <a:gd name="f513" fmla="*/ f414 f149 1"/>
                <a:gd name="f514" fmla="*/ f415 f150 1"/>
                <a:gd name="f515" fmla="*/ f416 f149 1"/>
                <a:gd name="f516" fmla="*/ f417 f150 1"/>
                <a:gd name="f517" fmla="*/ f418 f149 1"/>
                <a:gd name="f518" fmla="*/ f419 f150 1"/>
                <a:gd name="f519" fmla="*/ f420 f149 1"/>
                <a:gd name="f520" fmla="*/ f421 f149 1"/>
                <a:gd name="f521" fmla="*/ f422 f149 1"/>
                <a:gd name="f522" fmla="*/ f423 f150 1"/>
                <a:gd name="f523" fmla="*/ f424 f149 1"/>
                <a:gd name="f524" fmla="*/ f425 f150 1"/>
                <a:gd name="f525" fmla="*/ f426 f149 1"/>
                <a:gd name="f526" fmla="*/ f427 f150 1"/>
                <a:gd name="f527" fmla="*/ f428 f149 1"/>
                <a:gd name="f528" fmla="*/ f429 f150 1"/>
                <a:gd name="f529" fmla="*/ f430 f149 1"/>
                <a:gd name="f530" fmla="*/ f431 f150 1"/>
                <a:gd name="f531" fmla="*/ f432 f149 1"/>
                <a:gd name="f532" fmla="*/ f433 f150 1"/>
                <a:gd name="f533" fmla="*/ f434 f149 1"/>
                <a:gd name="f534" fmla="*/ f435 f150 1"/>
                <a:gd name="f535" fmla="*/ f436 f149 1"/>
                <a:gd name="f536" fmla="*/ f437 f150 1"/>
                <a:gd name="f537" fmla="*/ f438 f149 1"/>
                <a:gd name="f538" fmla="*/ f439 f150 1"/>
                <a:gd name="f539" fmla="*/ f440 f149 1"/>
                <a:gd name="f540" fmla="*/ f441 f149 1"/>
                <a:gd name="f541" fmla="*/ f442 f150 1"/>
                <a:gd name="f542" fmla="*/ f443 f149 1"/>
                <a:gd name="f543" fmla="*/ f444 f150 1"/>
                <a:gd name="f544" fmla="*/ f445 f149 1"/>
                <a:gd name="f545" fmla="*/ f446 f149 1"/>
                <a:gd name="f546" fmla="*/ f447 f150 1"/>
                <a:gd name="f547" fmla="*/ f448 f149 1"/>
                <a:gd name="f548" fmla="*/ f449 f149 1"/>
              </a:gdLst>
              <a:ahLst/>
              <a:cxnLst>
                <a:cxn ang="3cd4">
                  <a:pos x="hc" y="t"/>
                </a:cxn>
                <a:cxn ang="0">
                  <a:pos x="r" y="vc"/>
                </a:cxn>
                <a:cxn ang="cd4">
                  <a:pos x="hc" y="b"/>
                </a:cxn>
                <a:cxn ang="cd2">
                  <a:pos x="l" y="vc"/>
                </a:cxn>
                <a:cxn ang="f255">
                  <a:pos x="f454" y="f455"/>
                </a:cxn>
                <a:cxn ang="f255">
                  <a:pos x="f456" y="f457"/>
                </a:cxn>
                <a:cxn ang="f255">
                  <a:pos x="f458" y="f459"/>
                </a:cxn>
                <a:cxn ang="f255">
                  <a:pos x="f458" y="f460"/>
                </a:cxn>
                <a:cxn ang="f255">
                  <a:pos x="f461" y="f462"/>
                </a:cxn>
                <a:cxn ang="f255">
                  <a:pos x="f463" y="f464"/>
                </a:cxn>
                <a:cxn ang="f255">
                  <a:pos x="f465" y="f466"/>
                </a:cxn>
                <a:cxn ang="f255">
                  <a:pos x="f467" y="f468"/>
                </a:cxn>
                <a:cxn ang="f255">
                  <a:pos x="f469" y="f470"/>
                </a:cxn>
                <a:cxn ang="f255">
                  <a:pos x="f471" y="f472"/>
                </a:cxn>
                <a:cxn ang="f255">
                  <a:pos x="f473" y="f474"/>
                </a:cxn>
                <a:cxn ang="f255">
                  <a:pos x="f475" y="f476"/>
                </a:cxn>
                <a:cxn ang="f255">
                  <a:pos x="f477" y="f478"/>
                </a:cxn>
                <a:cxn ang="f255">
                  <a:pos x="f479" y="f480"/>
                </a:cxn>
                <a:cxn ang="f255">
                  <a:pos x="f481" y="f482"/>
                </a:cxn>
                <a:cxn ang="f255">
                  <a:pos x="f483" y="f484"/>
                </a:cxn>
                <a:cxn ang="f255">
                  <a:pos x="f483" y="f485"/>
                </a:cxn>
                <a:cxn ang="f255">
                  <a:pos x="f486" y="f487"/>
                </a:cxn>
                <a:cxn ang="f255">
                  <a:pos x="f488" y="f489"/>
                </a:cxn>
                <a:cxn ang="f255">
                  <a:pos x="f490" y="f491"/>
                </a:cxn>
                <a:cxn ang="f255">
                  <a:pos x="f492" y="f493"/>
                </a:cxn>
                <a:cxn ang="f255">
                  <a:pos x="f494" y="f495"/>
                </a:cxn>
                <a:cxn ang="f255">
                  <a:pos x="f496" y="f497"/>
                </a:cxn>
                <a:cxn ang="f255">
                  <a:pos x="f498" y="f499"/>
                </a:cxn>
                <a:cxn ang="f255">
                  <a:pos x="f500" y="f501"/>
                </a:cxn>
                <a:cxn ang="f255">
                  <a:pos x="f502" y="f503"/>
                </a:cxn>
                <a:cxn ang="f255">
                  <a:pos x="f504" y="f464"/>
                </a:cxn>
                <a:cxn ang="f255">
                  <a:pos x="f505" y="f506"/>
                </a:cxn>
                <a:cxn ang="f255">
                  <a:pos x="f507" y="f508"/>
                </a:cxn>
                <a:cxn ang="f255">
                  <a:pos x="f509" y="f510"/>
                </a:cxn>
                <a:cxn ang="f255">
                  <a:pos x="f511" y="f512"/>
                </a:cxn>
                <a:cxn ang="f255">
                  <a:pos x="f513" y="f514"/>
                </a:cxn>
                <a:cxn ang="f255">
                  <a:pos x="f515" y="f516"/>
                </a:cxn>
                <a:cxn ang="f255">
                  <a:pos x="f517" y="f518"/>
                </a:cxn>
                <a:cxn ang="f255">
                  <a:pos x="f519" y="f516"/>
                </a:cxn>
                <a:cxn ang="f255">
                  <a:pos x="f520" y="f514"/>
                </a:cxn>
                <a:cxn ang="f255">
                  <a:pos x="f521" y="f522"/>
                </a:cxn>
                <a:cxn ang="f255">
                  <a:pos x="f523" y="f524"/>
                </a:cxn>
                <a:cxn ang="f255">
                  <a:pos x="f525" y="f526"/>
                </a:cxn>
                <a:cxn ang="f255">
                  <a:pos x="f527" y="f528"/>
                </a:cxn>
                <a:cxn ang="f255">
                  <a:pos x="f529" y="f476"/>
                </a:cxn>
                <a:cxn ang="f255">
                  <a:pos x="f527" y="f530"/>
                </a:cxn>
                <a:cxn ang="f255">
                  <a:pos x="f531" y="f532"/>
                </a:cxn>
                <a:cxn ang="f255">
                  <a:pos x="f533" y="f534"/>
                </a:cxn>
                <a:cxn ang="f255">
                  <a:pos x="f535" y="f536"/>
                </a:cxn>
                <a:cxn ang="f255">
                  <a:pos x="f537" y="f538"/>
                </a:cxn>
                <a:cxn ang="f255">
                  <a:pos x="f539" y="f493"/>
                </a:cxn>
                <a:cxn ang="f255">
                  <a:pos x="f490" y="f491"/>
                </a:cxn>
                <a:cxn ang="f255">
                  <a:pos x="f540" y="f541"/>
                </a:cxn>
                <a:cxn ang="f255">
                  <a:pos x="f542" y="f543"/>
                </a:cxn>
                <a:cxn ang="f255">
                  <a:pos x="f544" y="f543"/>
                </a:cxn>
                <a:cxn ang="f255">
                  <a:pos x="f545" y="f546"/>
                </a:cxn>
                <a:cxn ang="f255">
                  <a:pos x="f547" y="f543"/>
                </a:cxn>
                <a:cxn ang="f255">
                  <a:pos x="f548" y="f543"/>
                </a:cxn>
              </a:cxnLst>
              <a:rect l="f450" t="f453" r="f451" b="f452"/>
              <a:pathLst>
                <a:path w="7802051" h="7751588">
                  <a:moveTo>
                    <a:pt x="f8" y="f9"/>
                  </a:moveTo>
                  <a:lnTo>
                    <a:pt x="f10" y="f11"/>
                  </a:lnTo>
                  <a:lnTo>
                    <a:pt x="f12" y="f13"/>
                  </a:lnTo>
                  <a:lnTo>
                    <a:pt x="f12" y="f14"/>
                  </a:lnTo>
                  <a:lnTo>
                    <a:pt x="f15" y="f16"/>
                  </a:lnTo>
                  <a:lnTo>
                    <a:pt x="f17" y="f18"/>
                  </a:lnTo>
                  <a:cubicBezTo>
                    <a:pt x="f17" y="f19"/>
                    <a:pt x="f20" y="f21"/>
                    <a:pt x="f22" y="f23"/>
                  </a:cubicBezTo>
                  <a:lnTo>
                    <a:pt x="f24" y="f25"/>
                  </a:lnTo>
                  <a:close/>
                  <a:moveTo>
                    <a:pt x="f26" y="f27"/>
                  </a:moveTo>
                  <a:lnTo>
                    <a:pt x="f28" y="f29"/>
                  </a:lnTo>
                  <a:lnTo>
                    <a:pt x="f30" y="f31"/>
                  </a:lnTo>
                  <a:cubicBezTo>
                    <a:pt x="f32" y="f33"/>
                    <a:pt x="f34" y="f35"/>
                    <a:pt x="f34" y="f36"/>
                  </a:cubicBezTo>
                  <a:lnTo>
                    <a:pt x="f37" y="f38"/>
                  </a:lnTo>
                  <a:lnTo>
                    <a:pt x="f39" y="f40"/>
                  </a:lnTo>
                  <a:lnTo>
                    <a:pt x="f41" y="f42"/>
                  </a:lnTo>
                  <a:lnTo>
                    <a:pt x="f43" y="f44"/>
                  </a:lnTo>
                  <a:lnTo>
                    <a:pt x="f43" y="f45"/>
                  </a:lnTo>
                  <a:lnTo>
                    <a:pt x="f46" y="f47"/>
                  </a:lnTo>
                  <a:cubicBezTo>
                    <a:pt x="f48" y="f49"/>
                    <a:pt x="f50" y="f51"/>
                    <a:pt x="f52" y="f53"/>
                  </a:cubicBezTo>
                  <a:close/>
                  <a:moveTo>
                    <a:pt x="f54" y="f55"/>
                  </a:moveTo>
                  <a:cubicBezTo>
                    <a:pt x="f56" y="f55"/>
                    <a:pt x="f57" y="f58"/>
                    <a:pt x="f57" y="f59"/>
                  </a:cubicBezTo>
                  <a:cubicBezTo>
                    <a:pt x="f57" y="f60"/>
                    <a:pt x="f61" y="f62"/>
                    <a:pt x="f63" y="f64"/>
                  </a:cubicBezTo>
                  <a:lnTo>
                    <a:pt x="f65" y="f66"/>
                  </a:lnTo>
                  <a:lnTo>
                    <a:pt x="f67" y="f68"/>
                  </a:lnTo>
                  <a:lnTo>
                    <a:pt x="f69" y="f70"/>
                  </a:lnTo>
                  <a:cubicBezTo>
                    <a:pt x="f71" y="f72"/>
                    <a:pt x="f73" y="f74"/>
                    <a:pt x="f75" y="f74"/>
                  </a:cubicBezTo>
                  <a:cubicBezTo>
                    <a:pt x="f76" y="f74"/>
                    <a:pt x="f77" y="f78"/>
                    <a:pt x="f79" y="f18"/>
                  </a:cubicBezTo>
                  <a:cubicBezTo>
                    <a:pt x="f77" y="f80"/>
                    <a:pt x="f81" y="f82"/>
                    <a:pt x="f83" y="f84"/>
                  </a:cubicBezTo>
                  <a:cubicBezTo>
                    <a:pt x="f85" y="f82"/>
                    <a:pt x="f86" y="f87"/>
                    <a:pt x="f88" y="f89"/>
                  </a:cubicBezTo>
                  <a:lnTo>
                    <a:pt x="f90" y="f91"/>
                  </a:lnTo>
                  <a:lnTo>
                    <a:pt x="f92" y="f93"/>
                  </a:lnTo>
                  <a:lnTo>
                    <a:pt x="f94" y="f95"/>
                  </a:lnTo>
                  <a:cubicBezTo>
                    <a:pt x="f96" y="f97"/>
                    <a:pt x="f98" y="f99"/>
                    <a:pt x="f98" y="f100"/>
                  </a:cubicBezTo>
                  <a:cubicBezTo>
                    <a:pt x="f98" y="f101"/>
                    <a:pt x="f102" y="f103"/>
                    <a:pt x="f104" y="f103"/>
                  </a:cubicBezTo>
                  <a:cubicBezTo>
                    <a:pt x="f105" y="f103"/>
                    <a:pt x="f106" y="f101"/>
                    <a:pt x="f106" y="f100"/>
                  </a:cubicBezTo>
                  <a:cubicBezTo>
                    <a:pt x="f106" y="f99"/>
                    <a:pt x="f107" y="f97"/>
                    <a:pt x="f108" y="f95"/>
                  </a:cubicBezTo>
                  <a:lnTo>
                    <a:pt x="f109" y="f110"/>
                  </a:lnTo>
                  <a:lnTo>
                    <a:pt x="f111" y="f112"/>
                  </a:lnTo>
                  <a:lnTo>
                    <a:pt x="f113" y="f114"/>
                  </a:lnTo>
                  <a:cubicBezTo>
                    <a:pt x="f115" y="f116"/>
                    <a:pt x="f117" y="f118"/>
                    <a:pt x="f119" y="f118"/>
                  </a:cubicBezTo>
                  <a:cubicBezTo>
                    <a:pt x="f120" y="f118"/>
                    <a:pt x="f121" y="f122"/>
                    <a:pt x="f123" y="f36"/>
                  </a:cubicBezTo>
                  <a:cubicBezTo>
                    <a:pt x="f121" y="f124"/>
                    <a:pt x="f120" y="f125"/>
                    <a:pt x="f119" y="f126"/>
                  </a:cubicBezTo>
                  <a:cubicBezTo>
                    <a:pt x="f127" y="f125"/>
                    <a:pt x="f128" y="f129"/>
                    <a:pt x="f130" y="f131"/>
                  </a:cubicBezTo>
                  <a:lnTo>
                    <a:pt x="f132" y="f133"/>
                  </a:lnTo>
                  <a:lnTo>
                    <a:pt x="f134" y="f135"/>
                  </a:lnTo>
                  <a:lnTo>
                    <a:pt x="f136" y="f137"/>
                  </a:lnTo>
                  <a:cubicBezTo>
                    <a:pt x="f138" y="f139"/>
                    <a:pt x="f140" y="f141"/>
                    <a:pt x="f140" y="f59"/>
                  </a:cubicBezTo>
                  <a:cubicBezTo>
                    <a:pt x="f140" y="f58"/>
                    <a:pt x="f142" y="f55"/>
                    <a:pt x="f54" y="f55"/>
                  </a:cubicBezTo>
                  <a:close/>
                  <a:moveTo>
                    <a:pt x="f143" y="f7"/>
                  </a:moveTo>
                  <a:lnTo>
                    <a:pt x="f144" y="f145"/>
                  </a:lnTo>
                  <a:lnTo>
                    <a:pt x="f6" y="f145"/>
                  </a:lnTo>
                  <a:lnTo>
                    <a:pt x="f146" y="f5"/>
                  </a:lnTo>
                  <a:lnTo>
                    <a:pt x="f147" y="f145"/>
                  </a:lnTo>
                  <a:lnTo>
                    <a:pt x="f5" y="f145"/>
                  </a:lnTo>
                  <a:close/>
                </a:path>
              </a:pathLst>
            </a:custGeom>
            <a:solidFill>
              <a:srgbClr val="0078D7">
                <a:alpha val="95000"/>
              </a:srgbClr>
            </a:solidFill>
            <a:ln cap="flat">
              <a:noFill/>
              <a:prstDash val="solid"/>
            </a:ln>
          </p:spPr>
          <p:txBody>
            <a:bodyPr vert="horz" wrap="square" lIns="175735" tIns="140588" rIns="175735" bIns="140588" anchor="t" anchorCtr="1" compatLnSpc="1">
              <a:noAutofit/>
            </a:bodyPr>
            <a:lstStyle/>
            <a:p>
              <a:pPr marL="0" marR="0" lvl="0" indent="0" algn="ctr" defTabSz="895919"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2307" b="0" i="0" u="none" strike="noStrike" kern="0" cap="none" spc="0" normalizeH="0" baseline="0" noProof="0">
                <a:ln>
                  <a:noFill/>
                </a:ln>
                <a:solidFill>
                  <a:srgbClr val="000000"/>
                </a:solidFill>
                <a:effectLst/>
                <a:uLnTx/>
                <a:uFillTx/>
                <a:latin typeface="Segoe UI Semilight"/>
                <a:ea typeface="Segoe UI" pitchFamily="34"/>
                <a:cs typeface="Segoe UI" pitchFamily="34"/>
              </a:endParaRPr>
            </a:p>
          </p:txBody>
        </p:sp>
      </p:grpSp>
      <p:sp>
        <p:nvSpPr>
          <p:cNvPr id="466" name="Rectangle 465">
            <a:extLst>
              <a:ext uri="{FF2B5EF4-FFF2-40B4-BE49-F238E27FC236}">
                <a16:creationId xmlns:a16="http://schemas.microsoft.com/office/drawing/2014/main" id="{2C6FC2B9-135D-4639-9E09-3B3639AC350D}"/>
              </a:ext>
            </a:extLst>
          </p:cNvPr>
          <p:cNvSpPr/>
          <p:nvPr/>
        </p:nvSpPr>
        <p:spPr>
          <a:xfrm>
            <a:off x="4839526" y="3863284"/>
            <a:ext cx="1958761" cy="579315"/>
          </a:xfrm>
          <a:prstGeom prst="rect">
            <a:avLst/>
          </a:prstGeom>
        </p:spPr>
        <p:txBody>
          <a:bodyPr wrap="square">
            <a:spAutoFit/>
          </a:bodyPr>
          <a:lstStyle/>
          <a:p>
            <a:pPr marL="0" marR="0" lvl="0" indent="0" algn="ctr" defTabSz="896182"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765" b="0" i="0" u="none" strike="noStrike" kern="0" cap="none" spc="0" normalizeH="0" baseline="0" noProof="0" dirty="0">
                <a:ln>
                  <a:noFill/>
                </a:ln>
                <a:solidFill>
                  <a:srgbClr val="000000"/>
                </a:solidFill>
                <a:effectLst/>
                <a:uLnTx/>
                <a:uFillTx/>
                <a:latin typeface="Segoe UI Semilight"/>
                <a:ea typeface="+mn-ea"/>
                <a:cs typeface="+mn-cs"/>
              </a:rPr>
              <a:t>Microsoft Azure </a:t>
            </a:r>
          </a:p>
          <a:p>
            <a:pPr marL="0" marR="0" lvl="0" indent="0" algn="ctr" defTabSz="896182"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765" b="0" i="0" u="none" strike="noStrike" kern="0" cap="none" spc="0" normalizeH="0" baseline="0" noProof="0" dirty="0">
                <a:ln>
                  <a:noFill/>
                </a:ln>
                <a:solidFill>
                  <a:srgbClr val="000000"/>
                </a:solidFill>
                <a:effectLst/>
                <a:uLnTx/>
                <a:uFillTx/>
                <a:latin typeface="Segoe UI Semilight"/>
                <a:ea typeface="+mn-ea"/>
                <a:cs typeface="+mn-cs"/>
              </a:rPr>
              <a:t>Active Directory</a:t>
            </a:r>
          </a:p>
        </p:txBody>
      </p:sp>
    </p:spTree>
    <p:extLst>
      <p:ext uri="{BB962C8B-B14F-4D97-AF65-F5344CB8AC3E}">
        <p14:creationId xmlns:p14="http://schemas.microsoft.com/office/powerpoint/2010/main" val="18909763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461"/>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461"/>
                                        </p:tgtEl>
                                      </p:cBhvr>
                                      <p:by x="80000" y="80000"/>
                                    </p:animScale>
                                  </p:childTnLst>
                                </p:cTn>
                              </p:par>
                              <p:par>
                                <p:cTn id="9" presetID="21" presetClass="entr" presetSubtype="1" fill="hold" nodeType="withEffect">
                                  <p:stCondLst>
                                    <p:cond delay="500"/>
                                  </p:stCondLst>
                                  <p:childTnLst>
                                    <p:set>
                                      <p:cBhvr>
                                        <p:cTn id="10" dur="1" fill="hold">
                                          <p:stCondLst>
                                            <p:cond delay="0"/>
                                          </p:stCondLst>
                                        </p:cTn>
                                        <p:tgtEl>
                                          <p:spTgt spid="461"/>
                                        </p:tgtEl>
                                        <p:attrNameLst>
                                          <p:attrName>style.visibility</p:attrName>
                                        </p:attrNameLst>
                                      </p:cBhvr>
                                      <p:to>
                                        <p:strVal val="visible"/>
                                      </p:to>
                                    </p:set>
                                    <p:animEffect transition="in" filter="wheel(1)">
                                      <p:cBhvr>
                                        <p:cTn id="11" dur="500"/>
                                        <p:tgtEl>
                                          <p:spTgt spid="461"/>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466"/>
                                        </p:tgtEl>
                                        <p:attrNameLst>
                                          <p:attrName>style.visibility</p:attrName>
                                        </p:attrNameLst>
                                      </p:cBhvr>
                                      <p:to>
                                        <p:strVal val="visible"/>
                                      </p:to>
                                    </p:set>
                                    <p:animEffect transition="in" filter="fade">
                                      <p:cBhvr>
                                        <p:cTn id="14" dur="400"/>
                                        <p:tgtEl>
                                          <p:spTgt spid="466"/>
                                        </p:tgtEl>
                                      </p:cBhvr>
                                    </p:animEffect>
                                  </p:childTnLst>
                                </p:cTn>
                              </p:par>
                              <p:par>
                                <p:cTn id="15" presetID="42" presetClass="path" presetSubtype="0" decel="100000" fill="hold" grpId="1" nodeType="withEffect">
                                  <p:stCondLst>
                                    <p:cond delay="300"/>
                                  </p:stCondLst>
                                  <p:childTnLst>
                                    <p:animMotion origin="layout" path="M 1.04167E-6 -2.59259E-6 L 1.04167E-6 0.0963 " pathEditMode="relative" rAng="0" ptsTypes="AA">
                                      <p:cBhvr>
                                        <p:cTn id="16" dur="700" spd="-100000" fill="hold"/>
                                        <p:tgtEl>
                                          <p:spTgt spid="466"/>
                                        </p:tgtEl>
                                        <p:attrNameLst>
                                          <p:attrName>ppt_x</p:attrName>
                                          <p:attrName>ppt_y</p:attrName>
                                        </p:attrNameLst>
                                      </p:cBhvr>
                                      <p:rCtr x="0" y="4815"/>
                                    </p:animMotion>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425"/>
                                        </p:tgtEl>
                                        <p:attrNameLst>
                                          <p:attrName>style.visibility</p:attrName>
                                        </p:attrNameLst>
                                      </p:cBhvr>
                                      <p:to>
                                        <p:strVal val="visible"/>
                                      </p:to>
                                    </p:set>
                                    <p:animEffect transition="in" filter="fade">
                                      <p:cBhvr>
                                        <p:cTn id="20" dur="500"/>
                                        <p:tgtEl>
                                          <p:spTgt spid="425"/>
                                        </p:tgtEl>
                                      </p:cBhvr>
                                    </p:animEffect>
                                  </p:childTnLst>
                                </p:cTn>
                              </p:par>
                            </p:childTnLst>
                          </p:cTn>
                        </p:par>
                        <p:par>
                          <p:cTn id="21" fill="hold">
                            <p:stCondLst>
                              <p:cond delay="1500"/>
                            </p:stCondLst>
                            <p:childTnLst>
                              <p:par>
                                <p:cTn id="22" presetID="22" presetClass="entr" presetSubtype="4" fill="hold" grpId="0" nodeType="afterEffect">
                                  <p:stCondLst>
                                    <p:cond delay="0"/>
                                  </p:stCondLst>
                                  <p:childTnLst>
                                    <p:set>
                                      <p:cBhvr>
                                        <p:cTn id="23" dur="1" fill="hold">
                                          <p:stCondLst>
                                            <p:cond delay="0"/>
                                          </p:stCondLst>
                                        </p:cTn>
                                        <p:tgtEl>
                                          <p:spTgt spid="401"/>
                                        </p:tgtEl>
                                        <p:attrNameLst>
                                          <p:attrName>style.visibility</p:attrName>
                                        </p:attrNameLst>
                                      </p:cBhvr>
                                      <p:to>
                                        <p:strVal val="visible"/>
                                      </p:to>
                                    </p:set>
                                    <p:animEffect transition="in" filter="wipe(down)">
                                      <p:cBhvr>
                                        <p:cTn id="24" dur="250"/>
                                        <p:tgtEl>
                                          <p:spTgt spid="401"/>
                                        </p:tgtEl>
                                      </p:cBhvr>
                                    </p:animEffect>
                                  </p:childTnLst>
                                </p:cTn>
                              </p:par>
                              <p:par>
                                <p:cTn id="25" presetID="10" presetClass="entr" presetSubtype="0" fill="hold" nodeType="withEffect">
                                  <p:stCondLst>
                                    <p:cond delay="0"/>
                                  </p:stCondLst>
                                  <p:childTnLst>
                                    <p:set>
                                      <p:cBhvr>
                                        <p:cTn id="26" dur="1" fill="hold">
                                          <p:stCondLst>
                                            <p:cond delay="0"/>
                                          </p:stCondLst>
                                        </p:cTn>
                                        <p:tgtEl>
                                          <p:spTgt spid="458"/>
                                        </p:tgtEl>
                                        <p:attrNameLst>
                                          <p:attrName>style.visibility</p:attrName>
                                        </p:attrNameLst>
                                      </p:cBhvr>
                                      <p:to>
                                        <p:strVal val="visible"/>
                                      </p:to>
                                    </p:set>
                                    <p:animEffect transition="in" filter="fade">
                                      <p:cBhvr>
                                        <p:cTn id="27" dur="750"/>
                                        <p:tgtEl>
                                          <p:spTgt spid="458"/>
                                        </p:tgtEl>
                                      </p:cBhvr>
                                    </p:animEffect>
                                  </p:childTnLst>
                                </p:cTn>
                              </p:par>
                              <p:par>
                                <p:cTn id="28" presetID="8" presetClass="emph" presetSubtype="0" fill="hold" nodeType="withEffect">
                                  <p:stCondLst>
                                    <p:cond delay="0"/>
                                  </p:stCondLst>
                                  <p:childTnLst>
                                    <p:animRot by="21600000">
                                      <p:cBhvr>
                                        <p:cTn id="29" dur="1500" fill="hold"/>
                                        <p:tgtEl>
                                          <p:spTgt spid="458"/>
                                        </p:tgtEl>
                                        <p:attrNameLst>
                                          <p:attrName>r</p:attrName>
                                        </p:attrNameLst>
                                      </p:cBhvr>
                                    </p:animRo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402"/>
                                        </p:tgtEl>
                                        <p:attrNameLst>
                                          <p:attrName>style.visibility</p:attrName>
                                        </p:attrNameLst>
                                      </p:cBhvr>
                                      <p:to>
                                        <p:strVal val="visible"/>
                                      </p:to>
                                    </p:set>
                                    <p:animEffect transition="in" filter="fade">
                                      <p:cBhvr>
                                        <p:cTn id="33" dur="500"/>
                                        <p:tgtEl>
                                          <p:spTgt spid="402"/>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99"/>
                                        </p:tgtEl>
                                        <p:attrNameLst>
                                          <p:attrName>style.visibility</p:attrName>
                                        </p:attrNameLst>
                                      </p:cBhvr>
                                      <p:to>
                                        <p:strVal val="visible"/>
                                      </p:to>
                                    </p:set>
                                    <p:animEffect transition="in" filter="fade">
                                      <p:cBhvr>
                                        <p:cTn id="36" dur="500"/>
                                        <p:tgtEl>
                                          <p:spTgt spid="399"/>
                                        </p:tgtEl>
                                      </p:cBhvr>
                                    </p:animEffect>
                                  </p:childTnLst>
                                </p:cTn>
                              </p:par>
                            </p:childTnLst>
                          </p:cTn>
                        </p:par>
                        <p:par>
                          <p:cTn id="37" fill="hold">
                            <p:stCondLst>
                              <p:cond delay="3750"/>
                            </p:stCondLst>
                            <p:childTnLst>
                              <p:par>
                                <p:cTn id="38" presetID="22" presetClass="entr" presetSubtype="1" fill="hold" grpId="0" nodeType="afterEffect">
                                  <p:stCondLst>
                                    <p:cond delay="0"/>
                                  </p:stCondLst>
                                  <p:childTnLst>
                                    <p:set>
                                      <p:cBhvr>
                                        <p:cTn id="39" dur="1" fill="hold">
                                          <p:stCondLst>
                                            <p:cond delay="0"/>
                                          </p:stCondLst>
                                        </p:cTn>
                                        <p:tgtEl>
                                          <p:spTgt spid="396"/>
                                        </p:tgtEl>
                                        <p:attrNameLst>
                                          <p:attrName>style.visibility</p:attrName>
                                        </p:attrNameLst>
                                      </p:cBhvr>
                                      <p:to>
                                        <p:strVal val="visible"/>
                                      </p:to>
                                    </p:set>
                                    <p:animEffect transition="in" filter="wipe(up)">
                                      <p:cBhvr>
                                        <p:cTn id="40" dur="500"/>
                                        <p:tgtEl>
                                          <p:spTgt spid="396"/>
                                        </p:tgtEl>
                                      </p:cBhvr>
                                    </p:animEffect>
                                  </p:childTnLst>
                                </p:cTn>
                              </p:par>
                            </p:childTnLst>
                          </p:cTn>
                        </p:par>
                        <p:par>
                          <p:cTn id="41" fill="hold">
                            <p:stCondLst>
                              <p:cond delay="4250"/>
                            </p:stCondLst>
                            <p:childTnLst>
                              <p:par>
                                <p:cTn id="42" presetID="10" presetClass="entr" presetSubtype="0" fill="hold" nodeType="afterEffect">
                                  <p:stCondLst>
                                    <p:cond delay="0"/>
                                  </p:stCondLst>
                                  <p:childTnLst>
                                    <p:set>
                                      <p:cBhvr>
                                        <p:cTn id="43" dur="1" fill="hold">
                                          <p:stCondLst>
                                            <p:cond delay="0"/>
                                          </p:stCondLst>
                                        </p:cTn>
                                        <p:tgtEl>
                                          <p:spTgt spid="420"/>
                                        </p:tgtEl>
                                        <p:attrNameLst>
                                          <p:attrName>style.visibility</p:attrName>
                                        </p:attrNameLst>
                                      </p:cBhvr>
                                      <p:to>
                                        <p:strVal val="visible"/>
                                      </p:to>
                                    </p:set>
                                    <p:animEffect transition="in" filter="fade">
                                      <p:cBhvr>
                                        <p:cTn id="44" dur="500"/>
                                        <p:tgtEl>
                                          <p:spTgt spid="420"/>
                                        </p:tgtEl>
                                      </p:cBhvr>
                                    </p:animEffect>
                                  </p:childTnLst>
                                </p:cTn>
                              </p:par>
                              <p:par>
                                <p:cTn id="45" presetID="22" presetClass="entr" presetSubtype="8" fill="hold" grpId="0" nodeType="withEffect">
                                  <p:stCondLst>
                                    <p:cond delay="250"/>
                                  </p:stCondLst>
                                  <p:childTnLst>
                                    <p:set>
                                      <p:cBhvr>
                                        <p:cTn id="46" dur="1" fill="hold">
                                          <p:stCondLst>
                                            <p:cond delay="0"/>
                                          </p:stCondLst>
                                        </p:cTn>
                                        <p:tgtEl>
                                          <p:spTgt spid="410"/>
                                        </p:tgtEl>
                                        <p:attrNameLst>
                                          <p:attrName>style.visibility</p:attrName>
                                        </p:attrNameLst>
                                      </p:cBhvr>
                                      <p:to>
                                        <p:strVal val="visible"/>
                                      </p:to>
                                    </p:set>
                                    <p:animEffect transition="in" filter="wipe(left)">
                                      <p:cBhvr>
                                        <p:cTn id="47" dur="500"/>
                                        <p:tgtEl>
                                          <p:spTgt spid="41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00"/>
                                        </p:tgtEl>
                                        <p:attrNameLst>
                                          <p:attrName>style.visibility</p:attrName>
                                        </p:attrNameLst>
                                      </p:cBhvr>
                                      <p:to>
                                        <p:strVal val="visible"/>
                                      </p:to>
                                    </p:set>
                                    <p:animEffect transition="in" filter="fade">
                                      <p:cBhvr>
                                        <p:cTn id="52" dur="500"/>
                                        <p:tgtEl>
                                          <p:spTgt spid="400"/>
                                        </p:tgtEl>
                                      </p:cBhvr>
                                    </p:animEffect>
                                  </p:childTnLst>
                                </p:cTn>
                              </p:par>
                              <p:par>
                                <p:cTn id="53" presetID="22" presetClass="entr" presetSubtype="4" fill="hold" grpId="0" nodeType="withEffect">
                                  <p:stCondLst>
                                    <p:cond delay="0"/>
                                  </p:stCondLst>
                                  <p:childTnLst>
                                    <p:set>
                                      <p:cBhvr>
                                        <p:cTn id="54" dur="1" fill="hold">
                                          <p:stCondLst>
                                            <p:cond delay="0"/>
                                          </p:stCondLst>
                                        </p:cTn>
                                        <p:tgtEl>
                                          <p:spTgt spid="397"/>
                                        </p:tgtEl>
                                        <p:attrNameLst>
                                          <p:attrName>style.visibility</p:attrName>
                                        </p:attrNameLst>
                                      </p:cBhvr>
                                      <p:to>
                                        <p:strVal val="visible"/>
                                      </p:to>
                                    </p:set>
                                    <p:animEffect transition="in" filter="wipe(down)">
                                      <p:cBhvr>
                                        <p:cTn id="55" dur="500"/>
                                        <p:tgtEl>
                                          <p:spTgt spid="397"/>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389"/>
                                        </p:tgtEl>
                                        <p:attrNameLst>
                                          <p:attrName>style.visibility</p:attrName>
                                        </p:attrNameLst>
                                      </p:cBhvr>
                                      <p:to>
                                        <p:strVal val="visible"/>
                                      </p:to>
                                    </p:set>
                                    <p:animEffect transition="in" filter="fade">
                                      <p:cBhvr>
                                        <p:cTn id="59" dur="500"/>
                                        <p:tgtEl>
                                          <p:spTgt spid="38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98"/>
                                        </p:tgtEl>
                                        <p:attrNameLst>
                                          <p:attrName>style.visibility</p:attrName>
                                        </p:attrNameLst>
                                      </p:cBhvr>
                                      <p:to>
                                        <p:strVal val="visible"/>
                                      </p:to>
                                    </p:set>
                                    <p:animEffect transition="in" filter="fade">
                                      <p:cBhvr>
                                        <p:cTn id="62" dur="500"/>
                                        <p:tgtEl>
                                          <p:spTgt spid="398"/>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413"/>
                                        </p:tgtEl>
                                        <p:attrNameLst>
                                          <p:attrName>style.visibility</p:attrName>
                                        </p:attrNameLst>
                                      </p:cBhvr>
                                      <p:to>
                                        <p:strVal val="visible"/>
                                      </p:to>
                                    </p:set>
                                    <p:animEffect transition="in" filter="fade">
                                      <p:cBhvr>
                                        <p:cTn id="67" dur="300"/>
                                        <p:tgtEl>
                                          <p:spTgt spid="413"/>
                                        </p:tgtEl>
                                      </p:cBhvr>
                                    </p:animEffect>
                                  </p:childTnLst>
                                </p:cTn>
                              </p:par>
                            </p:childTnLst>
                          </p:cTn>
                        </p:par>
                        <p:par>
                          <p:cTn id="68" fill="hold">
                            <p:stCondLst>
                              <p:cond delay="300"/>
                            </p:stCondLst>
                            <p:childTnLst>
                              <p:par>
                                <p:cTn id="69" presetID="22" presetClass="entr" presetSubtype="8" fill="hold" grpId="0" nodeType="afterEffect">
                                  <p:stCondLst>
                                    <p:cond delay="0"/>
                                  </p:stCondLst>
                                  <p:childTnLst>
                                    <p:set>
                                      <p:cBhvr>
                                        <p:cTn id="70" dur="1" fill="hold">
                                          <p:stCondLst>
                                            <p:cond delay="0"/>
                                          </p:stCondLst>
                                        </p:cTn>
                                        <p:tgtEl>
                                          <p:spTgt spid="411"/>
                                        </p:tgtEl>
                                        <p:attrNameLst>
                                          <p:attrName>style.visibility</p:attrName>
                                        </p:attrNameLst>
                                      </p:cBhvr>
                                      <p:to>
                                        <p:strVal val="visible"/>
                                      </p:to>
                                    </p:set>
                                    <p:animEffect transition="in" filter="wipe(left)">
                                      <p:cBhvr>
                                        <p:cTn id="71" dur="500"/>
                                        <p:tgtEl>
                                          <p:spTgt spid="411"/>
                                        </p:tgtEl>
                                      </p:cBhvr>
                                    </p:animEffect>
                                  </p:childTnLst>
                                </p:cTn>
                              </p:par>
                              <p:par>
                                <p:cTn id="72" presetID="22" presetClass="exit" presetSubtype="8" fill="hold" grpId="1" nodeType="withEffect">
                                  <p:stCondLst>
                                    <p:cond delay="300"/>
                                  </p:stCondLst>
                                  <p:childTnLst>
                                    <p:animEffect transition="out" filter="wipe(left)">
                                      <p:cBhvr>
                                        <p:cTn id="73" dur="500"/>
                                        <p:tgtEl>
                                          <p:spTgt spid="410"/>
                                        </p:tgtEl>
                                      </p:cBhvr>
                                    </p:animEffect>
                                    <p:set>
                                      <p:cBhvr>
                                        <p:cTn id="74" dur="1" fill="hold">
                                          <p:stCondLst>
                                            <p:cond delay="499"/>
                                          </p:stCondLst>
                                        </p:cTn>
                                        <p:tgtEl>
                                          <p:spTgt spid="410"/>
                                        </p:tgtEl>
                                        <p:attrNameLst>
                                          <p:attrName>style.visibility</p:attrName>
                                        </p:attrNameLst>
                                      </p:cBhvr>
                                      <p:to>
                                        <p:strVal val="hidden"/>
                                      </p:to>
                                    </p:set>
                                  </p:childTnLst>
                                </p:cTn>
                              </p:par>
                              <p:par>
                                <p:cTn id="75" presetID="10" presetClass="entr" presetSubtype="0" fill="hold" grpId="0" nodeType="withEffect">
                                  <p:stCondLst>
                                    <p:cond delay="300"/>
                                  </p:stCondLst>
                                  <p:childTnLst>
                                    <p:set>
                                      <p:cBhvr>
                                        <p:cTn id="76" dur="1" fill="hold">
                                          <p:stCondLst>
                                            <p:cond delay="0"/>
                                          </p:stCondLst>
                                        </p:cTn>
                                        <p:tgtEl>
                                          <p:spTgt spid="412"/>
                                        </p:tgtEl>
                                        <p:attrNameLst>
                                          <p:attrName>style.visibility</p:attrName>
                                        </p:attrNameLst>
                                      </p:cBhvr>
                                      <p:to>
                                        <p:strVal val="visible"/>
                                      </p:to>
                                    </p:set>
                                    <p:animEffect transition="in" filter="fade">
                                      <p:cBhvr>
                                        <p:cTn id="77" dur="500"/>
                                        <p:tgtEl>
                                          <p:spTgt spid="4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6" grpId="0" animBg="1"/>
      <p:bldP spid="397" grpId="0" animBg="1"/>
      <p:bldP spid="398" grpId="0"/>
      <p:bldP spid="399" grpId="0"/>
      <p:bldP spid="400" grpId="0" animBg="1"/>
      <p:bldP spid="401" grpId="0" animBg="1"/>
      <p:bldP spid="410" grpId="0" animBg="1"/>
      <p:bldP spid="410" grpId="1" animBg="1"/>
      <p:bldP spid="411" grpId="0" animBg="1"/>
      <p:bldP spid="412" grpId="0"/>
      <p:bldP spid="466" grpId="0"/>
      <p:bldP spid="466"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zure Active Directory B2C</a:t>
            </a:r>
          </a:p>
        </p:txBody>
      </p:sp>
      <p:grpSp>
        <p:nvGrpSpPr>
          <p:cNvPr id="9" name="Group 8">
            <a:extLst>
              <a:ext uri="{FF2B5EF4-FFF2-40B4-BE49-F238E27FC236}">
                <a16:creationId xmlns:a16="http://schemas.microsoft.com/office/drawing/2014/main" id="{7E9D6D53-40F4-49C5-A975-A1E39EB969DA}"/>
              </a:ext>
            </a:extLst>
          </p:cNvPr>
          <p:cNvGrpSpPr/>
          <p:nvPr/>
        </p:nvGrpSpPr>
        <p:grpSpPr>
          <a:xfrm>
            <a:off x="806999" y="2159064"/>
            <a:ext cx="4048692" cy="905179"/>
            <a:chOff x="806248" y="2097245"/>
            <a:chExt cx="4049267" cy="905308"/>
          </a:xfrm>
        </p:grpSpPr>
        <p:sp>
          <p:nvSpPr>
            <p:cNvPr id="60" name="Rectangle 59">
              <a:extLst>
                <a:ext uri="{FF2B5EF4-FFF2-40B4-BE49-F238E27FC236}">
                  <a16:creationId xmlns:a16="http://schemas.microsoft.com/office/drawing/2014/main" id="{F389771A-2E8C-4886-AE13-0A951384418B}"/>
                </a:ext>
              </a:extLst>
            </p:cNvPr>
            <p:cNvSpPr/>
            <p:nvPr/>
          </p:nvSpPr>
          <p:spPr>
            <a:xfrm>
              <a:off x="1197915" y="2097245"/>
              <a:ext cx="3657600" cy="905308"/>
            </a:xfrm>
            <a:prstGeom prst="rect">
              <a:avLst/>
            </a:prstGeom>
          </p:spPr>
          <p:txBody>
            <a:bodyPr wrap="square">
              <a:spAutoFit/>
            </a:bodyPr>
            <a:lstStyle/>
            <a:p>
              <a:pPr defTabSz="913927" fontAlgn="base">
                <a:lnSpc>
                  <a:spcPct val="90000"/>
                </a:lnSpc>
                <a:spcBef>
                  <a:spcPts val="588"/>
                </a:spcBef>
                <a:spcAft>
                  <a:spcPct val="0"/>
                </a:spcAft>
                <a:defRPr/>
              </a:pPr>
              <a:r>
                <a:rPr lang="en-US" sz="1961" dirty="0">
                  <a:solidFill>
                    <a:srgbClr val="505050"/>
                  </a:solidFill>
                  <a:latin typeface="Segoe UI Semilight"/>
                  <a:ea typeface="Segoe UI" pitchFamily="34" charset="0"/>
                  <a:cs typeface="Segoe UI" pitchFamily="34" charset="0"/>
                </a:rPr>
                <a:t>Securely authenticate your customers using their preferred identity provider</a:t>
              </a:r>
            </a:p>
          </p:txBody>
        </p:sp>
        <p:sp>
          <p:nvSpPr>
            <p:cNvPr id="308" name="Freeform 9">
              <a:extLst>
                <a:ext uri="{FF2B5EF4-FFF2-40B4-BE49-F238E27FC236}">
                  <a16:creationId xmlns:a16="http://schemas.microsoft.com/office/drawing/2014/main" id="{0627F9C1-7E23-424F-9BBB-AE9AECE505D6}"/>
                </a:ext>
              </a:extLst>
            </p:cNvPr>
            <p:cNvSpPr>
              <a:spLocks noEditPoints="1"/>
            </p:cNvSpPr>
            <p:nvPr/>
          </p:nvSpPr>
          <p:spPr bwMode="black">
            <a:xfrm>
              <a:off x="806248" y="2158162"/>
              <a:ext cx="358570" cy="35857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solidFill>
                <a:srgbClr val="0078D7"/>
              </a:solidFill>
            </a:ln>
            <a:extLst/>
          </p:spPr>
          <p:txBody>
            <a:bodyPr vert="horz" wrap="square" lIns="91431" tIns="45715" rIns="91431" bIns="45715" numCol="1" anchor="t" anchorCtr="0" compatLnSpc="1">
              <a:prstTxWarp prst="textNoShape">
                <a:avLst/>
              </a:prstTxWarp>
            </a:bodyPr>
            <a:lstStyle/>
            <a:p>
              <a:pPr defTabSz="914192">
                <a:defRPr/>
              </a:pPr>
              <a:endParaRPr lang="en-US" sz="1961" dirty="0">
                <a:solidFill>
                  <a:srgbClr val="000000"/>
                </a:solidFill>
                <a:latin typeface="Segoe UI Semilight"/>
              </a:endParaRPr>
            </a:p>
          </p:txBody>
        </p:sp>
      </p:grpSp>
      <p:grpSp>
        <p:nvGrpSpPr>
          <p:cNvPr id="6" name="Group 5">
            <a:extLst>
              <a:ext uri="{FF2B5EF4-FFF2-40B4-BE49-F238E27FC236}">
                <a16:creationId xmlns:a16="http://schemas.microsoft.com/office/drawing/2014/main" id="{FA7CFF9D-575A-4055-8A62-B344FACA2FFF}"/>
              </a:ext>
            </a:extLst>
          </p:cNvPr>
          <p:cNvGrpSpPr/>
          <p:nvPr/>
        </p:nvGrpSpPr>
        <p:grpSpPr>
          <a:xfrm>
            <a:off x="806999" y="3279594"/>
            <a:ext cx="4048692" cy="633625"/>
            <a:chOff x="806248" y="2998615"/>
            <a:chExt cx="4049267" cy="633715"/>
          </a:xfrm>
        </p:grpSpPr>
        <p:sp>
          <p:nvSpPr>
            <p:cNvPr id="68" name="Rectangle 67">
              <a:extLst>
                <a:ext uri="{FF2B5EF4-FFF2-40B4-BE49-F238E27FC236}">
                  <a16:creationId xmlns:a16="http://schemas.microsoft.com/office/drawing/2014/main" id="{EC5366A6-409E-4858-87FF-4ACBF52CDA42}"/>
                </a:ext>
              </a:extLst>
            </p:cNvPr>
            <p:cNvSpPr/>
            <p:nvPr/>
          </p:nvSpPr>
          <p:spPr>
            <a:xfrm>
              <a:off x="1197915" y="2998615"/>
              <a:ext cx="3657600" cy="633715"/>
            </a:xfrm>
            <a:prstGeom prst="rect">
              <a:avLst/>
            </a:prstGeom>
          </p:spPr>
          <p:txBody>
            <a:bodyPr wrap="square">
              <a:spAutoFit/>
            </a:bodyPr>
            <a:lstStyle/>
            <a:p>
              <a:pPr defTabSz="913927" fontAlgn="base">
                <a:lnSpc>
                  <a:spcPct val="90000"/>
                </a:lnSpc>
                <a:spcBef>
                  <a:spcPts val="588"/>
                </a:spcBef>
                <a:spcAft>
                  <a:spcPct val="0"/>
                </a:spcAft>
                <a:defRPr/>
              </a:pPr>
              <a:r>
                <a:rPr lang="en-US" sz="1961" dirty="0">
                  <a:solidFill>
                    <a:srgbClr val="505050"/>
                  </a:solidFill>
                  <a:latin typeface="Segoe UI Semilight"/>
                  <a:ea typeface="Segoe UI" pitchFamily="34" charset="0"/>
                  <a:cs typeface="Segoe UI" pitchFamily="34" charset="0"/>
                </a:rPr>
                <a:t>Capture login, preference, and conversion data for customers</a:t>
              </a:r>
            </a:p>
          </p:txBody>
        </p:sp>
        <p:sp>
          <p:nvSpPr>
            <p:cNvPr id="309" name="Freeform 9">
              <a:extLst>
                <a:ext uri="{FF2B5EF4-FFF2-40B4-BE49-F238E27FC236}">
                  <a16:creationId xmlns:a16="http://schemas.microsoft.com/office/drawing/2014/main" id="{E8C06C47-6D96-448C-906F-B2CFB1204221}"/>
                </a:ext>
              </a:extLst>
            </p:cNvPr>
            <p:cNvSpPr>
              <a:spLocks noEditPoints="1"/>
            </p:cNvSpPr>
            <p:nvPr/>
          </p:nvSpPr>
          <p:spPr bwMode="black">
            <a:xfrm>
              <a:off x="806248" y="3065205"/>
              <a:ext cx="358570" cy="35857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noFill/>
            </a:ln>
            <a:extLst/>
          </p:spPr>
          <p:txBody>
            <a:bodyPr vert="horz" wrap="square" lIns="91431" tIns="45715" rIns="91431" bIns="45715" numCol="1" anchor="t" anchorCtr="0" compatLnSpc="1">
              <a:prstTxWarp prst="textNoShape">
                <a:avLst/>
              </a:prstTxWarp>
            </a:bodyPr>
            <a:lstStyle/>
            <a:p>
              <a:pPr defTabSz="914192">
                <a:defRPr/>
              </a:pPr>
              <a:endParaRPr lang="en-US" sz="1961" dirty="0">
                <a:solidFill>
                  <a:srgbClr val="000000"/>
                </a:solidFill>
                <a:latin typeface="Segoe UI Semilight"/>
              </a:endParaRPr>
            </a:p>
          </p:txBody>
        </p:sp>
      </p:grpSp>
      <p:grpSp>
        <p:nvGrpSpPr>
          <p:cNvPr id="10" name="Group 9">
            <a:extLst>
              <a:ext uri="{FF2B5EF4-FFF2-40B4-BE49-F238E27FC236}">
                <a16:creationId xmlns:a16="http://schemas.microsoft.com/office/drawing/2014/main" id="{A86316D5-EF1F-4B23-90D5-E224AFCBB944}"/>
              </a:ext>
            </a:extLst>
          </p:cNvPr>
          <p:cNvGrpSpPr/>
          <p:nvPr/>
        </p:nvGrpSpPr>
        <p:grpSpPr>
          <a:xfrm>
            <a:off x="806999" y="4176019"/>
            <a:ext cx="4048693" cy="905179"/>
            <a:chOff x="806248" y="3743579"/>
            <a:chExt cx="4049268" cy="905308"/>
          </a:xfrm>
        </p:grpSpPr>
        <p:sp>
          <p:nvSpPr>
            <p:cNvPr id="69" name="Rectangle 68">
              <a:extLst>
                <a:ext uri="{FF2B5EF4-FFF2-40B4-BE49-F238E27FC236}">
                  <a16:creationId xmlns:a16="http://schemas.microsoft.com/office/drawing/2014/main" id="{F7F69A80-1749-4ED5-BA5E-A436C0068F7D}"/>
                </a:ext>
              </a:extLst>
            </p:cNvPr>
            <p:cNvSpPr/>
            <p:nvPr/>
          </p:nvSpPr>
          <p:spPr>
            <a:xfrm>
              <a:off x="1197916" y="3743579"/>
              <a:ext cx="3657600" cy="905308"/>
            </a:xfrm>
            <a:prstGeom prst="rect">
              <a:avLst/>
            </a:prstGeom>
          </p:spPr>
          <p:txBody>
            <a:bodyPr wrap="square">
              <a:spAutoFit/>
            </a:bodyPr>
            <a:lstStyle/>
            <a:p>
              <a:pPr defTabSz="913927" fontAlgn="base">
                <a:lnSpc>
                  <a:spcPct val="90000"/>
                </a:lnSpc>
                <a:spcBef>
                  <a:spcPts val="588"/>
                </a:spcBef>
                <a:spcAft>
                  <a:spcPct val="0"/>
                </a:spcAft>
                <a:defRPr/>
              </a:pPr>
              <a:r>
                <a:rPr lang="en-US" sz="1961" dirty="0">
                  <a:solidFill>
                    <a:srgbClr val="505050"/>
                  </a:solidFill>
                  <a:latin typeface="Segoe UI Semilight"/>
                  <a:cs typeface="Segoe UI" pitchFamily="34" charset="0"/>
                </a:rPr>
                <a:t>Provide branded (white-label) registration and login experiences</a:t>
              </a:r>
            </a:p>
          </p:txBody>
        </p:sp>
        <p:sp>
          <p:nvSpPr>
            <p:cNvPr id="310" name="Freeform 9">
              <a:extLst>
                <a:ext uri="{FF2B5EF4-FFF2-40B4-BE49-F238E27FC236}">
                  <a16:creationId xmlns:a16="http://schemas.microsoft.com/office/drawing/2014/main" id="{9C05ED93-5019-4036-83DF-738D8BA7EE02}"/>
                </a:ext>
              </a:extLst>
            </p:cNvPr>
            <p:cNvSpPr>
              <a:spLocks noEditPoints="1"/>
            </p:cNvSpPr>
            <p:nvPr/>
          </p:nvSpPr>
          <p:spPr bwMode="black">
            <a:xfrm>
              <a:off x="806248" y="3768387"/>
              <a:ext cx="358570" cy="35857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noFill/>
            </a:ln>
            <a:extLst/>
          </p:spPr>
          <p:txBody>
            <a:bodyPr vert="horz" wrap="square" lIns="91431" tIns="45715" rIns="91431" bIns="45715" numCol="1" anchor="t" anchorCtr="0" compatLnSpc="1">
              <a:prstTxWarp prst="textNoShape">
                <a:avLst/>
              </a:prstTxWarp>
            </a:bodyPr>
            <a:lstStyle/>
            <a:p>
              <a:pPr defTabSz="914192">
                <a:defRPr/>
              </a:pPr>
              <a:endParaRPr lang="en-US" sz="1961" dirty="0">
                <a:solidFill>
                  <a:srgbClr val="000000"/>
                </a:solidFill>
                <a:latin typeface="Segoe UI Semilight"/>
              </a:endParaRPr>
            </a:p>
          </p:txBody>
        </p:sp>
      </p:grpSp>
      <p:sp useBgFill="1">
        <p:nvSpPr>
          <p:cNvPr id="8" name="Rectangle 7">
            <a:extLst>
              <a:ext uri="{FF2B5EF4-FFF2-40B4-BE49-F238E27FC236}">
                <a16:creationId xmlns:a16="http://schemas.microsoft.com/office/drawing/2014/main" id="{33BEB387-2B12-4E61-B056-FF7A86DC6759}"/>
              </a:ext>
            </a:extLst>
          </p:cNvPr>
          <p:cNvSpPr/>
          <p:nvPr/>
        </p:nvSpPr>
        <p:spPr bwMode="auto">
          <a:xfrm>
            <a:off x="3705534" y="6352172"/>
            <a:ext cx="4154698" cy="50534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07" name="Group 606">
            <a:extLst>
              <a:ext uri="{FF2B5EF4-FFF2-40B4-BE49-F238E27FC236}">
                <a16:creationId xmlns:a16="http://schemas.microsoft.com/office/drawing/2014/main" id="{2BC32276-2F7E-443C-9D15-9BC36669457E}"/>
              </a:ext>
            </a:extLst>
          </p:cNvPr>
          <p:cNvGrpSpPr/>
          <p:nvPr/>
        </p:nvGrpSpPr>
        <p:grpSpPr>
          <a:xfrm>
            <a:off x="5808852" y="1191487"/>
            <a:ext cx="5248366" cy="5248366"/>
            <a:chOff x="5925330" y="1214882"/>
            <a:chExt cx="5353607" cy="5353607"/>
          </a:xfrm>
        </p:grpSpPr>
        <p:pic>
          <p:nvPicPr>
            <p:cNvPr id="608" name="Picture 607">
              <a:extLst>
                <a:ext uri="{FF2B5EF4-FFF2-40B4-BE49-F238E27FC236}">
                  <a16:creationId xmlns:a16="http://schemas.microsoft.com/office/drawing/2014/main" id="{7806DE48-0077-491A-B04A-B5BAB8DAECA1}"/>
                </a:ext>
              </a:extLst>
            </p:cNvPr>
            <p:cNvPicPr>
              <a:picLocks noChangeAspect="1"/>
            </p:cNvPicPr>
            <p:nvPr/>
          </p:nvPicPr>
          <p:blipFill rotWithShape="1">
            <a:blip r:embed="rId3"/>
            <a:srcRect l="19388" t="18541" r="19624" b="20471"/>
            <a:stretch/>
          </p:blipFill>
          <p:spPr>
            <a:xfrm>
              <a:off x="5954766" y="1244318"/>
              <a:ext cx="5294734" cy="5294734"/>
            </a:xfrm>
            <a:prstGeom prst="ellipse">
              <a:avLst/>
            </a:prstGeom>
          </p:spPr>
        </p:pic>
        <p:sp>
          <p:nvSpPr>
            <p:cNvPr id="609" name="Oval 608">
              <a:extLst>
                <a:ext uri="{FF2B5EF4-FFF2-40B4-BE49-F238E27FC236}">
                  <a16:creationId xmlns:a16="http://schemas.microsoft.com/office/drawing/2014/main" id="{5593F418-F728-4437-9026-2472CB7557AA}"/>
                </a:ext>
              </a:extLst>
            </p:cNvPr>
            <p:cNvSpPr/>
            <p:nvPr/>
          </p:nvSpPr>
          <p:spPr bwMode="auto">
            <a:xfrm>
              <a:off x="5925330" y="1214882"/>
              <a:ext cx="5353607" cy="5353607"/>
            </a:xfrm>
            <a:prstGeom prst="ellipse">
              <a:avLst/>
            </a:prstGeom>
            <a:solidFill>
              <a:srgbClr val="E6E6E6">
                <a:alpha val="73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useBgFill="1">
        <p:nvSpPr>
          <p:cNvPr id="610" name="Rectangle: Rounded Corners 609">
            <a:extLst>
              <a:ext uri="{FF2B5EF4-FFF2-40B4-BE49-F238E27FC236}">
                <a16:creationId xmlns:a16="http://schemas.microsoft.com/office/drawing/2014/main" id="{19D01006-80B5-4879-8207-F6F26FA1B12B}"/>
              </a:ext>
            </a:extLst>
          </p:cNvPr>
          <p:cNvSpPr/>
          <p:nvPr/>
        </p:nvSpPr>
        <p:spPr bwMode="auto">
          <a:xfrm>
            <a:off x="5632536" y="3467424"/>
            <a:ext cx="5692082" cy="1800035"/>
          </a:xfrm>
          <a:prstGeom prst="roundRect">
            <a:avLst>
              <a:gd name="adj" fmla="val 6736"/>
            </a:avLst>
          </a:prstGeom>
          <a:solidFill>
            <a:srgbClr val="FFFFFF">
              <a:lumMod val="95000"/>
            </a:srgbClr>
          </a:solid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r>
              <a:rPr lang="en-US" sz="2307" kern="0" dirty="0">
                <a:gradFill>
                  <a:gsLst>
                    <a:gs pos="0">
                      <a:srgbClr val="FFFFFF"/>
                    </a:gs>
                    <a:gs pos="100000">
                      <a:srgbClr val="FFFFFF"/>
                    </a:gs>
                  </a:gsLst>
                  <a:lin ang="5400000" scaled="0"/>
                </a:gradFill>
                <a:latin typeface="Segoe UI Semilight"/>
                <a:cs typeface="Segoe UI" pitchFamily="34" charset="0"/>
              </a:rPr>
              <a:t>                      </a:t>
            </a:r>
          </a:p>
        </p:txBody>
      </p:sp>
      <p:grpSp>
        <p:nvGrpSpPr>
          <p:cNvPr id="611" name="Group 610">
            <a:extLst>
              <a:ext uri="{FF2B5EF4-FFF2-40B4-BE49-F238E27FC236}">
                <a16:creationId xmlns:a16="http://schemas.microsoft.com/office/drawing/2014/main" id="{DD7F7790-CBB9-4CBC-9322-B36F2DCBD534}"/>
              </a:ext>
            </a:extLst>
          </p:cNvPr>
          <p:cNvGrpSpPr/>
          <p:nvPr/>
        </p:nvGrpSpPr>
        <p:grpSpPr>
          <a:xfrm>
            <a:off x="5800288" y="3739620"/>
            <a:ext cx="2064793" cy="1270170"/>
            <a:chOff x="7858610" y="3788070"/>
            <a:chExt cx="2106196" cy="1295639"/>
          </a:xfrm>
        </p:grpSpPr>
        <p:sp>
          <p:nvSpPr>
            <p:cNvPr id="612" name="Rectangle 611">
              <a:extLst>
                <a:ext uri="{FF2B5EF4-FFF2-40B4-BE49-F238E27FC236}">
                  <a16:creationId xmlns:a16="http://schemas.microsoft.com/office/drawing/2014/main" id="{D311328E-2CCE-4A85-BBBC-1541C1EEF032}"/>
                </a:ext>
              </a:extLst>
            </p:cNvPr>
            <p:cNvSpPr/>
            <p:nvPr/>
          </p:nvSpPr>
          <p:spPr bwMode="auto">
            <a:xfrm>
              <a:off x="9516594" y="3788070"/>
              <a:ext cx="448212" cy="448212"/>
            </a:xfrm>
            <a:prstGeom prst="rect">
              <a:avLst/>
            </a:prstGeom>
            <a:solidFill>
              <a:srgbClr val="FFFFFF"/>
            </a:solidFill>
            <a:ln w="10795" cap="flat" cmpd="sng" algn="ctr">
              <a:noFill/>
              <a:prstDash val="solid"/>
              <a:headEnd type="none" w="med" len="med"/>
              <a:tailEnd type="none" w="med" len="med"/>
            </a:ln>
            <a:effectLst/>
          </p:spPr>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dirty="0">
                <a:gradFill>
                  <a:gsLst>
                    <a:gs pos="0">
                      <a:srgbClr val="FFFFFF"/>
                    </a:gs>
                    <a:gs pos="100000">
                      <a:srgbClr val="FFFFFF"/>
                    </a:gs>
                  </a:gsLst>
                  <a:lin ang="5400000" scaled="0"/>
                </a:gradFill>
                <a:latin typeface="Segoe UI Semilight"/>
              </a:endParaRPr>
            </a:p>
          </p:txBody>
        </p:sp>
        <p:grpSp>
          <p:nvGrpSpPr>
            <p:cNvPr id="613" name="Group 612">
              <a:extLst>
                <a:ext uri="{FF2B5EF4-FFF2-40B4-BE49-F238E27FC236}">
                  <a16:creationId xmlns:a16="http://schemas.microsoft.com/office/drawing/2014/main" id="{97375A9B-860E-472C-A7AF-5C9F18E0697D}"/>
                </a:ext>
              </a:extLst>
            </p:cNvPr>
            <p:cNvGrpSpPr/>
            <p:nvPr/>
          </p:nvGrpSpPr>
          <p:grpSpPr>
            <a:xfrm>
              <a:off x="8460613" y="3788070"/>
              <a:ext cx="453954" cy="936352"/>
              <a:chOff x="1211651" y="1487089"/>
              <a:chExt cx="453954" cy="936352"/>
            </a:xfrm>
          </p:grpSpPr>
          <p:pic>
            <p:nvPicPr>
              <p:cNvPr id="629" name="Picture 628" descr="A close up of a sign&#10;&#10;Description generated with high confidence">
                <a:extLst>
                  <a:ext uri="{FF2B5EF4-FFF2-40B4-BE49-F238E27FC236}">
                    <a16:creationId xmlns:a16="http://schemas.microsoft.com/office/drawing/2014/main" id="{8B04764F-6F87-4693-9030-DF71567A3F78}"/>
                  </a:ext>
                </a:extLst>
              </p:cNvPr>
              <p:cNvPicPr>
                <a:picLocks noChangeAspect="1"/>
              </p:cNvPicPr>
              <p:nvPr/>
            </p:nvPicPr>
            <p:blipFill rotWithShape="1">
              <a:blip r:embed="rId4"/>
              <a:srcRect l="28682" t="28682" r="28682" b="28682"/>
              <a:stretch/>
            </p:blipFill>
            <p:spPr>
              <a:xfrm>
                <a:off x="1217393" y="1487089"/>
                <a:ext cx="448212" cy="448212"/>
              </a:xfrm>
              <a:prstGeom prst="rect">
                <a:avLst/>
              </a:prstGeom>
            </p:spPr>
          </p:pic>
          <p:pic>
            <p:nvPicPr>
              <p:cNvPr id="630" name="Picture 54" descr="https://az495088.vo.msecnd.net/app-logo/amazonuk_215.png">
                <a:extLst>
                  <a:ext uri="{FF2B5EF4-FFF2-40B4-BE49-F238E27FC236}">
                    <a16:creationId xmlns:a16="http://schemas.microsoft.com/office/drawing/2014/main" id="{101490AB-4ED7-4723-991C-4F10334812F5}"/>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211651" y="1975229"/>
                <a:ext cx="448212" cy="448212"/>
              </a:xfrm>
              <a:prstGeom prst="rect">
                <a:avLst/>
              </a:prstGeom>
              <a:noFill/>
              <a:ln w="3175">
                <a:noFill/>
              </a:ln>
              <a:extLst>
                <a:ext uri="{909E8E84-426E-40DD-AFC4-6F175D3DCCD1}">
                  <a14:hiddenFill xmlns:a14="http://schemas.microsoft.com/office/drawing/2010/main">
                    <a:solidFill>
                      <a:srgbClr val="FFFFFF"/>
                    </a:solidFill>
                  </a14:hiddenFill>
                </a:ext>
              </a:extLst>
            </p:spPr>
          </p:pic>
        </p:grpSp>
        <p:grpSp>
          <p:nvGrpSpPr>
            <p:cNvPr id="614" name="Group 613">
              <a:extLst>
                <a:ext uri="{FF2B5EF4-FFF2-40B4-BE49-F238E27FC236}">
                  <a16:creationId xmlns:a16="http://schemas.microsoft.com/office/drawing/2014/main" id="{7E213809-8781-4D9F-974D-33D6AFA6A59B}"/>
                </a:ext>
              </a:extLst>
            </p:cNvPr>
            <p:cNvGrpSpPr/>
            <p:nvPr/>
          </p:nvGrpSpPr>
          <p:grpSpPr>
            <a:xfrm>
              <a:off x="7858610" y="3788070"/>
              <a:ext cx="2106196" cy="1295639"/>
              <a:chOff x="7858610" y="3788070"/>
              <a:chExt cx="2106196" cy="1295639"/>
            </a:xfrm>
          </p:grpSpPr>
          <p:grpSp>
            <p:nvGrpSpPr>
              <p:cNvPr id="615" name="Group 614">
                <a:extLst>
                  <a:ext uri="{FF2B5EF4-FFF2-40B4-BE49-F238E27FC236}">
                    <a16:creationId xmlns:a16="http://schemas.microsoft.com/office/drawing/2014/main" id="{B0AEECAF-8BAD-4BE1-876A-D8393818DFF2}"/>
                  </a:ext>
                </a:extLst>
              </p:cNvPr>
              <p:cNvGrpSpPr/>
              <p:nvPr/>
            </p:nvGrpSpPr>
            <p:grpSpPr>
              <a:xfrm>
                <a:off x="9516594" y="3788070"/>
                <a:ext cx="448212" cy="936352"/>
                <a:chOff x="2267632" y="1487089"/>
                <a:chExt cx="448212" cy="936352"/>
              </a:xfrm>
            </p:grpSpPr>
            <p:grpSp>
              <p:nvGrpSpPr>
                <p:cNvPr id="625" name="Group 624">
                  <a:extLst>
                    <a:ext uri="{FF2B5EF4-FFF2-40B4-BE49-F238E27FC236}">
                      <a16:creationId xmlns:a16="http://schemas.microsoft.com/office/drawing/2014/main" id="{762B39AF-D904-4DB5-A3FF-BEA82A9A69B5}"/>
                    </a:ext>
                  </a:extLst>
                </p:cNvPr>
                <p:cNvGrpSpPr/>
                <p:nvPr/>
              </p:nvGrpSpPr>
              <p:grpSpPr>
                <a:xfrm>
                  <a:off x="2267632" y="1975229"/>
                  <a:ext cx="448212" cy="448212"/>
                  <a:chOff x="2701231" y="2673849"/>
                  <a:chExt cx="457200" cy="457200"/>
                </a:xfrm>
              </p:grpSpPr>
              <p:sp>
                <p:nvSpPr>
                  <p:cNvPr id="627" name="Rectangle 626">
                    <a:extLst>
                      <a:ext uri="{FF2B5EF4-FFF2-40B4-BE49-F238E27FC236}">
                        <a16:creationId xmlns:a16="http://schemas.microsoft.com/office/drawing/2014/main" id="{ADE9B09A-A578-4169-9C97-F7CE621A2AC8}"/>
                      </a:ext>
                    </a:extLst>
                  </p:cNvPr>
                  <p:cNvSpPr/>
                  <p:nvPr/>
                </p:nvSpPr>
                <p:spPr bwMode="auto">
                  <a:xfrm>
                    <a:off x="2701231" y="2673849"/>
                    <a:ext cx="457200" cy="457200"/>
                  </a:xfrm>
                  <a:prstGeom prst="rect">
                    <a:avLst/>
                  </a:prstGeom>
                  <a:solidFill>
                    <a:srgbClr val="FFFFFF"/>
                  </a:solidFill>
                  <a:ln w="10795" cap="flat" cmpd="sng" algn="ctr">
                    <a:noFill/>
                    <a:prstDash val="solid"/>
                    <a:headEnd type="none" w="med" len="med"/>
                    <a:tailEnd type="none" w="med" len="med"/>
                  </a:ln>
                  <a:effectLst/>
                </p:spPr>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dirty="0">
                      <a:gradFill>
                        <a:gsLst>
                          <a:gs pos="0">
                            <a:srgbClr val="FFFFFF"/>
                          </a:gs>
                          <a:gs pos="100000">
                            <a:srgbClr val="FFFFFF"/>
                          </a:gs>
                        </a:gsLst>
                        <a:lin ang="5400000" scaled="0"/>
                      </a:gradFill>
                      <a:latin typeface="Segoe UI Semilight"/>
                    </a:endParaRPr>
                  </a:p>
                </p:txBody>
              </p:sp>
              <p:pic>
                <p:nvPicPr>
                  <p:cNvPr id="628" name="Picture 4">
                    <a:extLst>
                      <a:ext uri="{FF2B5EF4-FFF2-40B4-BE49-F238E27FC236}">
                        <a16:creationId xmlns:a16="http://schemas.microsoft.com/office/drawing/2014/main" id="{DD24DEFA-63FC-42FA-99BB-370DFB8FB8C5}"/>
                      </a:ext>
                    </a:extLst>
                  </p:cNvPr>
                  <p:cNvPicPr>
                    <a:picLocks noChangeAspect="1" noChangeArrowheads="1"/>
                  </p:cNvPicPr>
                  <p:nvPr/>
                </p:nvPicPr>
                <p:blipFill rotWithShape="1">
                  <a:blip r:embed="rId7"/>
                  <a:srcRect l="20221" t="9069" r="23633" b="41167"/>
                  <a:stretch/>
                </p:blipFill>
                <p:spPr bwMode="auto">
                  <a:xfrm>
                    <a:off x="2714625" y="2707480"/>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626" name="Picture 625">
                  <a:extLst>
                    <a:ext uri="{FF2B5EF4-FFF2-40B4-BE49-F238E27FC236}">
                      <a16:creationId xmlns:a16="http://schemas.microsoft.com/office/drawing/2014/main" id="{BF893638-0287-40A0-B3B2-C93F73F48789}"/>
                    </a:ext>
                  </a:extLst>
                </p:cNvPr>
                <p:cNvPicPr>
                  <a:picLocks noChangeAspect="1"/>
                </p:cNvPicPr>
                <p:nvPr/>
              </p:nvPicPr>
              <p:blipFill>
                <a:blip r:embed="rId8"/>
                <a:stretch>
                  <a:fillRect/>
                </a:stretch>
              </p:blipFill>
              <p:spPr>
                <a:xfrm>
                  <a:off x="2267632" y="1487089"/>
                  <a:ext cx="448212" cy="448212"/>
                </a:xfrm>
                <a:prstGeom prst="rect">
                  <a:avLst/>
                </a:prstGeom>
              </p:spPr>
            </p:pic>
          </p:grpSp>
          <p:grpSp>
            <p:nvGrpSpPr>
              <p:cNvPr id="616" name="Group 615">
                <a:extLst>
                  <a:ext uri="{FF2B5EF4-FFF2-40B4-BE49-F238E27FC236}">
                    <a16:creationId xmlns:a16="http://schemas.microsoft.com/office/drawing/2014/main" id="{DA9A75B6-CEE3-4B20-84B7-B216554DA4FF}"/>
                  </a:ext>
                </a:extLst>
              </p:cNvPr>
              <p:cNvGrpSpPr/>
              <p:nvPr/>
            </p:nvGrpSpPr>
            <p:grpSpPr>
              <a:xfrm>
                <a:off x="8987904" y="3788070"/>
                <a:ext cx="458591" cy="936352"/>
                <a:chOff x="1738942" y="1487089"/>
                <a:chExt cx="458591" cy="936352"/>
              </a:xfrm>
              <a:solidFill>
                <a:srgbClr val="E6E6E6"/>
              </a:solidFill>
            </p:grpSpPr>
            <p:pic>
              <p:nvPicPr>
                <p:cNvPr id="623" name="Picture 622">
                  <a:extLst>
                    <a:ext uri="{FF2B5EF4-FFF2-40B4-BE49-F238E27FC236}">
                      <a16:creationId xmlns:a16="http://schemas.microsoft.com/office/drawing/2014/main" id="{22DCCB43-AE92-4030-8C94-98C44632FFE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49321" y="1487089"/>
                  <a:ext cx="448212" cy="448212"/>
                </a:xfrm>
                <a:prstGeom prst="rect">
                  <a:avLst/>
                </a:prstGeom>
                <a:grpFill/>
              </p:spPr>
            </p:pic>
            <p:pic>
              <p:nvPicPr>
                <p:cNvPr id="624" name="Picture 56" descr="https://az495088.vo.msecnd.net/app-logo/linkedin_215.png">
                  <a:extLst>
                    <a:ext uri="{FF2B5EF4-FFF2-40B4-BE49-F238E27FC236}">
                      <a16:creationId xmlns:a16="http://schemas.microsoft.com/office/drawing/2014/main" id="{62FFEA43-9798-4C69-B3F6-A6605344355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38942" y="1975229"/>
                  <a:ext cx="448212" cy="448212"/>
                </a:xfrm>
                <a:prstGeom prst="rect">
                  <a:avLst/>
                </a:prstGeom>
                <a:grpFill/>
                <a:extLst/>
              </p:spPr>
            </p:pic>
          </p:grpSp>
          <p:grpSp>
            <p:nvGrpSpPr>
              <p:cNvPr id="617" name="Group 616">
                <a:extLst>
                  <a:ext uri="{FF2B5EF4-FFF2-40B4-BE49-F238E27FC236}">
                    <a16:creationId xmlns:a16="http://schemas.microsoft.com/office/drawing/2014/main" id="{AF42521D-B2C4-40F5-AAFB-0B467F7C7756}"/>
                  </a:ext>
                </a:extLst>
              </p:cNvPr>
              <p:cNvGrpSpPr/>
              <p:nvPr/>
            </p:nvGrpSpPr>
            <p:grpSpPr>
              <a:xfrm>
                <a:off x="7858610" y="3788070"/>
                <a:ext cx="1012482" cy="1295639"/>
                <a:chOff x="609648" y="1487089"/>
                <a:chExt cx="1012482" cy="1295639"/>
              </a:xfrm>
            </p:grpSpPr>
            <p:pic>
              <p:nvPicPr>
                <p:cNvPr id="618" name="Picture 617" descr="A close up of a fish&#10;&#10;Description generated with high confidence">
                  <a:extLst>
                    <a:ext uri="{FF2B5EF4-FFF2-40B4-BE49-F238E27FC236}">
                      <a16:creationId xmlns:a16="http://schemas.microsoft.com/office/drawing/2014/main" id="{CA8E3F23-323E-4FAE-8299-EEFD78BE220E}"/>
                    </a:ext>
                  </a:extLst>
                </p:cNvPr>
                <p:cNvPicPr>
                  <a:picLocks noChangeAspect="1"/>
                </p:cNvPicPr>
                <p:nvPr/>
              </p:nvPicPr>
              <p:blipFill>
                <a:blip r:embed="rId11"/>
                <a:stretch>
                  <a:fillRect/>
                </a:stretch>
              </p:blipFill>
              <p:spPr>
                <a:xfrm>
                  <a:off x="700708" y="1487089"/>
                  <a:ext cx="448212" cy="448212"/>
                </a:xfrm>
                <a:prstGeom prst="rect">
                  <a:avLst/>
                </a:prstGeom>
              </p:spPr>
            </p:pic>
            <p:grpSp>
              <p:nvGrpSpPr>
                <p:cNvPr id="619" name="Group 618">
                  <a:extLst>
                    <a:ext uri="{FF2B5EF4-FFF2-40B4-BE49-F238E27FC236}">
                      <a16:creationId xmlns:a16="http://schemas.microsoft.com/office/drawing/2014/main" id="{79992F08-3BCD-492F-BB25-D24F31A91858}"/>
                    </a:ext>
                  </a:extLst>
                </p:cNvPr>
                <p:cNvGrpSpPr/>
                <p:nvPr/>
              </p:nvGrpSpPr>
              <p:grpSpPr>
                <a:xfrm>
                  <a:off x="696045" y="1975229"/>
                  <a:ext cx="448212" cy="448212"/>
                  <a:chOff x="569427" y="3896425"/>
                  <a:chExt cx="457200" cy="457200"/>
                </a:xfrm>
              </p:grpSpPr>
              <p:sp>
                <p:nvSpPr>
                  <p:cNvPr id="621" name="Rectangle 620">
                    <a:extLst>
                      <a:ext uri="{FF2B5EF4-FFF2-40B4-BE49-F238E27FC236}">
                        <a16:creationId xmlns:a16="http://schemas.microsoft.com/office/drawing/2014/main" id="{0AE6C02D-4915-4D24-AAE5-EA5AE17A62D0}"/>
                      </a:ext>
                    </a:extLst>
                  </p:cNvPr>
                  <p:cNvSpPr/>
                  <p:nvPr/>
                </p:nvSpPr>
                <p:spPr bwMode="auto">
                  <a:xfrm>
                    <a:off x="569427" y="3896425"/>
                    <a:ext cx="457200" cy="457200"/>
                  </a:xfrm>
                  <a:prstGeom prst="rect">
                    <a:avLst/>
                  </a:prstGeom>
                  <a:solidFill>
                    <a:srgbClr val="FFFFFF"/>
                  </a:solidFill>
                  <a:ln w="10795" cap="flat" cmpd="sng" algn="ctr">
                    <a:noFill/>
                    <a:prstDash val="solid"/>
                    <a:headEnd type="none" w="med" len="med"/>
                    <a:tailEnd type="none" w="med" len="med"/>
                  </a:ln>
                  <a:effectLst/>
                </p:spPr>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dirty="0">
                      <a:gradFill>
                        <a:gsLst>
                          <a:gs pos="0">
                            <a:srgbClr val="FFFFFF"/>
                          </a:gs>
                          <a:gs pos="100000">
                            <a:srgbClr val="FFFFFF"/>
                          </a:gs>
                        </a:gsLst>
                        <a:lin ang="5400000" scaled="0"/>
                      </a:gradFill>
                      <a:latin typeface="Segoe UI Semilight"/>
                    </a:endParaRPr>
                  </a:p>
                </p:txBody>
              </p:sp>
              <p:pic>
                <p:nvPicPr>
                  <p:cNvPr id="622" name="Picture 621">
                    <a:extLst>
                      <a:ext uri="{FF2B5EF4-FFF2-40B4-BE49-F238E27FC236}">
                        <a16:creationId xmlns:a16="http://schemas.microsoft.com/office/drawing/2014/main" id="{87D6EC6E-0B65-4DD5-B5EA-7FB164C55518}"/>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3699" t="26021" r="58987" b="23842"/>
                  <a:stretch/>
                </p:blipFill>
                <p:spPr>
                  <a:xfrm>
                    <a:off x="569427" y="3896425"/>
                    <a:ext cx="457200" cy="457200"/>
                  </a:xfrm>
                  <a:prstGeom prst="rect">
                    <a:avLst/>
                  </a:prstGeom>
                </p:spPr>
              </p:pic>
            </p:grpSp>
            <p:sp>
              <p:nvSpPr>
                <p:cNvPr id="620" name="Rectangle 619">
                  <a:extLst>
                    <a:ext uri="{FF2B5EF4-FFF2-40B4-BE49-F238E27FC236}">
                      <a16:creationId xmlns:a16="http://schemas.microsoft.com/office/drawing/2014/main" id="{7AE99E27-3F6D-4E02-8984-9FD63E0BCEC2}"/>
                    </a:ext>
                  </a:extLst>
                </p:cNvPr>
                <p:cNvSpPr/>
                <p:nvPr/>
              </p:nvSpPr>
              <p:spPr>
                <a:xfrm>
                  <a:off x="609648" y="2471396"/>
                  <a:ext cx="1012482" cy="311332"/>
                </a:xfrm>
                <a:prstGeom prst="rect">
                  <a:avLst/>
                </a:prstGeom>
              </p:spPr>
              <p:txBody>
                <a:bodyPr wrap="none">
                  <a:spAutoFit/>
                </a:bodyPr>
                <a:lstStyle/>
                <a:p>
                  <a:pPr defTabSz="896094" fontAlgn="base">
                    <a:lnSpc>
                      <a:spcPct val="90000"/>
                    </a:lnSpc>
                    <a:spcBef>
                      <a:spcPts val="576"/>
                    </a:spcBef>
                    <a:spcAft>
                      <a:spcPct val="0"/>
                    </a:spcAft>
                    <a:defRPr/>
                  </a:pPr>
                  <a:r>
                    <a:rPr lang="en-US" sz="1537" kern="0" dirty="0">
                      <a:solidFill>
                        <a:srgbClr val="353535"/>
                      </a:solidFill>
                      <a:latin typeface="Segoe UI Semilight"/>
                      <a:cs typeface="Segoe UI" pitchFamily="34" charset="0"/>
                    </a:rPr>
                    <a:t>Social IDs</a:t>
                  </a:r>
                </a:p>
              </p:txBody>
            </p:sp>
          </p:grpSp>
        </p:grpSp>
      </p:grpSp>
      <p:grpSp>
        <p:nvGrpSpPr>
          <p:cNvPr id="631" name="Group 630">
            <a:extLst>
              <a:ext uri="{FF2B5EF4-FFF2-40B4-BE49-F238E27FC236}">
                <a16:creationId xmlns:a16="http://schemas.microsoft.com/office/drawing/2014/main" id="{3D50BDA3-20C0-43EB-9B78-DAE101953093}"/>
              </a:ext>
            </a:extLst>
          </p:cNvPr>
          <p:cNvGrpSpPr/>
          <p:nvPr/>
        </p:nvGrpSpPr>
        <p:grpSpPr>
          <a:xfrm>
            <a:off x="8934679" y="3742737"/>
            <a:ext cx="1935030" cy="1439139"/>
            <a:chOff x="7852950" y="5286524"/>
            <a:chExt cx="1973831" cy="1467997"/>
          </a:xfrm>
        </p:grpSpPr>
        <p:grpSp>
          <p:nvGrpSpPr>
            <p:cNvPr id="632" name="Group 631">
              <a:extLst>
                <a:ext uri="{FF2B5EF4-FFF2-40B4-BE49-F238E27FC236}">
                  <a16:creationId xmlns:a16="http://schemas.microsoft.com/office/drawing/2014/main" id="{F369AC2C-947E-4BD2-AA42-68BABAD6DEE7}"/>
                </a:ext>
              </a:extLst>
            </p:cNvPr>
            <p:cNvGrpSpPr/>
            <p:nvPr/>
          </p:nvGrpSpPr>
          <p:grpSpPr>
            <a:xfrm>
              <a:off x="7945007" y="5286525"/>
              <a:ext cx="571179" cy="938556"/>
              <a:chOff x="638332" y="4687711"/>
              <a:chExt cx="582632" cy="957376"/>
            </a:xfrm>
          </p:grpSpPr>
          <p:grpSp>
            <p:nvGrpSpPr>
              <p:cNvPr id="652" name="Group 651">
                <a:extLst>
                  <a:ext uri="{FF2B5EF4-FFF2-40B4-BE49-F238E27FC236}">
                    <a16:creationId xmlns:a16="http://schemas.microsoft.com/office/drawing/2014/main" id="{EDFB5773-9A98-4118-8866-D9773BE756BB}"/>
                  </a:ext>
                </a:extLst>
              </p:cNvPr>
              <p:cNvGrpSpPr/>
              <p:nvPr/>
            </p:nvGrpSpPr>
            <p:grpSpPr>
              <a:xfrm>
                <a:off x="638332" y="4687711"/>
                <a:ext cx="582632" cy="957376"/>
                <a:chOff x="2397241" y="4380340"/>
                <a:chExt cx="677654" cy="1113516"/>
              </a:xfrm>
            </p:grpSpPr>
            <p:sp>
              <p:nvSpPr>
                <p:cNvPr id="654" name="Freeform: Shape 653">
                  <a:extLst>
                    <a:ext uri="{FF2B5EF4-FFF2-40B4-BE49-F238E27FC236}">
                      <a16:creationId xmlns:a16="http://schemas.microsoft.com/office/drawing/2014/main" id="{7EF9AE33-905D-4BB8-AA43-AE945E7388CB}"/>
                    </a:ext>
                  </a:extLst>
                </p:cNvPr>
                <p:cNvSpPr>
                  <a:spLocks noChangeAspect="1"/>
                </p:cNvSpPr>
                <p:nvPr/>
              </p:nvSpPr>
              <p:spPr bwMode="auto">
                <a:xfrm>
                  <a:off x="2397241" y="4380340"/>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5" name="Oval 654">
                  <a:extLst>
                    <a:ext uri="{FF2B5EF4-FFF2-40B4-BE49-F238E27FC236}">
                      <a16:creationId xmlns:a16="http://schemas.microsoft.com/office/drawing/2014/main" id="{493B334D-D73C-45C0-A089-86BDE75561F6}"/>
                    </a:ext>
                  </a:extLst>
                </p:cNvPr>
                <p:cNvSpPr/>
                <p:nvPr/>
              </p:nvSpPr>
              <p:spPr bwMode="auto">
                <a:xfrm>
                  <a:off x="2539628" y="4595904"/>
                  <a:ext cx="392881" cy="392880"/>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56" name="Group 655">
                  <a:extLst>
                    <a:ext uri="{FF2B5EF4-FFF2-40B4-BE49-F238E27FC236}">
                      <a16:creationId xmlns:a16="http://schemas.microsoft.com/office/drawing/2014/main" id="{D439167B-DBCC-44AF-97FE-9BB5E3DBAD6B}"/>
                    </a:ext>
                  </a:extLst>
                </p:cNvPr>
                <p:cNvGrpSpPr/>
                <p:nvPr/>
              </p:nvGrpSpPr>
              <p:grpSpPr>
                <a:xfrm>
                  <a:off x="2620879" y="4640420"/>
                  <a:ext cx="230378" cy="277325"/>
                  <a:chOff x="7132637" y="5315797"/>
                  <a:chExt cx="413352" cy="497587"/>
                </a:xfrm>
              </p:grpSpPr>
              <p:sp>
                <p:nvSpPr>
                  <p:cNvPr id="657" name="Oval 8">
                    <a:extLst>
                      <a:ext uri="{FF2B5EF4-FFF2-40B4-BE49-F238E27FC236}">
                        <a16:creationId xmlns:a16="http://schemas.microsoft.com/office/drawing/2014/main" id="{DBF9C321-A9CA-42E4-9978-8D1A3B35EEAC}"/>
                      </a:ext>
                    </a:extLst>
                  </p:cNvPr>
                  <p:cNvSpPr>
                    <a:spLocks noChangeArrowheads="1"/>
                  </p:cNvSpPr>
                  <p:nvPr/>
                </p:nvSpPr>
                <p:spPr bwMode="auto">
                  <a:xfrm>
                    <a:off x="7192760" y="5315797"/>
                    <a:ext cx="293104" cy="293350"/>
                  </a:xfrm>
                  <a:prstGeom prst="ellipse">
                    <a:avLst/>
                  </a:prstGeom>
                  <a:noFill/>
                  <a:ln w="1270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658" name="Freeform 9">
                    <a:extLst>
                      <a:ext uri="{FF2B5EF4-FFF2-40B4-BE49-F238E27FC236}">
                        <a16:creationId xmlns:a16="http://schemas.microsoft.com/office/drawing/2014/main" id="{FC37F517-5786-48A4-9FB3-F53D8489C58D}"/>
                      </a:ext>
                    </a:extLst>
                  </p:cNvPr>
                  <p:cNvSpPr>
                    <a:spLocks/>
                  </p:cNvSpPr>
                  <p:nvPr/>
                </p:nvSpPr>
                <p:spPr bwMode="auto">
                  <a:xfrm>
                    <a:off x="7132637" y="5609153"/>
                    <a:ext cx="413352" cy="204231"/>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grpSp>
          </p:grpSp>
          <p:pic>
            <p:nvPicPr>
              <p:cNvPr id="653" name="Picture 652">
                <a:extLst>
                  <a:ext uri="{FF2B5EF4-FFF2-40B4-BE49-F238E27FC236}">
                    <a16:creationId xmlns:a16="http://schemas.microsoft.com/office/drawing/2014/main" id="{E8426D62-5D7A-4413-88D4-6F0DE9FE4AEF}"/>
                  </a:ext>
                </a:extLst>
              </p:cNvPr>
              <p:cNvPicPr>
                <a:picLocks noChangeAspect="1"/>
              </p:cNvPicPr>
              <p:nvPr/>
            </p:nvPicPr>
            <p:blipFill>
              <a:blip r:embed="rId13">
                <a:biLevel thresh="25000"/>
              </a:blip>
              <a:stretch>
                <a:fillRect/>
              </a:stretch>
            </p:blipFill>
            <p:spPr>
              <a:xfrm>
                <a:off x="769628" y="5267941"/>
                <a:ext cx="320040" cy="320040"/>
              </a:xfrm>
              <a:prstGeom prst="rect">
                <a:avLst/>
              </a:prstGeom>
            </p:spPr>
          </p:pic>
        </p:grpSp>
        <p:grpSp>
          <p:nvGrpSpPr>
            <p:cNvPr id="633" name="Group 632">
              <a:extLst>
                <a:ext uri="{FF2B5EF4-FFF2-40B4-BE49-F238E27FC236}">
                  <a16:creationId xmlns:a16="http://schemas.microsoft.com/office/drawing/2014/main" id="{312464FF-1470-40B0-A842-5B10F9E5925A}"/>
                </a:ext>
              </a:extLst>
            </p:cNvPr>
            <p:cNvGrpSpPr/>
            <p:nvPr/>
          </p:nvGrpSpPr>
          <p:grpSpPr>
            <a:xfrm>
              <a:off x="8606754" y="5286524"/>
              <a:ext cx="571179" cy="938556"/>
              <a:chOff x="1313349" y="4687710"/>
              <a:chExt cx="582632" cy="957376"/>
            </a:xfrm>
          </p:grpSpPr>
          <p:grpSp>
            <p:nvGrpSpPr>
              <p:cNvPr id="645" name="Group 644">
                <a:extLst>
                  <a:ext uri="{FF2B5EF4-FFF2-40B4-BE49-F238E27FC236}">
                    <a16:creationId xmlns:a16="http://schemas.microsoft.com/office/drawing/2014/main" id="{BE4A58D7-EB26-4495-9199-9D45CCAFDCE5}"/>
                  </a:ext>
                </a:extLst>
              </p:cNvPr>
              <p:cNvGrpSpPr/>
              <p:nvPr/>
            </p:nvGrpSpPr>
            <p:grpSpPr>
              <a:xfrm>
                <a:off x="1313349" y="4687710"/>
                <a:ext cx="582632" cy="957376"/>
                <a:chOff x="2397241" y="4380340"/>
                <a:chExt cx="677654" cy="1113516"/>
              </a:xfrm>
            </p:grpSpPr>
            <p:sp>
              <p:nvSpPr>
                <p:cNvPr id="647" name="Freeform: Shape 646">
                  <a:extLst>
                    <a:ext uri="{FF2B5EF4-FFF2-40B4-BE49-F238E27FC236}">
                      <a16:creationId xmlns:a16="http://schemas.microsoft.com/office/drawing/2014/main" id="{EF235EE7-3D68-4DEE-99BB-BF8D6DEA3CA9}"/>
                    </a:ext>
                  </a:extLst>
                </p:cNvPr>
                <p:cNvSpPr>
                  <a:spLocks noChangeAspect="1"/>
                </p:cNvSpPr>
                <p:nvPr/>
              </p:nvSpPr>
              <p:spPr bwMode="auto">
                <a:xfrm>
                  <a:off x="2397241" y="4380340"/>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8" name="Oval 647">
                  <a:extLst>
                    <a:ext uri="{FF2B5EF4-FFF2-40B4-BE49-F238E27FC236}">
                      <a16:creationId xmlns:a16="http://schemas.microsoft.com/office/drawing/2014/main" id="{4CB91855-4D1D-40CA-A770-F1F9C73C24B6}"/>
                    </a:ext>
                  </a:extLst>
                </p:cNvPr>
                <p:cNvSpPr/>
                <p:nvPr/>
              </p:nvSpPr>
              <p:spPr bwMode="auto">
                <a:xfrm>
                  <a:off x="2539628" y="4595906"/>
                  <a:ext cx="392881" cy="392880"/>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49" name="Group 648">
                  <a:extLst>
                    <a:ext uri="{FF2B5EF4-FFF2-40B4-BE49-F238E27FC236}">
                      <a16:creationId xmlns:a16="http://schemas.microsoft.com/office/drawing/2014/main" id="{CE714DBD-05F2-4996-A700-02AFFFA73E04}"/>
                    </a:ext>
                  </a:extLst>
                </p:cNvPr>
                <p:cNvGrpSpPr/>
                <p:nvPr/>
              </p:nvGrpSpPr>
              <p:grpSpPr>
                <a:xfrm>
                  <a:off x="2620879" y="4640422"/>
                  <a:ext cx="230378" cy="277320"/>
                  <a:chOff x="7132637" y="5315801"/>
                  <a:chExt cx="413352" cy="497578"/>
                </a:xfrm>
              </p:grpSpPr>
              <p:sp>
                <p:nvSpPr>
                  <p:cNvPr id="650" name="Oval 8">
                    <a:extLst>
                      <a:ext uri="{FF2B5EF4-FFF2-40B4-BE49-F238E27FC236}">
                        <a16:creationId xmlns:a16="http://schemas.microsoft.com/office/drawing/2014/main" id="{82340D44-196E-4DD1-AD35-4E28336BF8E5}"/>
                      </a:ext>
                    </a:extLst>
                  </p:cNvPr>
                  <p:cNvSpPr>
                    <a:spLocks noChangeArrowheads="1"/>
                  </p:cNvSpPr>
                  <p:nvPr/>
                </p:nvSpPr>
                <p:spPr bwMode="auto">
                  <a:xfrm>
                    <a:off x="7192760" y="5315801"/>
                    <a:ext cx="293104" cy="293349"/>
                  </a:xfrm>
                  <a:prstGeom prst="ellipse">
                    <a:avLst/>
                  </a:prstGeom>
                  <a:noFill/>
                  <a:ln w="12700" cap="flat">
                    <a:solidFill>
                      <a:srgbClr val="FF8C00"/>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651" name="Freeform 9">
                    <a:extLst>
                      <a:ext uri="{FF2B5EF4-FFF2-40B4-BE49-F238E27FC236}">
                        <a16:creationId xmlns:a16="http://schemas.microsoft.com/office/drawing/2014/main" id="{10C11026-6133-4A81-AA96-F4EA6EFFA564}"/>
                      </a:ext>
                    </a:extLst>
                  </p:cNvPr>
                  <p:cNvSpPr>
                    <a:spLocks/>
                  </p:cNvSpPr>
                  <p:nvPr/>
                </p:nvSpPr>
                <p:spPr bwMode="auto">
                  <a:xfrm>
                    <a:off x="7132637" y="5609150"/>
                    <a:ext cx="413352" cy="204229"/>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FF8C00"/>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grpSp>
          </p:grpSp>
          <p:sp>
            <p:nvSpPr>
              <p:cNvPr id="646" name="Freeform: Shape 645">
                <a:extLst>
                  <a:ext uri="{FF2B5EF4-FFF2-40B4-BE49-F238E27FC236}">
                    <a16:creationId xmlns:a16="http://schemas.microsoft.com/office/drawing/2014/main" id="{E54EBBFF-427B-4A4A-BDDF-89DE7F14A9A5}"/>
                  </a:ext>
                </a:extLst>
              </p:cNvPr>
              <p:cNvSpPr>
                <a:spLocks noChangeAspect="1"/>
              </p:cNvSpPr>
              <p:nvPr/>
            </p:nvSpPr>
            <p:spPr bwMode="auto">
              <a:xfrm flipH="1">
                <a:off x="1444645" y="5298099"/>
                <a:ext cx="320040" cy="275894"/>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E6E6E6"/>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34" name="Group 633">
              <a:extLst>
                <a:ext uri="{FF2B5EF4-FFF2-40B4-BE49-F238E27FC236}">
                  <a16:creationId xmlns:a16="http://schemas.microsoft.com/office/drawing/2014/main" id="{5FC4EB6E-751E-45B0-9038-F5BCD3DCCA07}"/>
                </a:ext>
              </a:extLst>
            </p:cNvPr>
            <p:cNvGrpSpPr/>
            <p:nvPr/>
          </p:nvGrpSpPr>
          <p:grpSpPr>
            <a:xfrm>
              <a:off x="7852950" y="5286524"/>
              <a:ext cx="1973831" cy="1467997"/>
              <a:chOff x="603988" y="2985543"/>
              <a:chExt cx="1973831" cy="1467997"/>
            </a:xfrm>
          </p:grpSpPr>
          <p:sp>
            <p:nvSpPr>
              <p:cNvPr id="635" name="Rectangle 634">
                <a:extLst>
                  <a:ext uri="{FF2B5EF4-FFF2-40B4-BE49-F238E27FC236}">
                    <a16:creationId xmlns:a16="http://schemas.microsoft.com/office/drawing/2014/main" id="{509EFEC6-F96A-4262-9544-3D6597F9D926}"/>
                  </a:ext>
                </a:extLst>
              </p:cNvPr>
              <p:cNvSpPr/>
              <p:nvPr/>
            </p:nvSpPr>
            <p:spPr>
              <a:xfrm>
                <a:off x="603988" y="3926857"/>
                <a:ext cx="1605410" cy="526683"/>
              </a:xfrm>
              <a:prstGeom prst="rect">
                <a:avLst/>
              </a:prstGeom>
            </p:spPr>
            <p:txBody>
              <a:bodyPr wrap="square">
                <a:spAutoFit/>
              </a:bodyPr>
              <a:lstStyle/>
              <a:p>
                <a:pPr defTabSz="896094" fontAlgn="base">
                  <a:lnSpc>
                    <a:spcPct val="90000"/>
                  </a:lnSpc>
                  <a:spcBef>
                    <a:spcPts val="576"/>
                  </a:spcBef>
                  <a:spcAft>
                    <a:spcPct val="0"/>
                  </a:spcAft>
                  <a:defRPr/>
                </a:pPr>
                <a:r>
                  <a:rPr lang="en-US" sz="1537" kern="0" dirty="0">
                    <a:solidFill>
                      <a:srgbClr val="353535"/>
                    </a:solidFill>
                    <a:latin typeface="Segoe UI Semilight"/>
                    <a:cs typeface="Segoe UI" pitchFamily="34" charset="0"/>
                  </a:rPr>
                  <a:t>Business &amp; </a:t>
                </a:r>
                <a:br>
                  <a:rPr lang="en-US" sz="1537" kern="0" dirty="0">
                    <a:solidFill>
                      <a:srgbClr val="353535"/>
                    </a:solidFill>
                    <a:latin typeface="Segoe UI Semilight"/>
                    <a:cs typeface="Segoe UI" pitchFamily="34" charset="0"/>
                  </a:rPr>
                </a:br>
                <a:r>
                  <a:rPr lang="en-US" sz="1537" kern="0" dirty="0">
                    <a:solidFill>
                      <a:srgbClr val="353535"/>
                    </a:solidFill>
                    <a:latin typeface="Segoe UI Semilight"/>
                    <a:cs typeface="Segoe UI" pitchFamily="34" charset="0"/>
                  </a:rPr>
                  <a:t>Government IDs</a:t>
                </a:r>
              </a:p>
            </p:txBody>
          </p:sp>
          <p:grpSp>
            <p:nvGrpSpPr>
              <p:cNvPr id="636" name="Group 635">
                <a:extLst>
                  <a:ext uri="{FF2B5EF4-FFF2-40B4-BE49-F238E27FC236}">
                    <a16:creationId xmlns:a16="http://schemas.microsoft.com/office/drawing/2014/main" id="{33BDBD7C-53CE-4ED3-824A-CCB33B871432}"/>
                  </a:ext>
                </a:extLst>
              </p:cNvPr>
              <p:cNvGrpSpPr/>
              <p:nvPr/>
            </p:nvGrpSpPr>
            <p:grpSpPr>
              <a:xfrm>
                <a:off x="2006640" y="2985543"/>
                <a:ext cx="571179" cy="938556"/>
                <a:chOff x="1975208" y="4687710"/>
                <a:chExt cx="582632" cy="957376"/>
              </a:xfrm>
            </p:grpSpPr>
            <p:grpSp>
              <p:nvGrpSpPr>
                <p:cNvPr id="637" name="Group 636">
                  <a:extLst>
                    <a:ext uri="{FF2B5EF4-FFF2-40B4-BE49-F238E27FC236}">
                      <a16:creationId xmlns:a16="http://schemas.microsoft.com/office/drawing/2014/main" id="{8461E953-872F-4807-81C4-1B4086D8FEB0}"/>
                    </a:ext>
                  </a:extLst>
                </p:cNvPr>
                <p:cNvGrpSpPr/>
                <p:nvPr/>
              </p:nvGrpSpPr>
              <p:grpSpPr>
                <a:xfrm>
                  <a:off x="1975208" y="4687710"/>
                  <a:ext cx="582632" cy="957376"/>
                  <a:chOff x="2397241" y="4380339"/>
                  <a:chExt cx="677654" cy="1113516"/>
                </a:xfrm>
              </p:grpSpPr>
              <p:sp>
                <p:nvSpPr>
                  <p:cNvPr id="640" name="Freeform: Shape 639">
                    <a:extLst>
                      <a:ext uri="{FF2B5EF4-FFF2-40B4-BE49-F238E27FC236}">
                        <a16:creationId xmlns:a16="http://schemas.microsoft.com/office/drawing/2014/main" id="{DD20F9A8-A611-46B8-B344-23DCDA23FC6D}"/>
                      </a:ext>
                    </a:extLst>
                  </p:cNvPr>
                  <p:cNvSpPr>
                    <a:spLocks noChangeAspect="1"/>
                  </p:cNvSpPr>
                  <p:nvPr/>
                </p:nvSpPr>
                <p:spPr bwMode="auto">
                  <a:xfrm>
                    <a:off x="2397241" y="4380339"/>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1" name="Oval 640">
                    <a:extLst>
                      <a:ext uri="{FF2B5EF4-FFF2-40B4-BE49-F238E27FC236}">
                        <a16:creationId xmlns:a16="http://schemas.microsoft.com/office/drawing/2014/main" id="{09030716-CDB9-434E-8A69-2C4D2CBC0881}"/>
                      </a:ext>
                    </a:extLst>
                  </p:cNvPr>
                  <p:cNvSpPr/>
                  <p:nvPr/>
                </p:nvSpPr>
                <p:spPr bwMode="auto">
                  <a:xfrm>
                    <a:off x="2539628" y="4595904"/>
                    <a:ext cx="392881" cy="392880"/>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42" name="Group 641">
                    <a:extLst>
                      <a:ext uri="{FF2B5EF4-FFF2-40B4-BE49-F238E27FC236}">
                        <a16:creationId xmlns:a16="http://schemas.microsoft.com/office/drawing/2014/main" id="{155D4CBD-30D1-485F-9DA4-057560F5A3AF}"/>
                      </a:ext>
                    </a:extLst>
                  </p:cNvPr>
                  <p:cNvGrpSpPr/>
                  <p:nvPr/>
                </p:nvGrpSpPr>
                <p:grpSpPr>
                  <a:xfrm>
                    <a:off x="2620879" y="4640413"/>
                    <a:ext cx="230378" cy="277327"/>
                    <a:chOff x="7132637" y="5315790"/>
                    <a:chExt cx="413352" cy="497591"/>
                  </a:xfrm>
                </p:grpSpPr>
                <p:sp>
                  <p:nvSpPr>
                    <p:cNvPr id="643" name="Oval 8">
                      <a:extLst>
                        <a:ext uri="{FF2B5EF4-FFF2-40B4-BE49-F238E27FC236}">
                          <a16:creationId xmlns:a16="http://schemas.microsoft.com/office/drawing/2014/main" id="{2AFE2692-A853-4B23-8776-F036733B1656}"/>
                        </a:ext>
                      </a:extLst>
                    </p:cNvPr>
                    <p:cNvSpPr>
                      <a:spLocks noChangeArrowheads="1"/>
                    </p:cNvSpPr>
                    <p:nvPr/>
                  </p:nvSpPr>
                  <p:spPr bwMode="auto">
                    <a:xfrm>
                      <a:off x="7192760" y="5315790"/>
                      <a:ext cx="293104" cy="293349"/>
                    </a:xfrm>
                    <a:prstGeom prst="ellipse">
                      <a:avLst/>
                    </a:prstGeom>
                    <a:noFill/>
                    <a:ln w="12700" cap="flat">
                      <a:solidFill>
                        <a:srgbClr val="353535"/>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644" name="Freeform 9">
                      <a:extLst>
                        <a:ext uri="{FF2B5EF4-FFF2-40B4-BE49-F238E27FC236}">
                          <a16:creationId xmlns:a16="http://schemas.microsoft.com/office/drawing/2014/main" id="{9B6A7FD6-4E8C-4CE0-99F5-CBD43C1340E9}"/>
                        </a:ext>
                      </a:extLst>
                    </p:cNvPr>
                    <p:cNvSpPr>
                      <a:spLocks/>
                    </p:cNvSpPr>
                    <p:nvPr/>
                  </p:nvSpPr>
                  <p:spPr bwMode="auto">
                    <a:xfrm>
                      <a:off x="7132637" y="5609150"/>
                      <a:ext cx="413352" cy="204231"/>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353535"/>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grpSp>
            </p:grpSp>
            <p:pic>
              <p:nvPicPr>
                <p:cNvPr id="638" name="Picture 637">
                  <a:extLst>
                    <a:ext uri="{FF2B5EF4-FFF2-40B4-BE49-F238E27FC236}">
                      <a16:creationId xmlns:a16="http://schemas.microsoft.com/office/drawing/2014/main" id="{82CD9967-B730-49EA-B8A9-737220A7C3D8}"/>
                    </a:ext>
                  </a:extLst>
                </p:cNvPr>
                <p:cNvPicPr>
                  <a:picLocks noChangeAspect="1"/>
                </p:cNvPicPr>
                <p:nvPr/>
              </p:nvPicPr>
              <p:blipFill>
                <a:blip r:embed="rId14"/>
                <a:stretch>
                  <a:fillRect/>
                </a:stretch>
              </p:blipFill>
              <p:spPr>
                <a:xfrm>
                  <a:off x="2168606" y="5288137"/>
                  <a:ext cx="195836" cy="195836"/>
                </a:xfrm>
                <a:prstGeom prst="rect">
                  <a:avLst/>
                </a:prstGeom>
              </p:spPr>
            </p:pic>
            <p:sp>
              <p:nvSpPr>
                <p:cNvPr id="639" name="TextBox 638">
                  <a:extLst>
                    <a:ext uri="{FF2B5EF4-FFF2-40B4-BE49-F238E27FC236}">
                      <a16:creationId xmlns:a16="http://schemas.microsoft.com/office/drawing/2014/main" id="{84F066F7-0B84-46A9-84A9-4D8AF3EB4CD2}"/>
                    </a:ext>
                  </a:extLst>
                </p:cNvPr>
                <p:cNvSpPr txBox="1"/>
                <p:nvPr/>
              </p:nvSpPr>
              <p:spPr>
                <a:xfrm>
                  <a:off x="2033099" y="5482185"/>
                  <a:ext cx="466850" cy="96950"/>
                </a:xfrm>
                <a:prstGeom prst="rect">
                  <a:avLst/>
                </a:prstGeom>
                <a:noFill/>
              </p:spPr>
              <p:txBody>
                <a:bodyPr wrap="square" lIns="0" tIns="0" rIns="0" bIns="0" rtlCol="0">
                  <a:spAutoFit/>
                </a:bodyPr>
                <a:lstStyle/>
                <a:p>
                  <a:pPr algn="ctr" defTabSz="896354">
                    <a:lnSpc>
                      <a:spcPct val="90000"/>
                    </a:lnSpc>
                    <a:spcAft>
                      <a:spcPts val="576"/>
                    </a:spcAft>
                    <a:defRPr/>
                  </a:pPr>
                  <a:r>
                    <a:rPr lang="en-US" sz="672" kern="0" dirty="0">
                      <a:solidFill>
                        <a:srgbClr val="FFFFFF"/>
                      </a:solidFill>
                      <a:latin typeface="Georgia" panose="02040502050405020303" pitchFamily="18" charset="0"/>
                    </a:rPr>
                    <a:t>contoso</a:t>
                  </a:r>
                </a:p>
              </p:txBody>
            </p:sp>
          </p:grpSp>
        </p:grpSp>
      </p:grpSp>
      <p:sp useBgFill="1">
        <p:nvSpPr>
          <p:cNvPr id="662" name="Rectangle 661">
            <a:extLst>
              <a:ext uri="{FF2B5EF4-FFF2-40B4-BE49-F238E27FC236}">
                <a16:creationId xmlns:a16="http://schemas.microsoft.com/office/drawing/2014/main" id="{77394F1D-8F9E-43E9-92CB-1A19B9A24ACB}"/>
              </a:ext>
            </a:extLst>
          </p:cNvPr>
          <p:cNvSpPr/>
          <p:nvPr/>
        </p:nvSpPr>
        <p:spPr bwMode="auto">
          <a:xfrm>
            <a:off x="5966012" y="6228194"/>
            <a:ext cx="1739950" cy="495479"/>
          </a:xfrm>
          <a:prstGeom prst="rect">
            <a:avLst/>
          </a:prstGeom>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3" name="TextBox 662">
            <a:extLst>
              <a:ext uri="{FF2B5EF4-FFF2-40B4-BE49-F238E27FC236}">
                <a16:creationId xmlns:a16="http://schemas.microsoft.com/office/drawing/2014/main" id="{09FDC343-70CE-4D00-BC29-958253DF9D23}"/>
              </a:ext>
            </a:extLst>
          </p:cNvPr>
          <p:cNvSpPr txBox="1"/>
          <p:nvPr/>
        </p:nvSpPr>
        <p:spPr>
          <a:xfrm>
            <a:off x="8010843" y="5398510"/>
            <a:ext cx="1727694" cy="271554"/>
          </a:xfrm>
          <a:prstGeom prst="rect">
            <a:avLst/>
          </a:prstGeom>
        </p:spPr>
        <p:txBody>
          <a:bodyPr vert="horz" wrap="square" lIns="143428" tIns="89642" rIns="143428" bIns="89642" rtlCol="0" anchor="t">
            <a:noAutofit/>
          </a:bodyPr>
          <a:lstStyle>
            <a:defPPr>
              <a:defRPr lang="en-US"/>
            </a:defPPr>
            <a:lvl1pPr marR="0" lvl="0" indent="0" algn="ctr" fontAlgn="auto">
              <a:lnSpc>
                <a:spcPct val="90000"/>
              </a:lnSpc>
              <a:spcBef>
                <a:spcPct val="0"/>
              </a:spcBef>
              <a:spcAft>
                <a:spcPts val="0"/>
              </a:spcAft>
              <a:buClrTx/>
              <a:buSzTx/>
              <a:buFontTx/>
              <a:buNone/>
              <a:tabLst/>
              <a:defRPr kumimoji="0" sz="2000" b="0" i="0" u="none" strike="noStrike" kern="0" cap="none" spc="0" normalizeH="0" baseline="0">
                <a:ln w="3175">
                  <a:noFill/>
                </a:ln>
                <a:solidFill>
                  <a:srgbClr val="002050"/>
                </a:solidFill>
                <a:effectLst/>
                <a:uLnTx/>
                <a:uFillTx/>
                <a:latin typeface="Segoe UI Semilight"/>
                <a:cs typeface="Segoe UI Semilight" panose="020B0402040204020203" pitchFamily="34" charset="0"/>
              </a:defRPr>
            </a:lvl1pPr>
          </a:lstStyle>
          <a:p>
            <a:pPr defTabSz="896386">
              <a:defRPr/>
            </a:pPr>
            <a:r>
              <a:rPr lang="en-US" sz="1961" dirty="0"/>
              <a:t>Customers</a:t>
            </a:r>
          </a:p>
        </p:txBody>
      </p:sp>
      <p:sp>
        <p:nvSpPr>
          <p:cNvPr id="664" name="Rectangle 663">
            <a:extLst>
              <a:ext uri="{FF2B5EF4-FFF2-40B4-BE49-F238E27FC236}">
                <a16:creationId xmlns:a16="http://schemas.microsoft.com/office/drawing/2014/main" id="{5766855F-4BE9-4EE1-BEF7-92BAED5E25DB}"/>
              </a:ext>
            </a:extLst>
          </p:cNvPr>
          <p:cNvSpPr/>
          <p:nvPr/>
        </p:nvSpPr>
        <p:spPr bwMode="auto">
          <a:xfrm>
            <a:off x="9190715" y="1185309"/>
            <a:ext cx="1384682" cy="891905"/>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65" name="Group 664">
            <a:extLst>
              <a:ext uri="{FF2B5EF4-FFF2-40B4-BE49-F238E27FC236}">
                <a16:creationId xmlns:a16="http://schemas.microsoft.com/office/drawing/2014/main" id="{D800E5B2-FB9B-4069-A91F-8201E3CE2A45}"/>
              </a:ext>
            </a:extLst>
          </p:cNvPr>
          <p:cNvGrpSpPr/>
          <p:nvPr/>
        </p:nvGrpSpPr>
        <p:grpSpPr>
          <a:xfrm>
            <a:off x="9190715" y="1191488"/>
            <a:ext cx="1495190" cy="1230763"/>
            <a:chOff x="9826198" y="1769752"/>
            <a:chExt cx="1525172" cy="1255442"/>
          </a:xfrm>
        </p:grpSpPr>
        <p:sp>
          <p:nvSpPr>
            <p:cNvPr id="666" name="Rectangle 665">
              <a:extLst>
                <a:ext uri="{FF2B5EF4-FFF2-40B4-BE49-F238E27FC236}">
                  <a16:creationId xmlns:a16="http://schemas.microsoft.com/office/drawing/2014/main" id="{008A47F9-DB99-484D-A77B-0165681FCF23}"/>
                </a:ext>
              </a:extLst>
            </p:cNvPr>
            <p:cNvSpPr/>
            <p:nvPr/>
          </p:nvSpPr>
          <p:spPr>
            <a:xfrm>
              <a:off x="10402657" y="2713862"/>
              <a:ext cx="948713" cy="311332"/>
            </a:xfrm>
            <a:prstGeom prst="rect">
              <a:avLst/>
            </a:prstGeom>
          </p:spPr>
          <p:txBody>
            <a:bodyPr wrap="none">
              <a:spAutoFit/>
            </a:bodyPr>
            <a:lstStyle/>
            <a:p>
              <a:pPr defTabSz="896094" fontAlgn="base">
                <a:lnSpc>
                  <a:spcPct val="90000"/>
                </a:lnSpc>
                <a:spcBef>
                  <a:spcPts val="576"/>
                </a:spcBef>
                <a:spcAft>
                  <a:spcPct val="0"/>
                </a:spcAft>
                <a:defRPr/>
              </a:pPr>
              <a:r>
                <a:rPr lang="en-US" sz="1537" kern="0" dirty="0">
                  <a:solidFill>
                    <a:srgbClr val="353535"/>
                  </a:solidFill>
                  <a:latin typeface="Segoe UI Semilight"/>
                  <a:ea typeface="Segoe UI" pitchFamily="34" charset="0"/>
                  <a:cs typeface="Segoe UI" pitchFamily="34" charset="0"/>
                </a:rPr>
                <a:t>Analytics</a:t>
              </a:r>
            </a:p>
          </p:txBody>
        </p:sp>
        <p:grpSp>
          <p:nvGrpSpPr>
            <p:cNvPr id="667" name="Group 666">
              <a:extLst>
                <a:ext uri="{FF2B5EF4-FFF2-40B4-BE49-F238E27FC236}">
                  <a16:creationId xmlns:a16="http://schemas.microsoft.com/office/drawing/2014/main" id="{CE0093F0-BB1B-4F51-9BAE-DEF86E497508}"/>
                </a:ext>
              </a:extLst>
            </p:cNvPr>
            <p:cNvGrpSpPr>
              <a:grpSpLocks noChangeAspect="1"/>
            </p:cNvGrpSpPr>
            <p:nvPr/>
          </p:nvGrpSpPr>
          <p:grpSpPr>
            <a:xfrm>
              <a:off x="9826198" y="1769752"/>
              <a:ext cx="1412448" cy="909790"/>
              <a:chOff x="3437254" y="1704700"/>
              <a:chExt cx="5678424" cy="3657600"/>
            </a:xfrm>
          </p:grpSpPr>
          <p:grpSp>
            <p:nvGrpSpPr>
              <p:cNvPr id="668" name="Group 667">
                <a:extLst>
                  <a:ext uri="{FF2B5EF4-FFF2-40B4-BE49-F238E27FC236}">
                    <a16:creationId xmlns:a16="http://schemas.microsoft.com/office/drawing/2014/main" id="{53F4E258-3584-4C73-83A3-2E6900FDA889}"/>
                  </a:ext>
                </a:extLst>
              </p:cNvPr>
              <p:cNvGrpSpPr/>
              <p:nvPr/>
            </p:nvGrpSpPr>
            <p:grpSpPr>
              <a:xfrm>
                <a:off x="3691866" y="2308860"/>
                <a:ext cx="1664993" cy="845820"/>
                <a:chOff x="3691866" y="2308860"/>
                <a:chExt cx="1664993" cy="845820"/>
              </a:xfrm>
            </p:grpSpPr>
            <p:sp>
              <p:nvSpPr>
                <p:cNvPr id="815" name="Rectangle 814">
                  <a:extLst>
                    <a:ext uri="{FF2B5EF4-FFF2-40B4-BE49-F238E27FC236}">
                      <a16:creationId xmlns:a16="http://schemas.microsoft.com/office/drawing/2014/main" id="{E68483AE-CAB0-4F54-8C1B-277CDCB72BB2}"/>
                    </a:ext>
                  </a:extLst>
                </p:cNvPr>
                <p:cNvSpPr/>
                <p:nvPr/>
              </p:nvSpPr>
              <p:spPr bwMode="auto">
                <a:xfrm>
                  <a:off x="3691866" y="2308860"/>
                  <a:ext cx="1664993" cy="84582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6" name="Rectangle 815">
                  <a:extLst>
                    <a:ext uri="{FF2B5EF4-FFF2-40B4-BE49-F238E27FC236}">
                      <a16:creationId xmlns:a16="http://schemas.microsoft.com/office/drawing/2014/main" id="{0B9B91CB-8EE2-4F1B-8A16-FFA2C71DD649}"/>
                    </a:ext>
                  </a:extLst>
                </p:cNvPr>
                <p:cNvSpPr/>
                <p:nvPr/>
              </p:nvSpPr>
              <p:spPr bwMode="auto">
                <a:xfrm>
                  <a:off x="3770305" y="2364345"/>
                  <a:ext cx="594360" cy="45719"/>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7" name="Rectangle 816">
                  <a:extLst>
                    <a:ext uri="{FF2B5EF4-FFF2-40B4-BE49-F238E27FC236}">
                      <a16:creationId xmlns:a16="http://schemas.microsoft.com/office/drawing/2014/main" id="{5C99A0EA-B2FC-44A7-AA98-B7810914DAA2}"/>
                    </a:ext>
                  </a:extLst>
                </p:cNvPr>
                <p:cNvSpPr/>
                <p:nvPr/>
              </p:nvSpPr>
              <p:spPr bwMode="auto">
                <a:xfrm>
                  <a:off x="3808404" y="2699623"/>
                  <a:ext cx="146304" cy="341233"/>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8" name="Rectangle 817">
                  <a:extLst>
                    <a:ext uri="{FF2B5EF4-FFF2-40B4-BE49-F238E27FC236}">
                      <a16:creationId xmlns:a16="http://schemas.microsoft.com/office/drawing/2014/main" id="{2A70F8C4-43EB-4782-92C3-E68512C5C573}"/>
                    </a:ext>
                  </a:extLst>
                </p:cNvPr>
                <p:cNvSpPr/>
                <p:nvPr/>
              </p:nvSpPr>
              <p:spPr bwMode="auto">
                <a:xfrm>
                  <a:off x="3989077" y="2783681"/>
                  <a:ext cx="146304" cy="257175"/>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9" name="Rectangle 818">
                  <a:extLst>
                    <a:ext uri="{FF2B5EF4-FFF2-40B4-BE49-F238E27FC236}">
                      <a16:creationId xmlns:a16="http://schemas.microsoft.com/office/drawing/2014/main" id="{7735BEB5-5540-4E62-9CD2-D39B33F1F989}"/>
                    </a:ext>
                  </a:extLst>
                </p:cNvPr>
                <p:cNvSpPr/>
                <p:nvPr/>
              </p:nvSpPr>
              <p:spPr bwMode="auto">
                <a:xfrm>
                  <a:off x="4169750" y="2901915"/>
                  <a:ext cx="146304" cy="138941"/>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0" name="Rectangle 819">
                  <a:extLst>
                    <a:ext uri="{FF2B5EF4-FFF2-40B4-BE49-F238E27FC236}">
                      <a16:creationId xmlns:a16="http://schemas.microsoft.com/office/drawing/2014/main" id="{55F03050-8624-4350-AB95-8A885094E977}"/>
                    </a:ext>
                  </a:extLst>
                </p:cNvPr>
                <p:cNvSpPr/>
                <p:nvPr/>
              </p:nvSpPr>
              <p:spPr bwMode="auto">
                <a:xfrm>
                  <a:off x="4350423" y="2783681"/>
                  <a:ext cx="146304" cy="257175"/>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1" name="Rectangle 820">
                  <a:extLst>
                    <a:ext uri="{FF2B5EF4-FFF2-40B4-BE49-F238E27FC236}">
                      <a16:creationId xmlns:a16="http://schemas.microsoft.com/office/drawing/2014/main" id="{EFDB2E68-E9C9-48E3-A2F8-C080B90F6132}"/>
                    </a:ext>
                  </a:extLst>
                </p:cNvPr>
                <p:cNvSpPr/>
                <p:nvPr/>
              </p:nvSpPr>
              <p:spPr bwMode="auto">
                <a:xfrm>
                  <a:off x="4531096" y="2824163"/>
                  <a:ext cx="146304" cy="216693"/>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2" name="Rectangle 821">
                  <a:extLst>
                    <a:ext uri="{FF2B5EF4-FFF2-40B4-BE49-F238E27FC236}">
                      <a16:creationId xmlns:a16="http://schemas.microsoft.com/office/drawing/2014/main" id="{4A1854BC-9969-45B8-8685-812FAB832C0E}"/>
                    </a:ext>
                  </a:extLst>
                </p:cNvPr>
                <p:cNvSpPr/>
                <p:nvPr/>
              </p:nvSpPr>
              <p:spPr bwMode="auto">
                <a:xfrm>
                  <a:off x="4711769" y="2893219"/>
                  <a:ext cx="146304" cy="147637"/>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3" name="Rectangle 822">
                  <a:extLst>
                    <a:ext uri="{FF2B5EF4-FFF2-40B4-BE49-F238E27FC236}">
                      <a16:creationId xmlns:a16="http://schemas.microsoft.com/office/drawing/2014/main" id="{121DBF15-0D7C-4A17-94AD-742F0CBA7E92}"/>
                    </a:ext>
                  </a:extLst>
                </p:cNvPr>
                <p:cNvSpPr/>
                <p:nvPr/>
              </p:nvSpPr>
              <p:spPr bwMode="auto">
                <a:xfrm>
                  <a:off x="4892442" y="2569369"/>
                  <a:ext cx="146304" cy="471487"/>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4" name="Rectangle 823">
                  <a:extLst>
                    <a:ext uri="{FF2B5EF4-FFF2-40B4-BE49-F238E27FC236}">
                      <a16:creationId xmlns:a16="http://schemas.microsoft.com/office/drawing/2014/main" id="{13AB1D8C-58DF-4005-A0B0-ABDE417A3049}"/>
                    </a:ext>
                  </a:extLst>
                </p:cNvPr>
                <p:cNvSpPr/>
                <p:nvPr/>
              </p:nvSpPr>
              <p:spPr bwMode="auto">
                <a:xfrm>
                  <a:off x="5070731" y="2950369"/>
                  <a:ext cx="146304" cy="90487"/>
                </a:xfrm>
                <a:prstGeom prst="rect">
                  <a:avLst/>
                </a:pr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69" name="Group 668">
                <a:extLst>
                  <a:ext uri="{FF2B5EF4-FFF2-40B4-BE49-F238E27FC236}">
                    <a16:creationId xmlns:a16="http://schemas.microsoft.com/office/drawing/2014/main" id="{BEE8F731-449C-41F7-B693-0F4CEB13A04B}"/>
                  </a:ext>
                </a:extLst>
              </p:cNvPr>
              <p:cNvGrpSpPr/>
              <p:nvPr/>
            </p:nvGrpSpPr>
            <p:grpSpPr>
              <a:xfrm>
                <a:off x="3755548" y="3354886"/>
                <a:ext cx="1470468" cy="1765691"/>
                <a:chOff x="3755548" y="3354886"/>
                <a:chExt cx="1470468" cy="1765691"/>
              </a:xfrm>
            </p:grpSpPr>
            <p:grpSp>
              <p:nvGrpSpPr>
                <p:cNvPr id="737" name="Group 736">
                  <a:extLst>
                    <a:ext uri="{FF2B5EF4-FFF2-40B4-BE49-F238E27FC236}">
                      <a16:creationId xmlns:a16="http://schemas.microsoft.com/office/drawing/2014/main" id="{46B4B6CC-ED35-47B8-85D9-3B23B1888D60}"/>
                    </a:ext>
                  </a:extLst>
                </p:cNvPr>
                <p:cNvGrpSpPr/>
                <p:nvPr/>
              </p:nvGrpSpPr>
              <p:grpSpPr>
                <a:xfrm>
                  <a:off x="3755548" y="3354886"/>
                  <a:ext cx="1333308" cy="45719"/>
                  <a:chOff x="3755548" y="3354886"/>
                  <a:chExt cx="1333308" cy="45719"/>
                </a:xfrm>
              </p:grpSpPr>
              <p:sp>
                <p:nvSpPr>
                  <p:cNvPr id="813" name="Rectangle 812">
                    <a:extLst>
                      <a:ext uri="{FF2B5EF4-FFF2-40B4-BE49-F238E27FC236}">
                        <a16:creationId xmlns:a16="http://schemas.microsoft.com/office/drawing/2014/main" id="{C75A1EC6-1E16-4DAB-866B-C0482DCE6279}"/>
                      </a:ext>
                    </a:extLst>
                  </p:cNvPr>
                  <p:cNvSpPr/>
                  <p:nvPr/>
                </p:nvSpPr>
                <p:spPr bwMode="auto">
                  <a:xfrm>
                    <a:off x="3755548" y="3354886"/>
                    <a:ext cx="59436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4" name="Rectangle 813">
                    <a:extLst>
                      <a:ext uri="{FF2B5EF4-FFF2-40B4-BE49-F238E27FC236}">
                        <a16:creationId xmlns:a16="http://schemas.microsoft.com/office/drawing/2014/main" id="{D005C41B-94FE-4404-81C3-310B5D25C61F}"/>
                      </a:ext>
                    </a:extLst>
                  </p:cNvPr>
                  <p:cNvSpPr/>
                  <p:nvPr/>
                </p:nvSpPr>
                <p:spPr bwMode="auto">
                  <a:xfrm>
                    <a:off x="4631656" y="3354886"/>
                    <a:ext cx="45720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38" name="Group 737">
                  <a:extLst>
                    <a:ext uri="{FF2B5EF4-FFF2-40B4-BE49-F238E27FC236}">
                      <a16:creationId xmlns:a16="http://schemas.microsoft.com/office/drawing/2014/main" id="{78C1A71E-C5F3-4A4E-9DED-BAAB46573C0A}"/>
                    </a:ext>
                  </a:extLst>
                </p:cNvPr>
                <p:cNvGrpSpPr/>
                <p:nvPr/>
              </p:nvGrpSpPr>
              <p:grpSpPr>
                <a:xfrm>
                  <a:off x="3755548" y="3758840"/>
                  <a:ext cx="1470468" cy="45719"/>
                  <a:chOff x="3755548" y="3758840"/>
                  <a:chExt cx="1470468" cy="45719"/>
                </a:xfrm>
              </p:grpSpPr>
              <p:sp>
                <p:nvSpPr>
                  <p:cNvPr id="811" name="Rectangle 810">
                    <a:extLst>
                      <a:ext uri="{FF2B5EF4-FFF2-40B4-BE49-F238E27FC236}">
                        <a16:creationId xmlns:a16="http://schemas.microsoft.com/office/drawing/2014/main" id="{C4703986-5020-42E3-96E3-61A1F3532858}"/>
                      </a:ext>
                    </a:extLst>
                  </p:cNvPr>
                  <p:cNvSpPr/>
                  <p:nvPr/>
                </p:nvSpPr>
                <p:spPr bwMode="auto">
                  <a:xfrm>
                    <a:off x="3755548" y="3758840"/>
                    <a:ext cx="64008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2" name="Rectangle 811">
                    <a:extLst>
                      <a:ext uri="{FF2B5EF4-FFF2-40B4-BE49-F238E27FC236}">
                        <a16:creationId xmlns:a16="http://schemas.microsoft.com/office/drawing/2014/main" id="{83C150E6-7BCD-418B-8435-7377B0BB9629}"/>
                      </a:ext>
                    </a:extLst>
                  </p:cNvPr>
                  <p:cNvSpPr/>
                  <p:nvPr/>
                </p:nvSpPr>
                <p:spPr bwMode="auto">
                  <a:xfrm>
                    <a:off x="4631656" y="3758840"/>
                    <a:ext cx="59436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39" name="Group 738">
                  <a:extLst>
                    <a:ext uri="{FF2B5EF4-FFF2-40B4-BE49-F238E27FC236}">
                      <a16:creationId xmlns:a16="http://schemas.microsoft.com/office/drawing/2014/main" id="{26469A8E-630D-4FE0-8C64-5835498FCD07}"/>
                    </a:ext>
                  </a:extLst>
                </p:cNvPr>
                <p:cNvGrpSpPr/>
                <p:nvPr/>
              </p:nvGrpSpPr>
              <p:grpSpPr>
                <a:xfrm>
                  <a:off x="3755548" y="4156616"/>
                  <a:ext cx="1397316" cy="45719"/>
                  <a:chOff x="3755548" y="4156616"/>
                  <a:chExt cx="1397316" cy="45719"/>
                </a:xfrm>
              </p:grpSpPr>
              <p:sp>
                <p:nvSpPr>
                  <p:cNvPr id="809" name="Rectangle 808">
                    <a:extLst>
                      <a:ext uri="{FF2B5EF4-FFF2-40B4-BE49-F238E27FC236}">
                        <a16:creationId xmlns:a16="http://schemas.microsoft.com/office/drawing/2014/main" id="{2C6697F3-B9B3-4B35-A81D-C688AB1B8C64}"/>
                      </a:ext>
                    </a:extLst>
                  </p:cNvPr>
                  <p:cNvSpPr/>
                  <p:nvPr/>
                </p:nvSpPr>
                <p:spPr bwMode="auto">
                  <a:xfrm>
                    <a:off x="3755548" y="4156616"/>
                    <a:ext cx="41148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0" name="Rectangle 809">
                    <a:extLst>
                      <a:ext uri="{FF2B5EF4-FFF2-40B4-BE49-F238E27FC236}">
                        <a16:creationId xmlns:a16="http://schemas.microsoft.com/office/drawing/2014/main" id="{AF00FC7E-4162-46C0-A898-BBC82CA2E407}"/>
                      </a:ext>
                    </a:extLst>
                  </p:cNvPr>
                  <p:cNvSpPr/>
                  <p:nvPr/>
                </p:nvSpPr>
                <p:spPr bwMode="auto">
                  <a:xfrm>
                    <a:off x="4631656" y="4156616"/>
                    <a:ext cx="521208"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0" name="Group 739">
                  <a:extLst>
                    <a:ext uri="{FF2B5EF4-FFF2-40B4-BE49-F238E27FC236}">
                      <a16:creationId xmlns:a16="http://schemas.microsoft.com/office/drawing/2014/main" id="{3D9332FE-96D0-4CA1-8A5E-7B08262C96B1}"/>
                    </a:ext>
                  </a:extLst>
                </p:cNvPr>
                <p:cNvGrpSpPr/>
                <p:nvPr/>
              </p:nvGrpSpPr>
              <p:grpSpPr>
                <a:xfrm>
                  <a:off x="3755548" y="3446404"/>
                  <a:ext cx="1169229" cy="64008"/>
                  <a:chOff x="3755548" y="3446404"/>
                  <a:chExt cx="1169229" cy="64008"/>
                </a:xfrm>
              </p:grpSpPr>
              <p:grpSp>
                <p:nvGrpSpPr>
                  <p:cNvPr id="800" name="Group 799">
                    <a:extLst>
                      <a:ext uri="{FF2B5EF4-FFF2-40B4-BE49-F238E27FC236}">
                        <a16:creationId xmlns:a16="http://schemas.microsoft.com/office/drawing/2014/main" id="{4633D402-3E6E-43C9-8454-749FCAE47E8F}"/>
                      </a:ext>
                    </a:extLst>
                  </p:cNvPr>
                  <p:cNvGrpSpPr/>
                  <p:nvPr/>
                </p:nvGrpSpPr>
                <p:grpSpPr>
                  <a:xfrm>
                    <a:off x="3755548" y="3446404"/>
                    <a:ext cx="198645" cy="64008"/>
                    <a:chOff x="3756063" y="3446404"/>
                    <a:chExt cx="198645" cy="64008"/>
                  </a:xfrm>
                </p:grpSpPr>
                <p:sp>
                  <p:nvSpPr>
                    <p:cNvPr id="806" name="Rectangle 805">
                      <a:extLst>
                        <a:ext uri="{FF2B5EF4-FFF2-40B4-BE49-F238E27FC236}">
                          <a16:creationId xmlns:a16="http://schemas.microsoft.com/office/drawing/2014/main" id="{708FA541-BE3C-4E24-A53C-7A16E71804B7}"/>
                        </a:ext>
                      </a:extLst>
                    </p:cNvPr>
                    <p:cNvSpPr/>
                    <p:nvPr/>
                  </p:nvSpPr>
                  <p:spPr bwMode="auto">
                    <a:xfrm>
                      <a:off x="3756063" y="3446404"/>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7" name="Rectangle 806">
                      <a:extLst>
                        <a:ext uri="{FF2B5EF4-FFF2-40B4-BE49-F238E27FC236}">
                          <a16:creationId xmlns:a16="http://schemas.microsoft.com/office/drawing/2014/main" id="{C1F68FCD-D1F1-4517-8CB9-EAC3A8F14570}"/>
                        </a:ext>
                      </a:extLst>
                    </p:cNvPr>
                    <p:cNvSpPr/>
                    <p:nvPr/>
                  </p:nvSpPr>
                  <p:spPr bwMode="auto">
                    <a:xfrm>
                      <a:off x="3837098" y="3446404"/>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8" name="Rectangle 807">
                      <a:extLst>
                        <a:ext uri="{FF2B5EF4-FFF2-40B4-BE49-F238E27FC236}">
                          <a16:creationId xmlns:a16="http://schemas.microsoft.com/office/drawing/2014/main" id="{0C4E1120-A4BE-4EA2-9CD1-7D3FE9E2245F}"/>
                        </a:ext>
                      </a:extLst>
                    </p:cNvPr>
                    <p:cNvSpPr/>
                    <p:nvPr/>
                  </p:nvSpPr>
                  <p:spPr bwMode="auto">
                    <a:xfrm>
                      <a:off x="3927276" y="3446404"/>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01" name="Group 800">
                    <a:extLst>
                      <a:ext uri="{FF2B5EF4-FFF2-40B4-BE49-F238E27FC236}">
                        <a16:creationId xmlns:a16="http://schemas.microsoft.com/office/drawing/2014/main" id="{6369CC7D-5748-448A-96A1-F18A2F58E1EB}"/>
                      </a:ext>
                    </a:extLst>
                  </p:cNvPr>
                  <p:cNvGrpSpPr/>
                  <p:nvPr/>
                </p:nvGrpSpPr>
                <p:grpSpPr>
                  <a:xfrm>
                    <a:off x="4631656" y="3446404"/>
                    <a:ext cx="293121" cy="64008"/>
                    <a:chOff x="4635062" y="3446404"/>
                    <a:chExt cx="293121" cy="64008"/>
                  </a:xfrm>
                </p:grpSpPr>
                <p:sp>
                  <p:nvSpPr>
                    <p:cNvPr id="802" name="Rectangle 801">
                      <a:extLst>
                        <a:ext uri="{FF2B5EF4-FFF2-40B4-BE49-F238E27FC236}">
                          <a16:creationId xmlns:a16="http://schemas.microsoft.com/office/drawing/2014/main" id="{68C58755-126D-4C8C-B530-BD736380D46C}"/>
                        </a:ext>
                      </a:extLst>
                    </p:cNvPr>
                    <p:cNvSpPr/>
                    <p:nvPr/>
                  </p:nvSpPr>
                  <p:spPr bwMode="auto">
                    <a:xfrm>
                      <a:off x="4705454" y="3446404"/>
                      <a:ext cx="5451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3" name="Rectangle 802">
                      <a:extLst>
                        <a:ext uri="{FF2B5EF4-FFF2-40B4-BE49-F238E27FC236}">
                          <a16:creationId xmlns:a16="http://schemas.microsoft.com/office/drawing/2014/main" id="{AE8F6B6B-7B1A-4DA0-8396-E4175F333900}"/>
                        </a:ext>
                      </a:extLst>
                    </p:cNvPr>
                    <p:cNvSpPr/>
                    <p:nvPr/>
                  </p:nvSpPr>
                  <p:spPr bwMode="auto">
                    <a:xfrm>
                      <a:off x="4802926" y="3446404"/>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4" name="Rectangle 803">
                      <a:extLst>
                        <a:ext uri="{FF2B5EF4-FFF2-40B4-BE49-F238E27FC236}">
                          <a16:creationId xmlns:a16="http://schemas.microsoft.com/office/drawing/2014/main" id="{0EBEA108-B4CD-4E44-B117-0F87B2ACC22C}"/>
                        </a:ext>
                      </a:extLst>
                    </p:cNvPr>
                    <p:cNvSpPr/>
                    <p:nvPr/>
                  </p:nvSpPr>
                  <p:spPr bwMode="auto">
                    <a:xfrm>
                      <a:off x="4900751" y="3446404"/>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5" name="Rectangle 804">
                      <a:extLst>
                        <a:ext uri="{FF2B5EF4-FFF2-40B4-BE49-F238E27FC236}">
                          <a16:creationId xmlns:a16="http://schemas.microsoft.com/office/drawing/2014/main" id="{DDA3A286-8841-4494-9941-9C936859638B}"/>
                        </a:ext>
                      </a:extLst>
                    </p:cNvPr>
                    <p:cNvSpPr/>
                    <p:nvPr/>
                  </p:nvSpPr>
                  <p:spPr bwMode="auto">
                    <a:xfrm>
                      <a:off x="4635062" y="3446404"/>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1" name="Group 740">
                  <a:extLst>
                    <a:ext uri="{FF2B5EF4-FFF2-40B4-BE49-F238E27FC236}">
                      <a16:creationId xmlns:a16="http://schemas.microsoft.com/office/drawing/2014/main" id="{01274D5B-8FEA-45F6-8772-65B06DECF871}"/>
                    </a:ext>
                  </a:extLst>
                </p:cNvPr>
                <p:cNvGrpSpPr/>
                <p:nvPr/>
              </p:nvGrpSpPr>
              <p:grpSpPr>
                <a:xfrm>
                  <a:off x="3755548" y="3847814"/>
                  <a:ext cx="1392696" cy="64008"/>
                  <a:chOff x="3755548" y="3847814"/>
                  <a:chExt cx="1392696" cy="64008"/>
                </a:xfrm>
              </p:grpSpPr>
              <p:grpSp>
                <p:nvGrpSpPr>
                  <p:cNvPr id="787" name="Group 786">
                    <a:extLst>
                      <a:ext uri="{FF2B5EF4-FFF2-40B4-BE49-F238E27FC236}">
                        <a16:creationId xmlns:a16="http://schemas.microsoft.com/office/drawing/2014/main" id="{3C9F981E-35F6-4AAD-AB6D-CECA015C5F67}"/>
                      </a:ext>
                    </a:extLst>
                  </p:cNvPr>
                  <p:cNvGrpSpPr/>
                  <p:nvPr/>
                </p:nvGrpSpPr>
                <p:grpSpPr>
                  <a:xfrm>
                    <a:off x="3755548" y="3847814"/>
                    <a:ext cx="308341" cy="64008"/>
                    <a:chOff x="3755548" y="3846683"/>
                    <a:chExt cx="308341" cy="64008"/>
                  </a:xfrm>
                </p:grpSpPr>
                <p:sp>
                  <p:nvSpPr>
                    <p:cNvPr id="796" name="Rectangle 795">
                      <a:extLst>
                        <a:ext uri="{FF2B5EF4-FFF2-40B4-BE49-F238E27FC236}">
                          <a16:creationId xmlns:a16="http://schemas.microsoft.com/office/drawing/2014/main" id="{A7342424-FF9B-4AE4-B781-0091EC8FDA27}"/>
                        </a:ext>
                      </a:extLst>
                    </p:cNvPr>
                    <p:cNvSpPr/>
                    <p:nvPr/>
                  </p:nvSpPr>
                  <p:spPr bwMode="auto">
                    <a:xfrm>
                      <a:off x="3833944" y="384668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7" name="Rectangle 796">
                      <a:extLst>
                        <a:ext uri="{FF2B5EF4-FFF2-40B4-BE49-F238E27FC236}">
                          <a16:creationId xmlns:a16="http://schemas.microsoft.com/office/drawing/2014/main" id="{CBBF5904-BCCB-48C1-B709-5D8BF5F1AE9B}"/>
                        </a:ext>
                      </a:extLst>
                    </p:cNvPr>
                    <p:cNvSpPr/>
                    <p:nvPr/>
                  </p:nvSpPr>
                  <p:spPr bwMode="auto">
                    <a:xfrm>
                      <a:off x="3930628" y="384668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8" name="Rectangle 797">
                      <a:extLst>
                        <a:ext uri="{FF2B5EF4-FFF2-40B4-BE49-F238E27FC236}">
                          <a16:creationId xmlns:a16="http://schemas.microsoft.com/office/drawing/2014/main" id="{20A62717-B77B-4E8C-A23E-80D64EEFD4CE}"/>
                        </a:ext>
                      </a:extLst>
                    </p:cNvPr>
                    <p:cNvSpPr/>
                    <p:nvPr/>
                  </p:nvSpPr>
                  <p:spPr bwMode="auto">
                    <a:xfrm>
                      <a:off x="4036457"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9" name="Rectangle 798">
                      <a:extLst>
                        <a:ext uri="{FF2B5EF4-FFF2-40B4-BE49-F238E27FC236}">
                          <a16:creationId xmlns:a16="http://schemas.microsoft.com/office/drawing/2014/main" id="{C1EF7947-032C-4681-AAA1-C53F902DC7F8}"/>
                        </a:ext>
                      </a:extLst>
                    </p:cNvPr>
                    <p:cNvSpPr/>
                    <p:nvPr/>
                  </p:nvSpPr>
                  <p:spPr bwMode="auto">
                    <a:xfrm>
                      <a:off x="3755548"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88" name="Group 787">
                    <a:extLst>
                      <a:ext uri="{FF2B5EF4-FFF2-40B4-BE49-F238E27FC236}">
                        <a16:creationId xmlns:a16="http://schemas.microsoft.com/office/drawing/2014/main" id="{95F8C518-0822-4F64-BF36-D5FDE60F0DC5}"/>
                      </a:ext>
                    </a:extLst>
                  </p:cNvPr>
                  <p:cNvGrpSpPr/>
                  <p:nvPr/>
                </p:nvGrpSpPr>
                <p:grpSpPr>
                  <a:xfrm>
                    <a:off x="4631656" y="3847814"/>
                    <a:ext cx="516588" cy="64008"/>
                    <a:chOff x="4636669" y="3846683"/>
                    <a:chExt cx="516588" cy="64008"/>
                  </a:xfrm>
                </p:grpSpPr>
                <p:sp>
                  <p:nvSpPr>
                    <p:cNvPr id="789" name="Rectangle 788">
                      <a:extLst>
                        <a:ext uri="{FF2B5EF4-FFF2-40B4-BE49-F238E27FC236}">
                          <a16:creationId xmlns:a16="http://schemas.microsoft.com/office/drawing/2014/main" id="{F0D5BB69-1064-42A4-AA49-1ED1E1401CB3}"/>
                        </a:ext>
                      </a:extLst>
                    </p:cNvPr>
                    <p:cNvSpPr/>
                    <p:nvPr/>
                  </p:nvSpPr>
                  <p:spPr bwMode="auto">
                    <a:xfrm>
                      <a:off x="4701490" y="384668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0" name="Rectangle 789">
                      <a:extLst>
                        <a:ext uri="{FF2B5EF4-FFF2-40B4-BE49-F238E27FC236}">
                          <a16:creationId xmlns:a16="http://schemas.microsoft.com/office/drawing/2014/main" id="{DDF25734-18EC-4236-ACF2-4681824D6F90}"/>
                        </a:ext>
                      </a:extLst>
                    </p:cNvPr>
                    <p:cNvSpPr/>
                    <p:nvPr/>
                  </p:nvSpPr>
                  <p:spPr bwMode="auto">
                    <a:xfrm>
                      <a:off x="4784599" y="384668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1" name="Rectangle 790">
                      <a:extLst>
                        <a:ext uri="{FF2B5EF4-FFF2-40B4-BE49-F238E27FC236}">
                          <a16:creationId xmlns:a16="http://schemas.microsoft.com/office/drawing/2014/main" id="{60F1F587-C4E2-4928-8EE5-FE7FA865E40E}"/>
                        </a:ext>
                      </a:extLst>
                    </p:cNvPr>
                    <p:cNvSpPr/>
                    <p:nvPr/>
                  </p:nvSpPr>
                  <p:spPr bwMode="auto">
                    <a:xfrm>
                      <a:off x="4876852"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2" name="Rectangle 791">
                      <a:extLst>
                        <a:ext uri="{FF2B5EF4-FFF2-40B4-BE49-F238E27FC236}">
                          <a16:creationId xmlns:a16="http://schemas.microsoft.com/office/drawing/2014/main" id="{D3E81561-5920-4FB5-8BE9-94E4EA5FFF52}"/>
                        </a:ext>
                      </a:extLst>
                    </p:cNvPr>
                    <p:cNvSpPr/>
                    <p:nvPr/>
                  </p:nvSpPr>
                  <p:spPr bwMode="auto">
                    <a:xfrm>
                      <a:off x="4941673" y="3846683"/>
                      <a:ext cx="5451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3" name="Rectangle 792">
                      <a:extLst>
                        <a:ext uri="{FF2B5EF4-FFF2-40B4-BE49-F238E27FC236}">
                          <a16:creationId xmlns:a16="http://schemas.microsoft.com/office/drawing/2014/main" id="{3E807F02-3ABA-42AB-8A5E-59937ED165E0}"/>
                        </a:ext>
                      </a:extLst>
                    </p:cNvPr>
                    <p:cNvSpPr/>
                    <p:nvPr/>
                  </p:nvSpPr>
                  <p:spPr bwMode="auto">
                    <a:xfrm>
                      <a:off x="5033574" y="384668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4" name="Rectangle 793">
                      <a:extLst>
                        <a:ext uri="{FF2B5EF4-FFF2-40B4-BE49-F238E27FC236}">
                          <a16:creationId xmlns:a16="http://schemas.microsoft.com/office/drawing/2014/main" id="{F642307D-8192-4B5A-88F8-2239933EB389}"/>
                        </a:ext>
                      </a:extLst>
                    </p:cNvPr>
                    <p:cNvSpPr/>
                    <p:nvPr/>
                  </p:nvSpPr>
                  <p:spPr bwMode="auto">
                    <a:xfrm>
                      <a:off x="5125825"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5" name="Rectangle 794">
                      <a:extLst>
                        <a:ext uri="{FF2B5EF4-FFF2-40B4-BE49-F238E27FC236}">
                          <a16:creationId xmlns:a16="http://schemas.microsoft.com/office/drawing/2014/main" id="{F45EF202-1EB0-4527-9B0B-C29E964DE5B8}"/>
                        </a:ext>
                      </a:extLst>
                    </p:cNvPr>
                    <p:cNvSpPr/>
                    <p:nvPr/>
                  </p:nvSpPr>
                  <p:spPr bwMode="auto">
                    <a:xfrm>
                      <a:off x="4636669"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2" name="Group 741">
                  <a:extLst>
                    <a:ext uri="{FF2B5EF4-FFF2-40B4-BE49-F238E27FC236}">
                      <a16:creationId xmlns:a16="http://schemas.microsoft.com/office/drawing/2014/main" id="{2567ADB9-95DC-4EB6-B0FF-1D6964448A90}"/>
                    </a:ext>
                  </a:extLst>
                </p:cNvPr>
                <p:cNvGrpSpPr/>
                <p:nvPr/>
              </p:nvGrpSpPr>
              <p:grpSpPr>
                <a:xfrm>
                  <a:off x="3755548" y="4254422"/>
                  <a:ext cx="1067913" cy="64008"/>
                  <a:chOff x="3755548" y="4254422"/>
                  <a:chExt cx="1067913" cy="64008"/>
                </a:xfrm>
              </p:grpSpPr>
              <p:grpSp>
                <p:nvGrpSpPr>
                  <p:cNvPr id="779" name="Group 778">
                    <a:extLst>
                      <a:ext uri="{FF2B5EF4-FFF2-40B4-BE49-F238E27FC236}">
                        <a16:creationId xmlns:a16="http://schemas.microsoft.com/office/drawing/2014/main" id="{D0F41D46-A759-44A3-B259-859D47ED39CF}"/>
                      </a:ext>
                    </a:extLst>
                  </p:cNvPr>
                  <p:cNvGrpSpPr/>
                  <p:nvPr/>
                </p:nvGrpSpPr>
                <p:grpSpPr>
                  <a:xfrm>
                    <a:off x="3755548" y="4254422"/>
                    <a:ext cx="191805" cy="64008"/>
                    <a:chOff x="3755548" y="4257359"/>
                    <a:chExt cx="191805" cy="64008"/>
                  </a:xfrm>
                </p:grpSpPr>
                <p:sp>
                  <p:nvSpPr>
                    <p:cNvPr id="784" name="Rectangle 783">
                      <a:extLst>
                        <a:ext uri="{FF2B5EF4-FFF2-40B4-BE49-F238E27FC236}">
                          <a16:creationId xmlns:a16="http://schemas.microsoft.com/office/drawing/2014/main" id="{31441FA1-64F7-477A-8D8A-1E61BBC5EB74}"/>
                        </a:ext>
                      </a:extLst>
                    </p:cNvPr>
                    <p:cNvSpPr/>
                    <p:nvPr/>
                  </p:nvSpPr>
                  <p:spPr bwMode="auto">
                    <a:xfrm>
                      <a:off x="3828590" y="425735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5" name="Rectangle 784">
                      <a:extLst>
                        <a:ext uri="{FF2B5EF4-FFF2-40B4-BE49-F238E27FC236}">
                          <a16:creationId xmlns:a16="http://schemas.microsoft.com/office/drawing/2014/main" id="{5E76CCBC-FA60-4299-9F3B-F7ED5519E1EB}"/>
                        </a:ext>
                      </a:extLst>
                    </p:cNvPr>
                    <p:cNvSpPr/>
                    <p:nvPr/>
                  </p:nvSpPr>
                  <p:spPr bwMode="auto">
                    <a:xfrm>
                      <a:off x="3919921"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6" name="Rectangle 785">
                      <a:extLst>
                        <a:ext uri="{FF2B5EF4-FFF2-40B4-BE49-F238E27FC236}">
                          <a16:creationId xmlns:a16="http://schemas.microsoft.com/office/drawing/2014/main" id="{5381C0DF-13C1-4D08-8361-AD415167344C}"/>
                        </a:ext>
                      </a:extLst>
                    </p:cNvPr>
                    <p:cNvSpPr/>
                    <p:nvPr/>
                  </p:nvSpPr>
                  <p:spPr bwMode="auto">
                    <a:xfrm>
                      <a:off x="3755548"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80" name="Group 779">
                    <a:extLst>
                      <a:ext uri="{FF2B5EF4-FFF2-40B4-BE49-F238E27FC236}">
                        <a16:creationId xmlns:a16="http://schemas.microsoft.com/office/drawing/2014/main" id="{4BB69690-7C58-4EB7-8BA5-A6566F7191E1}"/>
                      </a:ext>
                    </a:extLst>
                  </p:cNvPr>
                  <p:cNvGrpSpPr/>
                  <p:nvPr/>
                </p:nvGrpSpPr>
                <p:grpSpPr>
                  <a:xfrm>
                    <a:off x="4631656" y="4254422"/>
                    <a:ext cx="191805" cy="64008"/>
                    <a:chOff x="4631656" y="4257359"/>
                    <a:chExt cx="191805" cy="64008"/>
                  </a:xfrm>
                </p:grpSpPr>
                <p:sp>
                  <p:nvSpPr>
                    <p:cNvPr id="781" name="Rectangle 780">
                      <a:extLst>
                        <a:ext uri="{FF2B5EF4-FFF2-40B4-BE49-F238E27FC236}">
                          <a16:creationId xmlns:a16="http://schemas.microsoft.com/office/drawing/2014/main" id="{72FF3F03-945D-498C-84E4-54E6FEE63683}"/>
                        </a:ext>
                      </a:extLst>
                    </p:cNvPr>
                    <p:cNvSpPr/>
                    <p:nvPr/>
                  </p:nvSpPr>
                  <p:spPr bwMode="auto">
                    <a:xfrm>
                      <a:off x="4704698" y="425735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2" name="Rectangle 781">
                      <a:extLst>
                        <a:ext uri="{FF2B5EF4-FFF2-40B4-BE49-F238E27FC236}">
                          <a16:creationId xmlns:a16="http://schemas.microsoft.com/office/drawing/2014/main" id="{B3D2165F-2BA1-4180-83AC-8C44EA3EBE1B}"/>
                        </a:ext>
                      </a:extLst>
                    </p:cNvPr>
                    <p:cNvSpPr/>
                    <p:nvPr/>
                  </p:nvSpPr>
                  <p:spPr bwMode="auto">
                    <a:xfrm>
                      <a:off x="4796029"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3" name="Rectangle 782">
                      <a:extLst>
                        <a:ext uri="{FF2B5EF4-FFF2-40B4-BE49-F238E27FC236}">
                          <a16:creationId xmlns:a16="http://schemas.microsoft.com/office/drawing/2014/main" id="{EB829D56-D6ED-4C10-96F2-27E50C909D17}"/>
                        </a:ext>
                      </a:extLst>
                    </p:cNvPr>
                    <p:cNvSpPr/>
                    <p:nvPr/>
                  </p:nvSpPr>
                  <p:spPr bwMode="auto">
                    <a:xfrm>
                      <a:off x="4631656"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3" name="Group 742">
                  <a:extLst>
                    <a:ext uri="{FF2B5EF4-FFF2-40B4-BE49-F238E27FC236}">
                      <a16:creationId xmlns:a16="http://schemas.microsoft.com/office/drawing/2014/main" id="{5467CB08-AC8C-4682-9FB3-47AF7D633FAD}"/>
                    </a:ext>
                  </a:extLst>
                </p:cNvPr>
                <p:cNvGrpSpPr/>
                <p:nvPr/>
              </p:nvGrpSpPr>
              <p:grpSpPr>
                <a:xfrm>
                  <a:off x="3755548" y="4560882"/>
                  <a:ext cx="1333308" cy="45719"/>
                  <a:chOff x="3755548" y="4560882"/>
                  <a:chExt cx="1333308" cy="45719"/>
                </a:xfrm>
              </p:grpSpPr>
              <p:sp>
                <p:nvSpPr>
                  <p:cNvPr id="777" name="Rectangle 776">
                    <a:extLst>
                      <a:ext uri="{FF2B5EF4-FFF2-40B4-BE49-F238E27FC236}">
                        <a16:creationId xmlns:a16="http://schemas.microsoft.com/office/drawing/2014/main" id="{03947B20-7060-403A-92C2-F68BFA1534E6}"/>
                      </a:ext>
                    </a:extLst>
                  </p:cNvPr>
                  <p:cNvSpPr/>
                  <p:nvPr/>
                </p:nvSpPr>
                <p:spPr bwMode="auto">
                  <a:xfrm>
                    <a:off x="3755548" y="4560882"/>
                    <a:ext cx="585216"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8" name="Rectangle 777">
                    <a:extLst>
                      <a:ext uri="{FF2B5EF4-FFF2-40B4-BE49-F238E27FC236}">
                        <a16:creationId xmlns:a16="http://schemas.microsoft.com/office/drawing/2014/main" id="{4945DE2D-5D30-486C-82A6-EBDFCAE392AD}"/>
                      </a:ext>
                    </a:extLst>
                  </p:cNvPr>
                  <p:cNvSpPr/>
                  <p:nvPr/>
                </p:nvSpPr>
                <p:spPr bwMode="auto">
                  <a:xfrm>
                    <a:off x="4631656" y="4560882"/>
                    <a:ext cx="45720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4" name="Group 743">
                  <a:extLst>
                    <a:ext uri="{FF2B5EF4-FFF2-40B4-BE49-F238E27FC236}">
                      <a16:creationId xmlns:a16="http://schemas.microsoft.com/office/drawing/2014/main" id="{8F782692-C9AA-4BD7-AF9D-13A6CB28FA0D}"/>
                    </a:ext>
                  </a:extLst>
                </p:cNvPr>
                <p:cNvGrpSpPr/>
                <p:nvPr/>
              </p:nvGrpSpPr>
              <p:grpSpPr>
                <a:xfrm>
                  <a:off x="3755548" y="4966293"/>
                  <a:ext cx="1333308" cy="45719"/>
                  <a:chOff x="3755548" y="4966293"/>
                  <a:chExt cx="1333308" cy="45719"/>
                </a:xfrm>
              </p:grpSpPr>
              <p:sp>
                <p:nvSpPr>
                  <p:cNvPr id="775" name="Rectangle 774">
                    <a:extLst>
                      <a:ext uri="{FF2B5EF4-FFF2-40B4-BE49-F238E27FC236}">
                        <a16:creationId xmlns:a16="http://schemas.microsoft.com/office/drawing/2014/main" id="{2956620F-0CC1-4FEA-938B-DA8FF658FE8B}"/>
                      </a:ext>
                    </a:extLst>
                  </p:cNvPr>
                  <p:cNvSpPr/>
                  <p:nvPr/>
                </p:nvSpPr>
                <p:spPr bwMode="auto">
                  <a:xfrm>
                    <a:off x="3755548" y="4966293"/>
                    <a:ext cx="54864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6" name="Rectangle 775">
                    <a:extLst>
                      <a:ext uri="{FF2B5EF4-FFF2-40B4-BE49-F238E27FC236}">
                        <a16:creationId xmlns:a16="http://schemas.microsoft.com/office/drawing/2014/main" id="{6FEFECA0-3CC3-4343-8528-2A6A2EFB6887}"/>
                      </a:ext>
                    </a:extLst>
                  </p:cNvPr>
                  <p:cNvSpPr/>
                  <p:nvPr/>
                </p:nvSpPr>
                <p:spPr bwMode="auto">
                  <a:xfrm>
                    <a:off x="4631656" y="4966293"/>
                    <a:ext cx="45720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5" name="Group 744">
                  <a:extLst>
                    <a:ext uri="{FF2B5EF4-FFF2-40B4-BE49-F238E27FC236}">
                      <a16:creationId xmlns:a16="http://schemas.microsoft.com/office/drawing/2014/main" id="{BC7A7A18-4CB4-4692-BA37-88FC0ABED51C}"/>
                    </a:ext>
                  </a:extLst>
                </p:cNvPr>
                <p:cNvGrpSpPr/>
                <p:nvPr/>
              </p:nvGrpSpPr>
              <p:grpSpPr>
                <a:xfrm>
                  <a:off x="3755548" y="5056569"/>
                  <a:ext cx="1311775" cy="64008"/>
                  <a:chOff x="3755548" y="5056569"/>
                  <a:chExt cx="1311775" cy="64008"/>
                </a:xfrm>
              </p:grpSpPr>
              <p:grpSp>
                <p:nvGrpSpPr>
                  <p:cNvPr id="761" name="Group 760">
                    <a:extLst>
                      <a:ext uri="{FF2B5EF4-FFF2-40B4-BE49-F238E27FC236}">
                        <a16:creationId xmlns:a16="http://schemas.microsoft.com/office/drawing/2014/main" id="{A1812846-6028-459A-81EC-794D1DF8310E}"/>
                      </a:ext>
                    </a:extLst>
                  </p:cNvPr>
                  <p:cNvGrpSpPr/>
                  <p:nvPr/>
                </p:nvGrpSpPr>
                <p:grpSpPr>
                  <a:xfrm>
                    <a:off x="3755548" y="5056569"/>
                    <a:ext cx="437058" cy="64008"/>
                    <a:chOff x="3755548" y="5056569"/>
                    <a:chExt cx="437058" cy="64008"/>
                  </a:xfrm>
                </p:grpSpPr>
                <p:sp>
                  <p:nvSpPr>
                    <p:cNvPr id="769" name="Rectangle 768">
                      <a:extLst>
                        <a:ext uri="{FF2B5EF4-FFF2-40B4-BE49-F238E27FC236}">
                          <a16:creationId xmlns:a16="http://schemas.microsoft.com/office/drawing/2014/main" id="{315996A3-D5C2-42BC-A787-D842F8462E76}"/>
                        </a:ext>
                      </a:extLst>
                    </p:cNvPr>
                    <p:cNvSpPr/>
                    <p:nvPr/>
                  </p:nvSpPr>
                  <p:spPr bwMode="auto">
                    <a:xfrm>
                      <a:off x="3824672" y="505656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0" name="Rectangle 769">
                      <a:extLst>
                        <a:ext uri="{FF2B5EF4-FFF2-40B4-BE49-F238E27FC236}">
                          <a16:creationId xmlns:a16="http://schemas.microsoft.com/office/drawing/2014/main" id="{4638D151-D999-43E1-A9BA-1B26C367019F}"/>
                        </a:ext>
                      </a:extLst>
                    </p:cNvPr>
                    <p:cNvSpPr/>
                    <p:nvPr/>
                  </p:nvSpPr>
                  <p:spPr bwMode="auto">
                    <a:xfrm>
                      <a:off x="4050332" y="5056569"/>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1" name="Rectangle 770">
                      <a:extLst>
                        <a:ext uri="{FF2B5EF4-FFF2-40B4-BE49-F238E27FC236}">
                          <a16:creationId xmlns:a16="http://schemas.microsoft.com/office/drawing/2014/main" id="{2F58CD3A-B60D-4250-B9BC-3C34D4EC4323}"/>
                        </a:ext>
                      </a:extLst>
                    </p:cNvPr>
                    <p:cNvSpPr/>
                    <p:nvPr/>
                  </p:nvSpPr>
                  <p:spPr bwMode="auto">
                    <a:xfrm>
                      <a:off x="3912084" y="505656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2" name="Rectangle 771">
                      <a:extLst>
                        <a:ext uri="{FF2B5EF4-FFF2-40B4-BE49-F238E27FC236}">
                          <a16:creationId xmlns:a16="http://schemas.microsoft.com/office/drawing/2014/main" id="{CA9B75A2-17F0-429B-8154-26843FA1D1BA}"/>
                        </a:ext>
                      </a:extLst>
                    </p:cNvPr>
                    <p:cNvSpPr/>
                    <p:nvPr/>
                  </p:nvSpPr>
                  <p:spPr bwMode="auto">
                    <a:xfrm>
                      <a:off x="3755548" y="505656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3" name="Rectangle 772">
                      <a:extLst>
                        <a:ext uri="{FF2B5EF4-FFF2-40B4-BE49-F238E27FC236}">
                          <a16:creationId xmlns:a16="http://schemas.microsoft.com/office/drawing/2014/main" id="{A56E0FC7-420E-48C0-A8D4-C2B98979F760}"/>
                        </a:ext>
                      </a:extLst>
                    </p:cNvPr>
                    <p:cNvSpPr/>
                    <p:nvPr/>
                  </p:nvSpPr>
                  <p:spPr bwMode="auto">
                    <a:xfrm>
                      <a:off x="4146886" y="505656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4" name="Rectangle 773">
                      <a:extLst>
                        <a:ext uri="{FF2B5EF4-FFF2-40B4-BE49-F238E27FC236}">
                          <a16:creationId xmlns:a16="http://schemas.microsoft.com/office/drawing/2014/main" id="{3D0F2354-607E-4AC0-9EA5-6BFA49CAE941}"/>
                        </a:ext>
                      </a:extLst>
                    </p:cNvPr>
                    <p:cNvSpPr/>
                    <p:nvPr/>
                  </p:nvSpPr>
                  <p:spPr bwMode="auto">
                    <a:xfrm>
                      <a:off x="3981208" y="505656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62" name="Group 761">
                    <a:extLst>
                      <a:ext uri="{FF2B5EF4-FFF2-40B4-BE49-F238E27FC236}">
                        <a16:creationId xmlns:a16="http://schemas.microsoft.com/office/drawing/2014/main" id="{D9542594-3562-4B5A-928C-8AB822CBF673}"/>
                      </a:ext>
                    </a:extLst>
                  </p:cNvPr>
                  <p:cNvGrpSpPr/>
                  <p:nvPr/>
                </p:nvGrpSpPr>
                <p:grpSpPr>
                  <a:xfrm flipH="1">
                    <a:off x="4630265" y="5056569"/>
                    <a:ext cx="437058" cy="64008"/>
                    <a:chOff x="3755548" y="4658793"/>
                    <a:chExt cx="437058" cy="64008"/>
                  </a:xfrm>
                </p:grpSpPr>
                <p:sp>
                  <p:nvSpPr>
                    <p:cNvPr id="763" name="Rectangle 762">
                      <a:extLst>
                        <a:ext uri="{FF2B5EF4-FFF2-40B4-BE49-F238E27FC236}">
                          <a16:creationId xmlns:a16="http://schemas.microsoft.com/office/drawing/2014/main" id="{15B090EB-DCA4-4370-981C-96886B84C275}"/>
                        </a:ext>
                      </a:extLst>
                    </p:cNvPr>
                    <p:cNvSpPr/>
                    <p:nvPr/>
                  </p:nvSpPr>
                  <p:spPr bwMode="auto">
                    <a:xfrm>
                      <a:off x="3824672"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4" name="Rectangle 763">
                      <a:extLst>
                        <a:ext uri="{FF2B5EF4-FFF2-40B4-BE49-F238E27FC236}">
                          <a16:creationId xmlns:a16="http://schemas.microsoft.com/office/drawing/2014/main" id="{03DE9303-5B73-4A17-88D1-C6CCCAFE7825}"/>
                        </a:ext>
                      </a:extLst>
                    </p:cNvPr>
                    <p:cNvSpPr/>
                    <p:nvPr/>
                  </p:nvSpPr>
                  <p:spPr bwMode="auto">
                    <a:xfrm>
                      <a:off x="3912084" y="465879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5" name="Rectangle 764">
                      <a:extLst>
                        <a:ext uri="{FF2B5EF4-FFF2-40B4-BE49-F238E27FC236}">
                          <a16:creationId xmlns:a16="http://schemas.microsoft.com/office/drawing/2014/main" id="{17CC6111-2627-498F-A717-29CC7021624A}"/>
                        </a:ext>
                      </a:extLst>
                    </p:cNvPr>
                    <p:cNvSpPr/>
                    <p:nvPr/>
                  </p:nvSpPr>
                  <p:spPr bwMode="auto">
                    <a:xfrm>
                      <a:off x="4008640"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6" name="Rectangle 765">
                      <a:extLst>
                        <a:ext uri="{FF2B5EF4-FFF2-40B4-BE49-F238E27FC236}">
                          <a16:creationId xmlns:a16="http://schemas.microsoft.com/office/drawing/2014/main" id="{FF3D295C-0E7D-442E-B4AC-7538BB8F3F66}"/>
                        </a:ext>
                      </a:extLst>
                    </p:cNvPr>
                    <p:cNvSpPr/>
                    <p:nvPr/>
                  </p:nvSpPr>
                  <p:spPr bwMode="auto">
                    <a:xfrm>
                      <a:off x="3755548"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7" name="Rectangle 766">
                      <a:extLst>
                        <a:ext uri="{FF2B5EF4-FFF2-40B4-BE49-F238E27FC236}">
                          <a16:creationId xmlns:a16="http://schemas.microsoft.com/office/drawing/2014/main" id="{04D208D4-50C1-49E8-9D3C-4DED807A5923}"/>
                        </a:ext>
                      </a:extLst>
                    </p:cNvPr>
                    <p:cNvSpPr/>
                    <p:nvPr/>
                  </p:nvSpPr>
                  <p:spPr bwMode="auto">
                    <a:xfrm>
                      <a:off x="4146886"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8" name="Rectangle 767">
                      <a:extLst>
                        <a:ext uri="{FF2B5EF4-FFF2-40B4-BE49-F238E27FC236}">
                          <a16:creationId xmlns:a16="http://schemas.microsoft.com/office/drawing/2014/main" id="{E61855C1-578F-487A-B3BD-D31ED452C95E}"/>
                        </a:ext>
                      </a:extLst>
                    </p:cNvPr>
                    <p:cNvSpPr/>
                    <p:nvPr/>
                  </p:nvSpPr>
                  <p:spPr bwMode="auto">
                    <a:xfrm>
                      <a:off x="4077764"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6" name="Group 745">
                  <a:extLst>
                    <a:ext uri="{FF2B5EF4-FFF2-40B4-BE49-F238E27FC236}">
                      <a16:creationId xmlns:a16="http://schemas.microsoft.com/office/drawing/2014/main" id="{082229C6-38F3-44A9-AC9F-6FCCAB0C6A49}"/>
                    </a:ext>
                  </a:extLst>
                </p:cNvPr>
                <p:cNvGrpSpPr/>
                <p:nvPr/>
              </p:nvGrpSpPr>
              <p:grpSpPr>
                <a:xfrm>
                  <a:off x="3755548" y="4654027"/>
                  <a:ext cx="1311775" cy="64008"/>
                  <a:chOff x="3755548" y="4654027"/>
                  <a:chExt cx="1311775" cy="64008"/>
                </a:xfrm>
              </p:grpSpPr>
              <p:grpSp>
                <p:nvGrpSpPr>
                  <p:cNvPr id="747" name="Group 746">
                    <a:extLst>
                      <a:ext uri="{FF2B5EF4-FFF2-40B4-BE49-F238E27FC236}">
                        <a16:creationId xmlns:a16="http://schemas.microsoft.com/office/drawing/2014/main" id="{B154347D-41CF-4814-8FE9-4EB3C2BC754F}"/>
                      </a:ext>
                    </a:extLst>
                  </p:cNvPr>
                  <p:cNvGrpSpPr/>
                  <p:nvPr/>
                </p:nvGrpSpPr>
                <p:grpSpPr>
                  <a:xfrm>
                    <a:off x="3755548" y="4654027"/>
                    <a:ext cx="437058" cy="64008"/>
                    <a:chOff x="3755548" y="4658793"/>
                    <a:chExt cx="437058" cy="64008"/>
                  </a:xfrm>
                </p:grpSpPr>
                <p:sp>
                  <p:nvSpPr>
                    <p:cNvPr id="755" name="Rectangle 754">
                      <a:extLst>
                        <a:ext uri="{FF2B5EF4-FFF2-40B4-BE49-F238E27FC236}">
                          <a16:creationId xmlns:a16="http://schemas.microsoft.com/office/drawing/2014/main" id="{3FCA1EE2-8006-4661-838F-E48A7922569C}"/>
                        </a:ext>
                      </a:extLst>
                    </p:cNvPr>
                    <p:cNvSpPr/>
                    <p:nvPr/>
                  </p:nvSpPr>
                  <p:spPr bwMode="auto">
                    <a:xfrm>
                      <a:off x="3824672"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6" name="Rectangle 755">
                      <a:extLst>
                        <a:ext uri="{FF2B5EF4-FFF2-40B4-BE49-F238E27FC236}">
                          <a16:creationId xmlns:a16="http://schemas.microsoft.com/office/drawing/2014/main" id="{252BDB12-8C2C-4FBF-A24C-76E615F9B6C4}"/>
                        </a:ext>
                      </a:extLst>
                    </p:cNvPr>
                    <p:cNvSpPr/>
                    <p:nvPr/>
                  </p:nvSpPr>
                  <p:spPr bwMode="auto">
                    <a:xfrm>
                      <a:off x="3912084" y="465879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7" name="Rectangle 756">
                      <a:extLst>
                        <a:ext uri="{FF2B5EF4-FFF2-40B4-BE49-F238E27FC236}">
                          <a16:creationId xmlns:a16="http://schemas.microsoft.com/office/drawing/2014/main" id="{3FA4A85A-BCE2-4FE7-B2C3-F973741ED492}"/>
                        </a:ext>
                      </a:extLst>
                    </p:cNvPr>
                    <p:cNvSpPr/>
                    <p:nvPr/>
                  </p:nvSpPr>
                  <p:spPr bwMode="auto">
                    <a:xfrm>
                      <a:off x="4008640"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8" name="Rectangle 757">
                      <a:extLst>
                        <a:ext uri="{FF2B5EF4-FFF2-40B4-BE49-F238E27FC236}">
                          <a16:creationId xmlns:a16="http://schemas.microsoft.com/office/drawing/2014/main" id="{EBEB904D-B3F5-4971-B048-5DC54A02C229}"/>
                        </a:ext>
                      </a:extLst>
                    </p:cNvPr>
                    <p:cNvSpPr/>
                    <p:nvPr/>
                  </p:nvSpPr>
                  <p:spPr bwMode="auto">
                    <a:xfrm>
                      <a:off x="3755548"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9" name="Rectangle 758">
                      <a:extLst>
                        <a:ext uri="{FF2B5EF4-FFF2-40B4-BE49-F238E27FC236}">
                          <a16:creationId xmlns:a16="http://schemas.microsoft.com/office/drawing/2014/main" id="{AB49D0E6-7660-4E5A-A412-EEE47DF943E6}"/>
                        </a:ext>
                      </a:extLst>
                    </p:cNvPr>
                    <p:cNvSpPr/>
                    <p:nvPr/>
                  </p:nvSpPr>
                  <p:spPr bwMode="auto">
                    <a:xfrm>
                      <a:off x="4146886"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0" name="Rectangle 759">
                      <a:extLst>
                        <a:ext uri="{FF2B5EF4-FFF2-40B4-BE49-F238E27FC236}">
                          <a16:creationId xmlns:a16="http://schemas.microsoft.com/office/drawing/2014/main" id="{A8F44EDB-0CEF-4E8C-9BFE-FABC5696DC0C}"/>
                        </a:ext>
                      </a:extLst>
                    </p:cNvPr>
                    <p:cNvSpPr/>
                    <p:nvPr/>
                  </p:nvSpPr>
                  <p:spPr bwMode="auto">
                    <a:xfrm>
                      <a:off x="4077764"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8" name="Group 747">
                    <a:extLst>
                      <a:ext uri="{FF2B5EF4-FFF2-40B4-BE49-F238E27FC236}">
                        <a16:creationId xmlns:a16="http://schemas.microsoft.com/office/drawing/2014/main" id="{AD098577-98C2-42EE-B22D-3D2E48A87855}"/>
                      </a:ext>
                    </a:extLst>
                  </p:cNvPr>
                  <p:cNvGrpSpPr/>
                  <p:nvPr/>
                </p:nvGrpSpPr>
                <p:grpSpPr>
                  <a:xfrm>
                    <a:off x="4630265" y="4654027"/>
                    <a:ext cx="437058" cy="64008"/>
                    <a:chOff x="3755548" y="4658793"/>
                    <a:chExt cx="437058" cy="64008"/>
                  </a:xfrm>
                </p:grpSpPr>
                <p:sp>
                  <p:nvSpPr>
                    <p:cNvPr id="749" name="Rectangle 748">
                      <a:extLst>
                        <a:ext uri="{FF2B5EF4-FFF2-40B4-BE49-F238E27FC236}">
                          <a16:creationId xmlns:a16="http://schemas.microsoft.com/office/drawing/2014/main" id="{523722CA-6156-4DC2-9CBF-2642BCF50959}"/>
                        </a:ext>
                      </a:extLst>
                    </p:cNvPr>
                    <p:cNvSpPr/>
                    <p:nvPr/>
                  </p:nvSpPr>
                  <p:spPr bwMode="auto">
                    <a:xfrm>
                      <a:off x="3824672"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0" name="Rectangle 749">
                      <a:extLst>
                        <a:ext uri="{FF2B5EF4-FFF2-40B4-BE49-F238E27FC236}">
                          <a16:creationId xmlns:a16="http://schemas.microsoft.com/office/drawing/2014/main" id="{47233A74-48A3-47A7-BE7F-FD316341FDC1}"/>
                        </a:ext>
                      </a:extLst>
                    </p:cNvPr>
                    <p:cNvSpPr/>
                    <p:nvPr/>
                  </p:nvSpPr>
                  <p:spPr bwMode="auto">
                    <a:xfrm>
                      <a:off x="3912084" y="465879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1" name="Rectangle 750">
                      <a:extLst>
                        <a:ext uri="{FF2B5EF4-FFF2-40B4-BE49-F238E27FC236}">
                          <a16:creationId xmlns:a16="http://schemas.microsoft.com/office/drawing/2014/main" id="{FE02023E-7982-4AEB-9269-F6A1D842A61C}"/>
                        </a:ext>
                      </a:extLst>
                    </p:cNvPr>
                    <p:cNvSpPr/>
                    <p:nvPr/>
                  </p:nvSpPr>
                  <p:spPr bwMode="auto">
                    <a:xfrm>
                      <a:off x="4008640"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2" name="Rectangle 751">
                      <a:extLst>
                        <a:ext uri="{FF2B5EF4-FFF2-40B4-BE49-F238E27FC236}">
                          <a16:creationId xmlns:a16="http://schemas.microsoft.com/office/drawing/2014/main" id="{ADD0A074-726F-4094-BFE3-82A84AFF73CD}"/>
                        </a:ext>
                      </a:extLst>
                    </p:cNvPr>
                    <p:cNvSpPr/>
                    <p:nvPr/>
                  </p:nvSpPr>
                  <p:spPr bwMode="auto">
                    <a:xfrm>
                      <a:off x="3755548"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3" name="Rectangle 752">
                      <a:extLst>
                        <a:ext uri="{FF2B5EF4-FFF2-40B4-BE49-F238E27FC236}">
                          <a16:creationId xmlns:a16="http://schemas.microsoft.com/office/drawing/2014/main" id="{CF2F0A5E-1C5C-4851-82C7-77AD23C3E9B0}"/>
                        </a:ext>
                      </a:extLst>
                    </p:cNvPr>
                    <p:cNvSpPr/>
                    <p:nvPr/>
                  </p:nvSpPr>
                  <p:spPr bwMode="auto">
                    <a:xfrm>
                      <a:off x="4146886"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4" name="Rectangle 753">
                      <a:extLst>
                        <a:ext uri="{FF2B5EF4-FFF2-40B4-BE49-F238E27FC236}">
                          <a16:creationId xmlns:a16="http://schemas.microsoft.com/office/drawing/2014/main" id="{65A57C4C-F1A7-48D6-B161-66933440E50C}"/>
                        </a:ext>
                      </a:extLst>
                    </p:cNvPr>
                    <p:cNvSpPr/>
                    <p:nvPr/>
                  </p:nvSpPr>
                  <p:spPr bwMode="auto">
                    <a:xfrm>
                      <a:off x="4077764"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grpSp>
            <p:nvGrpSpPr>
              <p:cNvPr id="670" name="Group 669">
                <a:extLst>
                  <a:ext uri="{FF2B5EF4-FFF2-40B4-BE49-F238E27FC236}">
                    <a16:creationId xmlns:a16="http://schemas.microsoft.com/office/drawing/2014/main" id="{E4331D36-381F-4429-BB70-E2601C6302A3}"/>
                  </a:ext>
                </a:extLst>
              </p:cNvPr>
              <p:cNvGrpSpPr/>
              <p:nvPr/>
            </p:nvGrpSpPr>
            <p:grpSpPr>
              <a:xfrm>
                <a:off x="5494489" y="2308860"/>
                <a:ext cx="1664993" cy="845820"/>
                <a:chOff x="5494489" y="2308860"/>
                <a:chExt cx="1664993" cy="845820"/>
              </a:xfrm>
            </p:grpSpPr>
            <p:sp>
              <p:nvSpPr>
                <p:cNvPr id="729" name="Rectangle 728">
                  <a:extLst>
                    <a:ext uri="{FF2B5EF4-FFF2-40B4-BE49-F238E27FC236}">
                      <a16:creationId xmlns:a16="http://schemas.microsoft.com/office/drawing/2014/main" id="{7B768C2D-E80C-4EA0-9477-C2EA9F70E17C}"/>
                    </a:ext>
                  </a:extLst>
                </p:cNvPr>
                <p:cNvSpPr/>
                <p:nvPr/>
              </p:nvSpPr>
              <p:spPr bwMode="auto">
                <a:xfrm>
                  <a:off x="5494489" y="2308860"/>
                  <a:ext cx="1664993" cy="84582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30" name="Group 729">
                  <a:extLst>
                    <a:ext uri="{FF2B5EF4-FFF2-40B4-BE49-F238E27FC236}">
                      <a16:creationId xmlns:a16="http://schemas.microsoft.com/office/drawing/2014/main" id="{109390A3-8134-43D5-9D2A-B4B5E90479EB}"/>
                    </a:ext>
                  </a:extLst>
                </p:cNvPr>
                <p:cNvGrpSpPr/>
                <p:nvPr/>
              </p:nvGrpSpPr>
              <p:grpSpPr>
                <a:xfrm>
                  <a:off x="5571901" y="2390500"/>
                  <a:ext cx="1439981" cy="682540"/>
                  <a:chOff x="5571901" y="2390500"/>
                  <a:chExt cx="1439981" cy="682540"/>
                </a:xfrm>
              </p:grpSpPr>
              <p:sp>
                <p:nvSpPr>
                  <p:cNvPr id="731" name="Rectangle 730">
                    <a:extLst>
                      <a:ext uri="{FF2B5EF4-FFF2-40B4-BE49-F238E27FC236}">
                        <a16:creationId xmlns:a16="http://schemas.microsoft.com/office/drawing/2014/main" id="{989B6BB9-E87C-484D-A850-69176D9C3C88}"/>
                      </a:ext>
                    </a:extLst>
                  </p:cNvPr>
                  <p:cNvSpPr/>
                  <p:nvPr/>
                </p:nvSpPr>
                <p:spPr bwMode="auto">
                  <a:xfrm>
                    <a:off x="5571901" y="2546509"/>
                    <a:ext cx="3657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2" name="Rectangle 731">
                    <a:extLst>
                      <a:ext uri="{FF2B5EF4-FFF2-40B4-BE49-F238E27FC236}">
                        <a16:creationId xmlns:a16="http://schemas.microsoft.com/office/drawing/2014/main" id="{F8EFEE49-2185-4D38-9F5F-49FA44AE5C5F}"/>
                      </a:ext>
                    </a:extLst>
                  </p:cNvPr>
                  <p:cNvSpPr/>
                  <p:nvPr/>
                </p:nvSpPr>
                <p:spPr bwMode="auto">
                  <a:xfrm>
                    <a:off x="5571901" y="2642848"/>
                    <a:ext cx="557784"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3" name="Rectangle 732">
                    <a:extLst>
                      <a:ext uri="{FF2B5EF4-FFF2-40B4-BE49-F238E27FC236}">
                        <a16:creationId xmlns:a16="http://schemas.microsoft.com/office/drawing/2014/main" id="{01646540-48FF-4C8D-BD5F-640AF6321854}"/>
                      </a:ext>
                    </a:extLst>
                  </p:cNvPr>
                  <p:cNvSpPr/>
                  <p:nvPr/>
                </p:nvSpPr>
                <p:spPr bwMode="auto">
                  <a:xfrm>
                    <a:off x="5571901" y="2745718"/>
                    <a:ext cx="3657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4" name="Rectangle 733">
                    <a:extLst>
                      <a:ext uri="{FF2B5EF4-FFF2-40B4-BE49-F238E27FC236}">
                        <a16:creationId xmlns:a16="http://schemas.microsoft.com/office/drawing/2014/main" id="{2C3C16C1-B023-45F4-9F51-81D2B3AA6E6C}"/>
                      </a:ext>
                    </a:extLst>
                  </p:cNvPr>
                  <p:cNvSpPr/>
                  <p:nvPr/>
                </p:nvSpPr>
                <p:spPr bwMode="auto">
                  <a:xfrm>
                    <a:off x="5571901" y="2842057"/>
                    <a:ext cx="576072"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5" name="Circle: Hollow 734">
                    <a:extLst>
                      <a:ext uri="{FF2B5EF4-FFF2-40B4-BE49-F238E27FC236}">
                        <a16:creationId xmlns:a16="http://schemas.microsoft.com/office/drawing/2014/main" id="{9EC4353B-DF5C-4D49-847F-8227506769C3}"/>
                      </a:ext>
                    </a:extLst>
                  </p:cNvPr>
                  <p:cNvSpPr/>
                  <p:nvPr/>
                </p:nvSpPr>
                <p:spPr bwMode="auto">
                  <a:xfrm>
                    <a:off x="6329341" y="2390500"/>
                    <a:ext cx="682540" cy="682540"/>
                  </a:xfrm>
                  <a:prstGeom prst="donut">
                    <a:avLst>
                      <a:gd name="adj" fmla="val 8597"/>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6" name="Freeform: Shape 735">
                    <a:extLst>
                      <a:ext uri="{FF2B5EF4-FFF2-40B4-BE49-F238E27FC236}">
                        <a16:creationId xmlns:a16="http://schemas.microsoft.com/office/drawing/2014/main" id="{E75AC084-8BCF-44CD-BDB0-86499D94EE4B}"/>
                      </a:ext>
                    </a:extLst>
                  </p:cNvPr>
                  <p:cNvSpPr/>
                  <p:nvPr/>
                </p:nvSpPr>
                <p:spPr bwMode="auto">
                  <a:xfrm>
                    <a:off x="6663789" y="2390500"/>
                    <a:ext cx="348093" cy="578502"/>
                  </a:xfrm>
                  <a:custGeom>
                    <a:avLst/>
                    <a:gdLst>
                      <a:gd name="connsiteX0" fmla="*/ 6823 w 348093"/>
                      <a:gd name="connsiteY0" fmla="*/ 0 h 578502"/>
                      <a:gd name="connsiteX1" fmla="*/ 348093 w 348093"/>
                      <a:gd name="connsiteY1" fmla="*/ 341270 h 578502"/>
                      <a:gd name="connsiteX2" fmla="*/ 289810 w 348093"/>
                      <a:gd name="connsiteY2" fmla="*/ 532077 h 578502"/>
                      <a:gd name="connsiteX3" fmla="*/ 251506 w 348093"/>
                      <a:gd name="connsiteY3" fmla="*/ 578502 h 578502"/>
                      <a:gd name="connsiteX4" fmla="*/ 207110 w 348093"/>
                      <a:gd name="connsiteY4" fmla="*/ 540530 h 578502"/>
                      <a:gd name="connsiteX5" fmla="*/ 241153 w 348093"/>
                      <a:gd name="connsiteY5" fmla="*/ 499270 h 578502"/>
                      <a:gd name="connsiteX6" fmla="*/ 289415 w 348093"/>
                      <a:gd name="connsiteY6" fmla="*/ 341270 h 578502"/>
                      <a:gd name="connsiteX7" fmla="*/ 6823 w 348093"/>
                      <a:gd name="connsiteY7" fmla="*/ 58678 h 578502"/>
                      <a:gd name="connsiteX8" fmla="*/ 0 w 348093"/>
                      <a:gd name="connsiteY8" fmla="*/ 59366 h 578502"/>
                      <a:gd name="connsiteX9" fmla="*/ 0 w 348093"/>
                      <a:gd name="connsiteY9" fmla="*/ 688 h 57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093" h="578502">
                        <a:moveTo>
                          <a:pt x="6823" y="0"/>
                        </a:moveTo>
                        <a:cubicBezTo>
                          <a:pt x="195301" y="0"/>
                          <a:pt x="348093" y="152792"/>
                          <a:pt x="348093" y="341270"/>
                        </a:cubicBezTo>
                        <a:cubicBezTo>
                          <a:pt x="348093" y="411949"/>
                          <a:pt x="326607" y="477610"/>
                          <a:pt x="289810" y="532077"/>
                        </a:cubicBezTo>
                        <a:lnTo>
                          <a:pt x="251506" y="578502"/>
                        </a:lnTo>
                        <a:lnTo>
                          <a:pt x="207110" y="540530"/>
                        </a:lnTo>
                        <a:lnTo>
                          <a:pt x="241153" y="499270"/>
                        </a:lnTo>
                        <a:cubicBezTo>
                          <a:pt x="271623" y="454168"/>
                          <a:pt x="289415" y="399797"/>
                          <a:pt x="289415" y="341270"/>
                        </a:cubicBezTo>
                        <a:cubicBezTo>
                          <a:pt x="289415" y="185199"/>
                          <a:pt x="162894" y="58678"/>
                          <a:pt x="6823" y="58678"/>
                        </a:cubicBezTo>
                        <a:lnTo>
                          <a:pt x="0" y="59366"/>
                        </a:lnTo>
                        <a:lnTo>
                          <a:pt x="0" y="688"/>
                        </a:lnTo>
                        <a:close/>
                      </a:path>
                    </a:pathLst>
                  </a:cu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71" name="Group 670">
                <a:extLst>
                  <a:ext uri="{FF2B5EF4-FFF2-40B4-BE49-F238E27FC236}">
                    <a16:creationId xmlns:a16="http://schemas.microsoft.com/office/drawing/2014/main" id="{C86B7419-E456-4BF9-AB37-422FD739A9D4}"/>
                  </a:ext>
                </a:extLst>
              </p:cNvPr>
              <p:cNvGrpSpPr/>
              <p:nvPr/>
            </p:nvGrpSpPr>
            <p:grpSpPr>
              <a:xfrm>
                <a:off x="5494489" y="3257550"/>
                <a:ext cx="1664993" cy="1920240"/>
                <a:chOff x="5494489" y="3257550"/>
                <a:chExt cx="1664993" cy="1920240"/>
              </a:xfrm>
            </p:grpSpPr>
            <p:sp>
              <p:nvSpPr>
                <p:cNvPr id="689" name="Rectangle 688">
                  <a:extLst>
                    <a:ext uri="{FF2B5EF4-FFF2-40B4-BE49-F238E27FC236}">
                      <a16:creationId xmlns:a16="http://schemas.microsoft.com/office/drawing/2014/main" id="{01DDE445-F838-4B8E-A32A-CFE3A5BBB3F2}"/>
                    </a:ext>
                  </a:extLst>
                </p:cNvPr>
                <p:cNvSpPr/>
                <p:nvPr/>
              </p:nvSpPr>
              <p:spPr bwMode="auto">
                <a:xfrm>
                  <a:off x="5494489" y="3257550"/>
                  <a:ext cx="1664993" cy="192024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0" name="Rectangle 689">
                  <a:extLst>
                    <a:ext uri="{FF2B5EF4-FFF2-40B4-BE49-F238E27FC236}">
                      <a16:creationId xmlns:a16="http://schemas.microsoft.com/office/drawing/2014/main" id="{536E55F9-9F92-4B1A-930E-5C5C6ED6AB8F}"/>
                    </a:ext>
                  </a:extLst>
                </p:cNvPr>
                <p:cNvSpPr/>
                <p:nvPr/>
              </p:nvSpPr>
              <p:spPr bwMode="auto">
                <a:xfrm>
                  <a:off x="5603432" y="3354448"/>
                  <a:ext cx="18288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1" name="Rectangle 690">
                  <a:extLst>
                    <a:ext uri="{FF2B5EF4-FFF2-40B4-BE49-F238E27FC236}">
                      <a16:creationId xmlns:a16="http://schemas.microsoft.com/office/drawing/2014/main" id="{473FF079-437F-4BB5-A854-645C4F1F68A3}"/>
                    </a:ext>
                  </a:extLst>
                </p:cNvPr>
                <p:cNvSpPr/>
                <p:nvPr/>
              </p:nvSpPr>
              <p:spPr bwMode="auto">
                <a:xfrm>
                  <a:off x="6572349" y="3354448"/>
                  <a:ext cx="18288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2" name="Rectangle 691">
                  <a:extLst>
                    <a:ext uri="{FF2B5EF4-FFF2-40B4-BE49-F238E27FC236}">
                      <a16:creationId xmlns:a16="http://schemas.microsoft.com/office/drawing/2014/main" id="{D2DB41E7-05DC-4D61-9C02-AC33C604F940}"/>
                    </a:ext>
                  </a:extLst>
                </p:cNvPr>
                <p:cNvSpPr/>
                <p:nvPr/>
              </p:nvSpPr>
              <p:spPr bwMode="auto">
                <a:xfrm>
                  <a:off x="6885173" y="3354448"/>
                  <a:ext cx="18288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93" name="Group 692">
                  <a:extLst>
                    <a:ext uri="{FF2B5EF4-FFF2-40B4-BE49-F238E27FC236}">
                      <a16:creationId xmlns:a16="http://schemas.microsoft.com/office/drawing/2014/main" id="{F63932FB-6F7F-432F-B0A9-B983D0580226}"/>
                    </a:ext>
                  </a:extLst>
                </p:cNvPr>
                <p:cNvGrpSpPr/>
                <p:nvPr/>
              </p:nvGrpSpPr>
              <p:grpSpPr>
                <a:xfrm>
                  <a:off x="5586758" y="3473900"/>
                  <a:ext cx="1374154" cy="73152"/>
                  <a:chOff x="5586758" y="3473900"/>
                  <a:chExt cx="1374154" cy="73152"/>
                </a:xfrm>
              </p:grpSpPr>
              <p:sp>
                <p:nvSpPr>
                  <p:cNvPr id="726" name="Rectangle: Rounded Corners 725">
                    <a:extLst>
                      <a:ext uri="{FF2B5EF4-FFF2-40B4-BE49-F238E27FC236}">
                        <a16:creationId xmlns:a16="http://schemas.microsoft.com/office/drawing/2014/main" id="{3A809167-59C3-4103-8A31-AC5DF53CB9E2}"/>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7" name="Rectangle: Rounded Corners 726">
                    <a:extLst>
                      <a:ext uri="{FF2B5EF4-FFF2-40B4-BE49-F238E27FC236}">
                        <a16:creationId xmlns:a16="http://schemas.microsoft.com/office/drawing/2014/main" id="{B8F9C710-961E-40F8-82F7-A241754D4FA4}"/>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8" name="Oval 727">
                    <a:extLst>
                      <a:ext uri="{FF2B5EF4-FFF2-40B4-BE49-F238E27FC236}">
                        <a16:creationId xmlns:a16="http://schemas.microsoft.com/office/drawing/2014/main" id="{B9730C29-EC9D-40A0-BBD3-C16372FC31CF}"/>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4" name="Group 693">
                  <a:extLst>
                    <a:ext uri="{FF2B5EF4-FFF2-40B4-BE49-F238E27FC236}">
                      <a16:creationId xmlns:a16="http://schemas.microsoft.com/office/drawing/2014/main" id="{FBB0F22B-AE41-4A61-9DFB-5051F51D1546}"/>
                    </a:ext>
                  </a:extLst>
                </p:cNvPr>
                <p:cNvGrpSpPr/>
                <p:nvPr/>
              </p:nvGrpSpPr>
              <p:grpSpPr>
                <a:xfrm>
                  <a:off x="5586758" y="3666072"/>
                  <a:ext cx="1374154" cy="73152"/>
                  <a:chOff x="5586758" y="3473900"/>
                  <a:chExt cx="1374154" cy="73152"/>
                </a:xfrm>
              </p:grpSpPr>
              <p:sp>
                <p:nvSpPr>
                  <p:cNvPr id="723" name="Rectangle: Rounded Corners 722">
                    <a:extLst>
                      <a:ext uri="{FF2B5EF4-FFF2-40B4-BE49-F238E27FC236}">
                        <a16:creationId xmlns:a16="http://schemas.microsoft.com/office/drawing/2014/main" id="{394E4431-306D-4081-9ABC-ACB071680283}"/>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4" name="Rectangle: Rounded Corners 723">
                    <a:extLst>
                      <a:ext uri="{FF2B5EF4-FFF2-40B4-BE49-F238E27FC236}">
                        <a16:creationId xmlns:a16="http://schemas.microsoft.com/office/drawing/2014/main" id="{9DAA8E66-C0D3-4FB9-B62A-A7D2A7F9F77F}"/>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5" name="Oval 724">
                    <a:extLst>
                      <a:ext uri="{FF2B5EF4-FFF2-40B4-BE49-F238E27FC236}">
                        <a16:creationId xmlns:a16="http://schemas.microsoft.com/office/drawing/2014/main" id="{2923E50E-ED1F-45BB-8FC6-99296E61FC77}"/>
                      </a:ext>
                    </a:extLst>
                  </p:cNvPr>
                  <p:cNvSpPr/>
                  <p:nvPr/>
                </p:nvSpPr>
                <p:spPr bwMode="auto">
                  <a:xfrm>
                    <a:off x="6887760" y="3473900"/>
                    <a:ext cx="73152" cy="73152"/>
                  </a:xfrm>
                  <a:prstGeom prst="ellipse">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5" name="Group 694">
                  <a:extLst>
                    <a:ext uri="{FF2B5EF4-FFF2-40B4-BE49-F238E27FC236}">
                      <a16:creationId xmlns:a16="http://schemas.microsoft.com/office/drawing/2014/main" id="{758C8A95-E8E7-4601-A5B2-6CA2E1BE70FA}"/>
                    </a:ext>
                  </a:extLst>
                </p:cNvPr>
                <p:cNvGrpSpPr/>
                <p:nvPr/>
              </p:nvGrpSpPr>
              <p:grpSpPr>
                <a:xfrm>
                  <a:off x="5586758" y="3858244"/>
                  <a:ext cx="1374154" cy="73152"/>
                  <a:chOff x="5586758" y="3473900"/>
                  <a:chExt cx="1374154" cy="73152"/>
                </a:xfrm>
              </p:grpSpPr>
              <p:sp>
                <p:nvSpPr>
                  <p:cNvPr id="720" name="Rectangle: Rounded Corners 719">
                    <a:extLst>
                      <a:ext uri="{FF2B5EF4-FFF2-40B4-BE49-F238E27FC236}">
                        <a16:creationId xmlns:a16="http://schemas.microsoft.com/office/drawing/2014/main" id="{33DD4700-9004-4FF6-9B5F-F22B51126F74}"/>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1" name="Rectangle: Rounded Corners 720">
                    <a:extLst>
                      <a:ext uri="{FF2B5EF4-FFF2-40B4-BE49-F238E27FC236}">
                        <a16:creationId xmlns:a16="http://schemas.microsoft.com/office/drawing/2014/main" id="{1304CEBC-C049-43F1-BA91-B4605660C8E0}"/>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2" name="Oval 721">
                    <a:extLst>
                      <a:ext uri="{FF2B5EF4-FFF2-40B4-BE49-F238E27FC236}">
                        <a16:creationId xmlns:a16="http://schemas.microsoft.com/office/drawing/2014/main" id="{F1A39EFA-D0CE-4BAB-B46B-DF0E697BE2BF}"/>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6" name="Group 695">
                  <a:extLst>
                    <a:ext uri="{FF2B5EF4-FFF2-40B4-BE49-F238E27FC236}">
                      <a16:creationId xmlns:a16="http://schemas.microsoft.com/office/drawing/2014/main" id="{B44E1800-1138-45FC-9278-01A0C2C75C33}"/>
                    </a:ext>
                  </a:extLst>
                </p:cNvPr>
                <p:cNvGrpSpPr/>
                <p:nvPr/>
              </p:nvGrpSpPr>
              <p:grpSpPr>
                <a:xfrm>
                  <a:off x="5586758" y="4050416"/>
                  <a:ext cx="1374154" cy="73152"/>
                  <a:chOff x="5586758" y="3473900"/>
                  <a:chExt cx="1374154" cy="73152"/>
                </a:xfrm>
              </p:grpSpPr>
              <p:sp>
                <p:nvSpPr>
                  <p:cNvPr id="717" name="Rectangle: Rounded Corners 716">
                    <a:extLst>
                      <a:ext uri="{FF2B5EF4-FFF2-40B4-BE49-F238E27FC236}">
                        <a16:creationId xmlns:a16="http://schemas.microsoft.com/office/drawing/2014/main" id="{265F6163-7726-4B24-90A9-1D188A81555F}"/>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8" name="Rectangle: Rounded Corners 717">
                    <a:extLst>
                      <a:ext uri="{FF2B5EF4-FFF2-40B4-BE49-F238E27FC236}">
                        <a16:creationId xmlns:a16="http://schemas.microsoft.com/office/drawing/2014/main" id="{7C97D4AE-84DB-43B5-9C1B-318848494602}"/>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9" name="Oval 718">
                    <a:extLst>
                      <a:ext uri="{FF2B5EF4-FFF2-40B4-BE49-F238E27FC236}">
                        <a16:creationId xmlns:a16="http://schemas.microsoft.com/office/drawing/2014/main" id="{7F1BC9FF-EEEE-49A6-8FB0-3F15C06B56D6}"/>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7" name="Group 696">
                  <a:extLst>
                    <a:ext uri="{FF2B5EF4-FFF2-40B4-BE49-F238E27FC236}">
                      <a16:creationId xmlns:a16="http://schemas.microsoft.com/office/drawing/2014/main" id="{EA387DCF-F43D-40DB-9A1D-EEB4DADB3E92}"/>
                    </a:ext>
                  </a:extLst>
                </p:cNvPr>
                <p:cNvGrpSpPr/>
                <p:nvPr/>
              </p:nvGrpSpPr>
              <p:grpSpPr>
                <a:xfrm>
                  <a:off x="5586758" y="4242588"/>
                  <a:ext cx="1374154" cy="73152"/>
                  <a:chOff x="5586758" y="3473900"/>
                  <a:chExt cx="1374154" cy="73152"/>
                </a:xfrm>
              </p:grpSpPr>
              <p:sp>
                <p:nvSpPr>
                  <p:cNvPr id="714" name="Rectangle: Rounded Corners 713">
                    <a:extLst>
                      <a:ext uri="{FF2B5EF4-FFF2-40B4-BE49-F238E27FC236}">
                        <a16:creationId xmlns:a16="http://schemas.microsoft.com/office/drawing/2014/main" id="{CCF6A369-B09C-475A-8A60-EE761488E2D5}"/>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5" name="Rectangle: Rounded Corners 714">
                    <a:extLst>
                      <a:ext uri="{FF2B5EF4-FFF2-40B4-BE49-F238E27FC236}">
                        <a16:creationId xmlns:a16="http://schemas.microsoft.com/office/drawing/2014/main" id="{78F4F49E-0D44-46AE-8238-3B497A376E4C}"/>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6" name="Oval 715">
                    <a:extLst>
                      <a:ext uri="{FF2B5EF4-FFF2-40B4-BE49-F238E27FC236}">
                        <a16:creationId xmlns:a16="http://schemas.microsoft.com/office/drawing/2014/main" id="{3C88C8CD-CB0F-4092-AA24-3EB880EBAD39}"/>
                      </a:ext>
                    </a:extLst>
                  </p:cNvPr>
                  <p:cNvSpPr/>
                  <p:nvPr/>
                </p:nvSpPr>
                <p:spPr bwMode="auto">
                  <a:xfrm>
                    <a:off x="6887760" y="3473900"/>
                    <a:ext cx="73152" cy="73152"/>
                  </a:xfrm>
                  <a:prstGeom prst="ellipse">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8" name="Group 697">
                  <a:extLst>
                    <a:ext uri="{FF2B5EF4-FFF2-40B4-BE49-F238E27FC236}">
                      <a16:creationId xmlns:a16="http://schemas.microsoft.com/office/drawing/2014/main" id="{5CA44C2A-67E5-4DF0-BA3E-E5D921091A6A}"/>
                    </a:ext>
                  </a:extLst>
                </p:cNvPr>
                <p:cNvGrpSpPr/>
                <p:nvPr/>
              </p:nvGrpSpPr>
              <p:grpSpPr>
                <a:xfrm>
                  <a:off x="5586758" y="4434760"/>
                  <a:ext cx="1374154" cy="73152"/>
                  <a:chOff x="5586758" y="3473900"/>
                  <a:chExt cx="1374154" cy="73152"/>
                </a:xfrm>
              </p:grpSpPr>
              <p:sp>
                <p:nvSpPr>
                  <p:cNvPr id="711" name="Rectangle: Rounded Corners 710">
                    <a:extLst>
                      <a:ext uri="{FF2B5EF4-FFF2-40B4-BE49-F238E27FC236}">
                        <a16:creationId xmlns:a16="http://schemas.microsoft.com/office/drawing/2014/main" id="{418184E3-11EF-43BD-BF10-5D383DEA7898}"/>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2" name="Rectangle: Rounded Corners 711">
                    <a:extLst>
                      <a:ext uri="{FF2B5EF4-FFF2-40B4-BE49-F238E27FC236}">
                        <a16:creationId xmlns:a16="http://schemas.microsoft.com/office/drawing/2014/main" id="{E4C3495C-A939-440E-895D-3F6943506A02}"/>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3" name="Oval 712">
                    <a:extLst>
                      <a:ext uri="{FF2B5EF4-FFF2-40B4-BE49-F238E27FC236}">
                        <a16:creationId xmlns:a16="http://schemas.microsoft.com/office/drawing/2014/main" id="{4EF69E16-C105-4CCF-8BB5-0E4F390F499A}"/>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9" name="Group 698">
                  <a:extLst>
                    <a:ext uri="{FF2B5EF4-FFF2-40B4-BE49-F238E27FC236}">
                      <a16:creationId xmlns:a16="http://schemas.microsoft.com/office/drawing/2014/main" id="{AF9D81EC-C4F1-4303-A28E-767B341FFC5A}"/>
                    </a:ext>
                  </a:extLst>
                </p:cNvPr>
                <p:cNvGrpSpPr/>
                <p:nvPr/>
              </p:nvGrpSpPr>
              <p:grpSpPr>
                <a:xfrm>
                  <a:off x="5586758" y="4626932"/>
                  <a:ext cx="1374154" cy="73152"/>
                  <a:chOff x="5586758" y="3473900"/>
                  <a:chExt cx="1374154" cy="73152"/>
                </a:xfrm>
              </p:grpSpPr>
              <p:sp>
                <p:nvSpPr>
                  <p:cNvPr id="708" name="Rectangle: Rounded Corners 707">
                    <a:extLst>
                      <a:ext uri="{FF2B5EF4-FFF2-40B4-BE49-F238E27FC236}">
                        <a16:creationId xmlns:a16="http://schemas.microsoft.com/office/drawing/2014/main" id="{D0A33B7A-E35A-4B23-80A4-2BA8ADA45FE5}"/>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9" name="Rectangle: Rounded Corners 708">
                    <a:extLst>
                      <a:ext uri="{FF2B5EF4-FFF2-40B4-BE49-F238E27FC236}">
                        <a16:creationId xmlns:a16="http://schemas.microsoft.com/office/drawing/2014/main" id="{ED4B9662-905B-43DE-9595-7B35DBEFAAA0}"/>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0" name="Oval 709">
                    <a:extLst>
                      <a:ext uri="{FF2B5EF4-FFF2-40B4-BE49-F238E27FC236}">
                        <a16:creationId xmlns:a16="http://schemas.microsoft.com/office/drawing/2014/main" id="{7178B3D0-A9AD-439A-93D5-8146B74D0F18}"/>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00" name="Group 699">
                  <a:extLst>
                    <a:ext uri="{FF2B5EF4-FFF2-40B4-BE49-F238E27FC236}">
                      <a16:creationId xmlns:a16="http://schemas.microsoft.com/office/drawing/2014/main" id="{524DBE8D-444F-420A-AA6D-E5F0E4D54927}"/>
                    </a:ext>
                  </a:extLst>
                </p:cNvPr>
                <p:cNvGrpSpPr/>
                <p:nvPr/>
              </p:nvGrpSpPr>
              <p:grpSpPr>
                <a:xfrm>
                  <a:off x="5586758" y="4819104"/>
                  <a:ext cx="1374154" cy="73152"/>
                  <a:chOff x="5586758" y="3473900"/>
                  <a:chExt cx="1374154" cy="73152"/>
                </a:xfrm>
              </p:grpSpPr>
              <p:sp>
                <p:nvSpPr>
                  <p:cNvPr id="705" name="Rectangle: Rounded Corners 704">
                    <a:extLst>
                      <a:ext uri="{FF2B5EF4-FFF2-40B4-BE49-F238E27FC236}">
                        <a16:creationId xmlns:a16="http://schemas.microsoft.com/office/drawing/2014/main" id="{AD8722EA-84F8-47A5-8DA3-9D5EA5427076}"/>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6" name="Rectangle: Rounded Corners 705">
                    <a:extLst>
                      <a:ext uri="{FF2B5EF4-FFF2-40B4-BE49-F238E27FC236}">
                        <a16:creationId xmlns:a16="http://schemas.microsoft.com/office/drawing/2014/main" id="{3D1E1600-A302-4714-AC12-B097282B3B55}"/>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7" name="Oval 706">
                    <a:extLst>
                      <a:ext uri="{FF2B5EF4-FFF2-40B4-BE49-F238E27FC236}">
                        <a16:creationId xmlns:a16="http://schemas.microsoft.com/office/drawing/2014/main" id="{28F81773-C154-4201-B0A2-5707A4F42632}"/>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01" name="Group 700">
                  <a:extLst>
                    <a:ext uri="{FF2B5EF4-FFF2-40B4-BE49-F238E27FC236}">
                      <a16:creationId xmlns:a16="http://schemas.microsoft.com/office/drawing/2014/main" id="{D48A3D73-81B5-4644-85EC-7DC9A17D931F}"/>
                    </a:ext>
                  </a:extLst>
                </p:cNvPr>
                <p:cNvGrpSpPr/>
                <p:nvPr/>
              </p:nvGrpSpPr>
              <p:grpSpPr>
                <a:xfrm>
                  <a:off x="5586758" y="5011274"/>
                  <a:ext cx="1374154" cy="73152"/>
                  <a:chOff x="5586758" y="3473900"/>
                  <a:chExt cx="1374154" cy="73152"/>
                </a:xfrm>
              </p:grpSpPr>
              <p:sp>
                <p:nvSpPr>
                  <p:cNvPr id="702" name="Rectangle: Rounded Corners 701">
                    <a:extLst>
                      <a:ext uri="{FF2B5EF4-FFF2-40B4-BE49-F238E27FC236}">
                        <a16:creationId xmlns:a16="http://schemas.microsoft.com/office/drawing/2014/main" id="{3475F78E-3B05-44F5-8D81-18C9FF551395}"/>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3" name="Rectangle: Rounded Corners 702">
                    <a:extLst>
                      <a:ext uri="{FF2B5EF4-FFF2-40B4-BE49-F238E27FC236}">
                        <a16:creationId xmlns:a16="http://schemas.microsoft.com/office/drawing/2014/main" id="{A8753260-CBF5-4831-B020-60A6FBD634A9}"/>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4" name="Oval 703">
                    <a:extLst>
                      <a:ext uri="{FF2B5EF4-FFF2-40B4-BE49-F238E27FC236}">
                        <a16:creationId xmlns:a16="http://schemas.microsoft.com/office/drawing/2014/main" id="{3DCCC233-D2C0-46AD-BB6E-3F658351D3AE}"/>
                      </a:ext>
                    </a:extLst>
                  </p:cNvPr>
                  <p:cNvSpPr/>
                  <p:nvPr/>
                </p:nvSpPr>
                <p:spPr bwMode="auto">
                  <a:xfrm>
                    <a:off x="6887760" y="3473900"/>
                    <a:ext cx="73152" cy="73152"/>
                  </a:xfrm>
                  <a:prstGeom prst="ellipse">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72" name="Group 671">
                <a:extLst>
                  <a:ext uri="{FF2B5EF4-FFF2-40B4-BE49-F238E27FC236}">
                    <a16:creationId xmlns:a16="http://schemas.microsoft.com/office/drawing/2014/main" id="{CFD345DB-3A7F-4113-B3A2-CE8DD2880E09}"/>
                  </a:ext>
                </a:extLst>
              </p:cNvPr>
              <p:cNvGrpSpPr/>
              <p:nvPr/>
            </p:nvGrpSpPr>
            <p:grpSpPr>
              <a:xfrm>
                <a:off x="7293571" y="2308860"/>
                <a:ext cx="1668533" cy="2868930"/>
                <a:chOff x="7293571" y="2308860"/>
                <a:chExt cx="1668533" cy="2868930"/>
              </a:xfrm>
            </p:grpSpPr>
            <p:grpSp>
              <p:nvGrpSpPr>
                <p:cNvPr id="674" name="Group 673">
                  <a:extLst>
                    <a:ext uri="{FF2B5EF4-FFF2-40B4-BE49-F238E27FC236}">
                      <a16:creationId xmlns:a16="http://schemas.microsoft.com/office/drawing/2014/main" id="{225D5F5B-9032-4F76-B7C9-5C9870DB9A1C}"/>
                    </a:ext>
                  </a:extLst>
                </p:cNvPr>
                <p:cNvGrpSpPr/>
                <p:nvPr/>
              </p:nvGrpSpPr>
              <p:grpSpPr>
                <a:xfrm>
                  <a:off x="7297111" y="2308860"/>
                  <a:ext cx="1664993" cy="845820"/>
                  <a:chOff x="7297111" y="2308860"/>
                  <a:chExt cx="1664993" cy="845820"/>
                </a:xfrm>
              </p:grpSpPr>
              <p:sp>
                <p:nvSpPr>
                  <p:cNvPr id="681" name="Rectangle 680">
                    <a:extLst>
                      <a:ext uri="{FF2B5EF4-FFF2-40B4-BE49-F238E27FC236}">
                        <a16:creationId xmlns:a16="http://schemas.microsoft.com/office/drawing/2014/main" id="{04D1C24F-E075-4F37-9EB9-CB88E7FADCD9}"/>
                      </a:ext>
                    </a:extLst>
                  </p:cNvPr>
                  <p:cNvSpPr/>
                  <p:nvPr/>
                </p:nvSpPr>
                <p:spPr bwMode="auto">
                  <a:xfrm>
                    <a:off x="7297111" y="2308860"/>
                    <a:ext cx="1664993" cy="84582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82" name="Group 681">
                    <a:extLst>
                      <a:ext uri="{FF2B5EF4-FFF2-40B4-BE49-F238E27FC236}">
                        <a16:creationId xmlns:a16="http://schemas.microsoft.com/office/drawing/2014/main" id="{90D2C42E-C9C2-4C0E-A355-11D13F30E1E8}"/>
                      </a:ext>
                    </a:extLst>
                  </p:cNvPr>
                  <p:cNvGrpSpPr/>
                  <p:nvPr/>
                </p:nvGrpSpPr>
                <p:grpSpPr>
                  <a:xfrm>
                    <a:off x="7490344" y="2514596"/>
                    <a:ext cx="548639" cy="548640"/>
                    <a:chOff x="7490344" y="2514596"/>
                    <a:chExt cx="548639" cy="548640"/>
                  </a:xfrm>
                </p:grpSpPr>
                <p:sp>
                  <p:nvSpPr>
                    <p:cNvPr id="687" name="Circle: Hollow 686">
                      <a:extLst>
                        <a:ext uri="{FF2B5EF4-FFF2-40B4-BE49-F238E27FC236}">
                          <a16:creationId xmlns:a16="http://schemas.microsoft.com/office/drawing/2014/main" id="{777EF55D-A9D3-4346-B4A4-265A5CDD8582}"/>
                        </a:ext>
                      </a:extLst>
                    </p:cNvPr>
                    <p:cNvSpPr/>
                    <p:nvPr/>
                  </p:nvSpPr>
                  <p:spPr bwMode="auto">
                    <a:xfrm>
                      <a:off x="7490344" y="2514596"/>
                      <a:ext cx="548639" cy="548640"/>
                    </a:xfrm>
                    <a:prstGeom prst="donut">
                      <a:avLst>
                        <a:gd name="adj" fmla="val 8597"/>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8" name="Freeform: Shape 687">
                      <a:extLst>
                        <a:ext uri="{FF2B5EF4-FFF2-40B4-BE49-F238E27FC236}">
                          <a16:creationId xmlns:a16="http://schemas.microsoft.com/office/drawing/2014/main" id="{3CD238D5-DF8A-463E-80E3-64BE7C4857D4}"/>
                        </a:ext>
                      </a:extLst>
                    </p:cNvPr>
                    <p:cNvSpPr/>
                    <p:nvPr/>
                  </p:nvSpPr>
                  <p:spPr bwMode="auto">
                    <a:xfrm>
                      <a:off x="7759179" y="2514596"/>
                      <a:ext cx="279804" cy="277838"/>
                    </a:xfrm>
                    <a:custGeom>
                      <a:avLst/>
                      <a:gdLst>
                        <a:gd name="connsiteX0" fmla="*/ 5485 w 279804"/>
                        <a:gd name="connsiteY0" fmla="*/ 0 h 277838"/>
                        <a:gd name="connsiteX1" fmla="*/ 279804 w 279804"/>
                        <a:gd name="connsiteY1" fmla="*/ 274320 h 277838"/>
                        <a:gd name="connsiteX2" fmla="*/ 279272 w 279804"/>
                        <a:gd name="connsiteY2" fmla="*/ 277838 h 277838"/>
                        <a:gd name="connsiteX3" fmla="*/ 232106 w 279804"/>
                        <a:gd name="connsiteY3" fmla="*/ 277838 h 277838"/>
                        <a:gd name="connsiteX4" fmla="*/ 232638 w 279804"/>
                        <a:gd name="connsiteY4" fmla="*/ 274320 h 277838"/>
                        <a:gd name="connsiteX5" fmla="*/ 5485 w 279804"/>
                        <a:gd name="connsiteY5" fmla="*/ 47167 h 277838"/>
                        <a:gd name="connsiteX6" fmla="*/ 0 w 279804"/>
                        <a:gd name="connsiteY6" fmla="*/ 47720 h 277838"/>
                        <a:gd name="connsiteX7" fmla="*/ 0 w 279804"/>
                        <a:gd name="connsiteY7" fmla="*/ 553 h 27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804" h="277838">
                          <a:moveTo>
                            <a:pt x="5485" y="0"/>
                          </a:moveTo>
                          <a:cubicBezTo>
                            <a:pt x="156987" y="0"/>
                            <a:pt x="279804" y="122818"/>
                            <a:pt x="279804" y="274320"/>
                          </a:cubicBezTo>
                          <a:lnTo>
                            <a:pt x="279272" y="277838"/>
                          </a:lnTo>
                          <a:lnTo>
                            <a:pt x="232106" y="277838"/>
                          </a:lnTo>
                          <a:lnTo>
                            <a:pt x="232638" y="274320"/>
                          </a:lnTo>
                          <a:cubicBezTo>
                            <a:pt x="232638" y="148867"/>
                            <a:pt x="130938" y="47167"/>
                            <a:pt x="5485" y="47167"/>
                          </a:cubicBezTo>
                          <a:lnTo>
                            <a:pt x="0" y="47720"/>
                          </a:lnTo>
                          <a:lnTo>
                            <a:pt x="0" y="553"/>
                          </a:lnTo>
                          <a:close/>
                        </a:path>
                      </a:pathLst>
                    </a:cu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83" name="Rectangle 682">
                    <a:extLst>
                      <a:ext uri="{FF2B5EF4-FFF2-40B4-BE49-F238E27FC236}">
                        <a16:creationId xmlns:a16="http://schemas.microsoft.com/office/drawing/2014/main" id="{8937A829-B590-4507-B3F6-C75C99E12150}"/>
                      </a:ext>
                    </a:extLst>
                  </p:cNvPr>
                  <p:cNvSpPr/>
                  <p:nvPr/>
                </p:nvSpPr>
                <p:spPr bwMode="auto">
                  <a:xfrm>
                    <a:off x="7382553" y="2371489"/>
                    <a:ext cx="8229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84" name="Group 683">
                    <a:extLst>
                      <a:ext uri="{FF2B5EF4-FFF2-40B4-BE49-F238E27FC236}">
                        <a16:creationId xmlns:a16="http://schemas.microsoft.com/office/drawing/2014/main" id="{4EC4BBC7-7AE9-4C22-AE81-970D1DB30EAB}"/>
                      </a:ext>
                    </a:extLst>
                  </p:cNvPr>
                  <p:cNvGrpSpPr/>
                  <p:nvPr/>
                </p:nvGrpSpPr>
                <p:grpSpPr>
                  <a:xfrm>
                    <a:off x="8176612" y="2514596"/>
                    <a:ext cx="548639" cy="548640"/>
                    <a:chOff x="8176612" y="2514596"/>
                    <a:chExt cx="548639" cy="548640"/>
                  </a:xfrm>
                </p:grpSpPr>
                <p:sp>
                  <p:nvSpPr>
                    <p:cNvPr id="685" name="Circle: Hollow 684">
                      <a:extLst>
                        <a:ext uri="{FF2B5EF4-FFF2-40B4-BE49-F238E27FC236}">
                          <a16:creationId xmlns:a16="http://schemas.microsoft.com/office/drawing/2014/main" id="{9B3A8D7D-4440-48CE-B103-2AF60908D23F}"/>
                        </a:ext>
                      </a:extLst>
                    </p:cNvPr>
                    <p:cNvSpPr/>
                    <p:nvPr/>
                  </p:nvSpPr>
                  <p:spPr bwMode="auto">
                    <a:xfrm>
                      <a:off x="8176612" y="2514596"/>
                      <a:ext cx="548639" cy="548640"/>
                    </a:xfrm>
                    <a:prstGeom prst="donut">
                      <a:avLst>
                        <a:gd name="adj" fmla="val 8597"/>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6" name="Freeform: Shape 685">
                      <a:extLst>
                        <a:ext uri="{FF2B5EF4-FFF2-40B4-BE49-F238E27FC236}">
                          <a16:creationId xmlns:a16="http://schemas.microsoft.com/office/drawing/2014/main" id="{A15F729F-768D-46D2-9B25-315D2BA9B4F7}"/>
                        </a:ext>
                      </a:extLst>
                    </p:cNvPr>
                    <p:cNvSpPr/>
                    <p:nvPr/>
                  </p:nvSpPr>
                  <p:spPr bwMode="auto">
                    <a:xfrm>
                      <a:off x="8450930" y="2514596"/>
                      <a:ext cx="274321" cy="548640"/>
                    </a:xfrm>
                    <a:custGeom>
                      <a:avLst/>
                      <a:gdLst>
                        <a:gd name="connsiteX0" fmla="*/ 1 w 274321"/>
                        <a:gd name="connsiteY0" fmla="*/ 0 h 548640"/>
                        <a:gd name="connsiteX1" fmla="*/ 274321 w 274321"/>
                        <a:gd name="connsiteY1" fmla="*/ 274320 h 548640"/>
                        <a:gd name="connsiteX2" fmla="*/ 1 w 274321"/>
                        <a:gd name="connsiteY2" fmla="*/ 548640 h 548640"/>
                        <a:gd name="connsiteX3" fmla="*/ 0 w 274321"/>
                        <a:gd name="connsiteY3" fmla="*/ 548640 h 548640"/>
                        <a:gd name="connsiteX4" fmla="*/ 0 w 274321"/>
                        <a:gd name="connsiteY4" fmla="*/ 501474 h 548640"/>
                        <a:gd name="connsiteX5" fmla="*/ 227153 w 274321"/>
                        <a:gd name="connsiteY5" fmla="*/ 274320 h 548640"/>
                        <a:gd name="connsiteX6" fmla="*/ 0 w 274321"/>
                        <a:gd name="connsiteY6" fmla="*/ 47166 h 548640"/>
                        <a:gd name="connsiteX7" fmla="*/ 0 w 274321"/>
                        <a:gd name="connsiteY7"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1" h="548640">
                          <a:moveTo>
                            <a:pt x="1" y="0"/>
                          </a:moveTo>
                          <a:cubicBezTo>
                            <a:pt x="151504" y="0"/>
                            <a:pt x="274321" y="122817"/>
                            <a:pt x="274321" y="274320"/>
                          </a:cubicBezTo>
                          <a:cubicBezTo>
                            <a:pt x="274321" y="425823"/>
                            <a:pt x="151504" y="548640"/>
                            <a:pt x="1" y="548640"/>
                          </a:cubicBezTo>
                          <a:lnTo>
                            <a:pt x="0" y="548640"/>
                          </a:lnTo>
                          <a:lnTo>
                            <a:pt x="0" y="501474"/>
                          </a:lnTo>
                          <a:cubicBezTo>
                            <a:pt x="125453" y="501474"/>
                            <a:pt x="227153" y="399774"/>
                            <a:pt x="227153" y="274320"/>
                          </a:cubicBezTo>
                          <a:cubicBezTo>
                            <a:pt x="227153" y="148866"/>
                            <a:pt x="125453" y="47166"/>
                            <a:pt x="0" y="47166"/>
                          </a:cubicBezTo>
                          <a:lnTo>
                            <a:pt x="0" y="0"/>
                          </a:lnTo>
                          <a:close/>
                        </a:path>
                      </a:pathLst>
                    </a:cu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75" name="Group 674">
                  <a:extLst>
                    <a:ext uri="{FF2B5EF4-FFF2-40B4-BE49-F238E27FC236}">
                      <a16:creationId xmlns:a16="http://schemas.microsoft.com/office/drawing/2014/main" id="{C001018C-7F84-40D7-B872-C28AAE5AD8FF}"/>
                    </a:ext>
                  </a:extLst>
                </p:cNvPr>
                <p:cNvGrpSpPr/>
                <p:nvPr/>
              </p:nvGrpSpPr>
              <p:grpSpPr>
                <a:xfrm>
                  <a:off x="7293571" y="3257550"/>
                  <a:ext cx="1664993" cy="1920240"/>
                  <a:chOff x="7293571" y="3257550"/>
                  <a:chExt cx="1664993" cy="1920240"/>
                </a:xfrm>
              </p:grpSpPr>
              <p:sp>
                <p:nvSpPr>
                  <p:cNvPr id="676" name="Rectangle 675">
                    <a:extLst>
                      <a:ext uri="{FF2B5EF4-FFF2-40B4-BE49-F238E27FC236}">
                        <a16:creationId xmlns:a16="http://schemas.microsoft.com/office/drawing/2014/main" id="{A20BA10E-5A50-4EB6-92ED-752D42B4C80B}"/>
                      </a:ext>
                    </a:extLst>
                  </p:cNvPr>
                  <p:cNvSpPr/>
                  <p:nvPr/>
                </p:nvSpPr>
                <p:spPr bwMode="auto">
                  <a:xfrm>
                    <a:off x="7293571" y="3257550"/>
                    <a:ext cx="1664993" cy="192024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7" name="Rectangle 676">
                    <a:extLst>
                      <a:ext uri="{FF2B5EF4-FFF2-40B4-BE49-F238E27FC236}">
                        <a16:creationId xmlns:a16="http://schemas.microsoft.com/office/drawing/2014/main" id="{0D9562BE-4AC0-4508-9A58-B89C78CF2DFF}"/>
                      </a:ext>
                    </a:extLst>
                  </p:cNvPr>
                  <p:cNvSpPr/>
                  <p:nvPr/>
                </p:nvSpPr>
                <p:spPr bwMode="auto">
                  <a:xfrm>
                    <a:off x="7378140" y="3354448"/>
                    <a:ext cx="8229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8" name="Freeform: Shape 677">
                    <a:extLst>
                      <a:ext uri="{FF2B5EF4-FFF2-40B4-BE49-F238E27FC236}">
                        <a16:creationId xmlns:a16="http://schemas.microsoft.com/office/drawing/2014/main" id="{70F9538C-27C3-41DC-A382-4D14DEE30430}"/>
                      </a:ext>
                    </a:extLst>
                  </p:cNvPr>
                  <p:cNvSpPr/>
                  <p:nvPr/>
                </p:nvSpPr>
                <p:spPr bwMode="auto">
                  <a:xfrm rot="19775791" flipH="1">
                    <a:off x="7443000" y="3642019"/>
                    <a:ext cx="1275421" cy="551564"/>
                  </a:xfrm>
                  <a:custGeom>
                    <a:avLst/>
                    <a:gdLst>
                      <a:gd name="connsiteX0" fmla="*/ 817014 w 1275421"/>
                      <a:gd name="connsiteY0" fmla="*/ 5665 h 551564"/>
                      <a:gd name="connsiteX1" fmla="*/ 802349 w 1275421"/>
                      <a:gd name="connsiteY1" fmla="*/ 61979 h 551564"/>
                      <a:gd name="connsiteX2" fmla="*/ 808518 w 1275421"/>
                      <a:gd name="connsiteY2" fmla="*/ 66644 h 551564"/>
                      <a:gd name="connsiteX3" fmla="*/ 700410 w 1275421"/>
                      <a:gd name="connsiteY3" fmla="*/ 394686 h 551564"/>
                      <a:gd name="connsiteX4" fmla="*/ 684257 w 1275421"/>
                      <a:gd name="connsiteY4" fmla="*/ 396929 h 551564"/>
                      <a:gd name="connsiteX5" fmla="*/ 665262 w 1275421"/>
                      <a:gd name="connsiteY5" fmla="*/ 422049 h 551564"/>
                      <a:gd name="connsiteX6" fmla="*/ 665649 w 1275421"/>
                      <a:gd name="connsiteY6" fmla="*/ 424843 h 551564"/>
                      <a:gd name="connsiteX7" fmla="*/ 421412 w 1275421"/>
                      <a:gd name="connsiteY7" fmla="*/ 481135 h 551564"/>
                      <a:gd name="connsiteX8" fmla="*/ 407467 w 1275421"/>
                      <a:gd name="connsiteY8" fmla="*/ 470590 h 551564"/>
                      <a:gd name="connsiteX9" fmla="*/ 376272 w 1275421"/>
                      <a:gd name="connsiteY9" fmla="*/ 474921 h 551564"/>
                      <a:gd name="connsiteX10" fmla="*/ 365532 w 1275421"/>
                      <a:gd name="connsiteY10" fmla="*/ 489124 h 551564"/>
                      <a:gd name="connsiteX11" fmla="*/ 76827 w 1275421"/>
                      <a:gd name="connsiteY11" fmla="*/ 489124 h 551564"/>
                      <a:gd name="connsiteX12" fmla="*/ 76644 w 1275421"/>
                      <a:gd name="connsiteY12" fmla="*/ 487807 h 551564"/>
                      <a:gd name="connsiteX13" fmla="*/ 20330 w 1275421"/>
                      <a:gd name="connsiteY13" fmla="*/ 473142 h 551564"/>
                      <a:gd name="connsiteX14" fmla="*/ 5665 w 1275421"/>
                      <a:gd name="connsiteY14" fmla="*/ 529455 h 551564"/>
                      <a:gd name="connsiteX15" fmla="*/ 61979 w 1275421"/>
                      <a:gd name="connsiteY15" fmla="*/ 544120 h 551564"/>
                      <a:gd name="connsiteX16" fmla="*/ 75908 w 1275421"/>
                      <a:gd name="connsiteY16" fmla="*/ 525700 h 551564"/>
                      <a:gd name="connsiteX17" fmla="*/ 360839 w 1275421"/>
                      <a:gd name="connsiteY17" fmla="*/ 525700 h 551564"/>
                      <a:gd name="connsiteX18" fmla="*/ 361607 w 1275421"/>
                      <a:gd name="connsiteY18" fmla="*/ 531235 h 551564"/>
                      <a:gd name="connsiteX19" fmla="*/ 417921 w 1275421"/>
                      <a:gd name="connsiteY19" fmla="*/ 545900 h 551564"/>
                      <a:gd name="connsiteX20" fmla="*/ 436917 w 1275421"/>
                      <a:gd name="connsiteY20" fmla="*/ 520780 h 551564"/>
                      <a:gd name="connsiteX21" fmla="*/ 436152 w 1275421"/>
                      <a:gd name="connsiteY21" fmla="*/ 515273 h 551564"/>
                      <a:gd name="connsiteX22" fmla="*/ 677929 w 1275421"/>
                      <a:gd name="connsiteY22" fmla="*/ 459547 h 551564"/>
                      <a:gd name="connsiteX23" fmla="*/ 694711 w 1275421"/>
                      <a:gd name="connsiteY23" fmla="*/ 472238 h 551564"/>
                      <a:gd name="connsiteX24" fmla="*/ 706019 w 1275421"/>
                      <a:gd name="connsiteY24" fmla="*/ 470668 h 551564"/>
                      <a:gd name="connsiteX25" fmla="*/ 708296 w 1275421"/>
                      <a:gd name="connsiteY25" fmla="*/ 470499 h 551564"/>
                      <a:gd name="connsiteX26" fmla="*/ 708440 w 1275421"/>
                      <a:gd name="connsiteY26" fmla="*/ 470332 h 551564"/>
                      <a:gd name="connsiteX27" fmla="*/ 725906 w 1275421"/>
                      <a:gd name="connsiteY27" fmla="*/ 467908 h 551564"/>
                      <a:gd name="connsiteX28" fmla="*/ 740571 w 1275421"/>
                      <a:gd name="connsiteY28" fmla="*/ 411594 h 551564"/>
                      <a:gd name="connsiteX29" fmla="*/ 734789 w 1275421"/>
                      <a:gd name="connsiteY29" fmla="*/ 407222 h 551564"/>
                      <a:gd name="connsiteX30" fmla="*/ 843019 w 1275421"/>
                      <a:gd name="connsiteY30" fmla="*/ 78815 h 551564"/>
                      <a:gd name="connsiteX31" fmla="*/ 858663 w 1275421"/>
                      <a:gd name="connsiteY31" fmla="*/ 76644 h 551564"/>
                      <a:gd name="connsiteX32" fmla="*/ 864342 w 1275421"/>
                      <a:gd name="connsiteY32" fmla="*/ 69133 h 551564"/>
                      <a:gd name="connsiteX33" fmla="*/ 1197512 w 1275421"/>
                      <a:gd name="connsiteY33" fmla="*/ 133611 h 551564"/>
                      <a:gd name="connsiteX34" fmla="*/ 1198778 w 1275421"/>
                      <a:gd name="connsiteY34" fmla="*/ 142728 h 551564"/>
                      <a:gd name="connsiteX35" fmla="*/ 1255092 w 1275421"/>
                      <a:gd name="connsiteY35" fmla="*/ 157393 h 551564"/>
                      <a:gd name="connsiteX36" fmla="*/ 1269757 w 1275421"/>
                      <a:gd name="connsiteY36" fmla="*/ 101079 h 551564"/>
                      <a:gd name="connsiteX37" fmla="*/ 1213443 w 1275421"/>
                      <a:gd name="connsiteY37" fmla="*/ 86414 h 551564"/>
                      <a:gd name="connsiteX38" fmla="*/ 1204850 w 1275421"/>
                      <a:gd name="connsiteY38" fmla="*/ 97777 h 551564"/>
                      <a:gd name="connsiteX39" fmla="*/ 875223 w 1275421"/>
                      <a:gd name="connsiteY39" fmla="*/ 33984 h 551564"/>
                      <a:gd name="connsiteX40" fmla="*/ 873328 w 1275421"/>
                      <a:gd name="connsiteY40" fmla="*/ 20330 h 551564"/>
                      <a:gd name="connsiteX41" fmla="*/ 817014 w 1275421"/>
                      <a:gd name="connsiteY41" fmla="*/ 5665 h 551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75421" h="551564">
                        <a:moveTo>
                          <a:pt x="817014" y="5665"/>
                        </a:moveTo>
                        <a:cubicBezTo>
                          <a:pt x="797414" y="17166"/>
                          <a:pt x="790848" y="42379"/>
                          <a:pt x="802349" y="61979"/>
                        </a:cubicBezTo>
                        <a:lnTo>
                          <a:pt x="808518" y="66644"/>
                        </a:lnTo>
                        <a:lnTo>
                          <a:pt x="700410" y="394686"/>
                        </a:lnTo>
                        <a:lnTo>
                          <a:pt x="684257" y="396929"/>
                        </a:lnTo>
                        <a:cubicBezTo>
                          <a:pt x="674457" y="402679"/>
                          <a:pt x="667915" y="411858"/>
                          <a:pt x="665262" y="422049"/>
                        </a:cubicBezTo>
                        <a:lnTo>
                          <a:pt x="665649" y="424843"/>
                        </a:lnTo>
                        <a:lnTo>
                          <a:pt x="421412" y="481135"/>
                        </a:lnTo>
                        <a:lnTo>
                          <a:pt x="407467" y="470590"/>
                        </a:lnTo>
                        <a:cubicBezTo>
                          <a:pt x="397276" y="467936"/>
                          <a:pt x="386072" y="469170"/>
                          <a:pt x="376272" y="474921"/>
                        </a:cubicBezTo>
                        <a:lnTo>
                          <a:pt x="365532" y="489124"/>
                        </a:lnTo>
                        <a:lnTo>
                          <a:pt x="76827" y="489124"/>
                        </a:lnTo>
                        <a:lnTo>
                          <a:pt x="76644" y="487807"/>
                        </a:lnTo>
                        <a:cubicBezTo>
                          <a:pt x="65143" y="468207"/>
                          <a:pt x="39930" y="461641"/>
                          <a:pt x="20330" y="473142"/>
                        </a:cubicBezTo>
                        <a:cubicBezTo>
                          <a:pt x="730" y="484642"/>
                          <a:pt x="-5836" y="509856"/>
                          <a:pt x="5665" y="529455"/>
                        </a:cubicBezTo>
                        <a:cubicBezTo>
                          <a:pt x="17166" y="549055"/>
                          <a:pt x="42379" y="555621"/>
                          <a:pt x="61979" y="544120"/>
                        </a:cubicBezTo>
                        <a:lnTo>
                          <a:pt x="75908" y="525700"/>
                        </a:lnTo>
                        <a:lnTo>
                          <a:pt x="360839" y="525700"/>
                        </a:lnTo>
                        <a:lnTo>
                          <a:pt x="361607" y="531235"/>
                        </a:lnTo>
                        <a:cubicBezTo>
                          <a:pt x="373108" y="550834"/>
                          <a:pt x="398321" y="557400"/>
                          <a:pt x="417921" y="545900"/>
                        </a:cubicBezTo>
                        <a:cubicBezTo>
                          <a:pt x="427721" y="540149"/>
                          <a:pt x="434263" y="530971"/>
                          <a:pt x="436917" y="520780"/>
                        </a:cubicBezTo>
                        <a:lnTo>
                          <a:pt x="436152" y="515273"/>
                        </a:lnTo>
                        <a:lnTo>
                          <a:pt x="677929" y="459547"/>
                        </a:lnTo>
                        <a:lnTo>
                          <a:pt x="694711" y="472238"/>
                        </a:lnTo>
                        <a:lnTo>
                          <a:pt x="706019" y="470668"/>
                        </a:lnTo>
                        <a:lnTo>
                          <a:pt x="708296" y="470499"/>
                        </a:lnTo>
                        <a:lnTo>
                          <a:pt x="708440" y="470332"/>
                        </a:lnTo>
                        <a:lnTo>
                          <a:pt x="725906" y="467908"/>
                        </a:lnTo>
                        <a:cubicBezTo>
                          <a:pt x="745506" y="456407"/>
                          <a:pt x="752072" y="431194"/>
                          <a:pt x="740571" y="411594"/>
                        </a:cubicBezTo>
                        <a:lnTo>
                          <a:pt x="734789" y="407222"/>
                        </a:lnTo>
                        <a:lnTo>
                          <a:pt x="843019" y="78815"/>
                        </a:lnTo>
                        <a:lnTo>
                          <a:pt x="858663" y="76644"/>
                        </a:lnTo>
                        <a:lnTo>
                          <a:pt x="864342" y="69133"/>
                        </a:lnTo>
                        <a:lnTo>
                          <a:pt x="1197512" y="133611"/>
                        </a:lnTo>
                        <a:lnTo>
                          <a:pt x="1198778" y="142728"/>
                        </a:lnTo>
                        <a:cubicBezTo>
                          <a:pt x="1210279" y="162328"/>
                          <a:pt x="1235492" y="168894"/>
                          <a:pt x="1255092" y="157393"/>
                        </a:cubicBezTo>
                        <a:cubicBezTo>
                          <a:pt x="1274692" y="145892"/>
                          <a:pt x="1281257" y="120679"/>
                          <a:pt x="1269757" y="101079"/>
                        </a:cubicBezTo>
                        <a:cubicBezTo>
                          <a:pt x="1258256" y="81479"/>
                          <a:pt x="1233043" y="74913"/>
                          <a:pt x="1213443" y="86414"/>
                        </a:cubicBezTo>
                        <a:lnTo>
                          <a:pt x="1204850" y="97777"/>
                        </a:lnTo>
                        <a:lnTo>
                          <a:pt x="875223" y="33984"/>
                        </a:lnTo>
                        <a:lnTo>
                          <a:pt x="873328" y="20330"/>
                        </a:lnTo>
                        <a:cubicBezTo>
                          <a:pt x="861827" y="730"/>
                          <a:pt x="836614" y="-5836"/>
                          <a:pt x="817014" y="5665"/>
                        </a:cubicBezTo>
                        <a:close/>
                      </a:path>
                    </a:pathLst>
                  </a:custGeom>
                  <a:solidFill>
                    <a:srgbClr val="C4E5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9" name="Freeform: Shape 678">
                    <a:extLst>
                      <a:ext uri="{FF2B5EF4-FFF2-40B4-BE49-F238E27FC236}">
                        <a16:creationId xmlns:a16="http://schemas.microsoft.com/office/drawing/2014/main" id="{3BCA6F1E-A9DA-4753-9B40-9F49409EA2A9}"/>
                      </a:ext>
                    </a:extLst>
                  </p:cNvPr>
                  <p:cNvSpPr/>
                  <p:nvPr/>
                </p:nvSpPr>
                <p:spPr bwMode="auto">
                  <a:xfrm rot="1020000" flipH="1">
                    <a:off x="7486908" y="4202342"/>
                    <a:ext cx="1227571" cy="525397"/>
                  </a:xfrm>
                  <a:custGeom>
                    <a:avLst/>
                    <a:gdLst>
                      <a:gd name="connsiteX0" fmla="*/ 936537 w 1227571"/>
                      <a:gd name="connsiteY0" fmla="*/ 271875 h 525397"/>
                      <a:gd name="connsiteX1" fmla="*/ 905188 w 1227571"/>
                      <a:gd name="connsiteY1" fmla="*/ 274894 h 525397"/>
                      <a:gd name="connsiteX2" fmla="*/ 895950 w 1227571"/>
                      <a:gd name="connsiteY2" fmla="*/ 286101 h 525397"/>
                      <a:gd name="connsiteX3" fmla="*/ 636048 w 1227571"/>
                      <a:gd name="connsiteY3" fmla="*/ 286101 h 525397"/>
                      <a:gd name="connsiteX4" fmla="*/ 635993 w 1227571"/>
                      <a:gd name="connsiteY4" fmla="*/ 285534 h 525397"/>
                      <a:gd name="connsiteX5" fmla="*/ 611692 w 1227571"/>
                      <a:gd name="connsiteY5" fmla="*/ 265501 h 525397"/>
                      <a:gd name="connsiteX6" fmla="*/ 580344 w 1227571"/>
                      <a:gd name="connsiteY6" fmla="*/ 268520 h 525397"/>
                      <a:gd name="connsiteX7" fmla="*/ 568474 w 1227571"/>
                      <a:gd name="connsiteY7" fmla="*/ 282919 h 525397"/>
                      <a:gd name="connsiteX8" fmla="*/ 315735 w 1227571"/>
                      <a:gd name="connsiteY8" fmla="*/ 275154 h 525397"/>
                      <a:gd name="connsiteX9" fmla="*/ 294939 w 1227571"/>
                      <a:gd name="connsiteY9" fmla="*/ 258011 h 525397"/>
                      <a:gd name="connsiteX10" fmla="*/ 274484 w 1227571"/>
                      <a:gd name="connsiteY10" fmla="*/ 259981 h 525397"/>
                      <a:gd name="connsiteX11" fmla="*/ 80059 w 1227571"/>
                      <a:gd name="connsiteY11" fmla="*/ 48520 h 525397"/>
                      <a:gd name="connsiteX12" fmla="*/ 77489 w 1227571"/>
                      <a:gd name="connsiteY12" fmla="*/ 21841 h 525397"/>
                      <a:gd name="connsiteX13" fmla="*/ 53188 w 1227571"/>
                      <a:gd name="connsiteY13" fmla="*/ 1808 h 525397"/>
                      <a:gd name="connsiteX14" fmla="*/ 1808 w 1227571"/>
                      <a:gd name="connsiteY14" fmla="*/ 29128 h 525397"/>
                      <a:gd name="connsiteX15" fmla="*/ 29127 w 1227571"/>
                      <a:gd name="connsiteY15" fmla="*/ 80509 h 525397"/>
                      <a:gd name="connsiteX16" fmla="*/ 57290 w 1227571"/>
                      <a:gd name="connsiteY16" fmla="*/ 77796 h 525397"/>
                      <a:gd name="connsiteX17" fmla="*/ 245708 w 1227571"/>
                      <a:gd name="connsiteY17" fmla="*/ 282725 h 525397"/>
                      <a:gd name="connsiteX18" fmla="*/ 243559 w 1227571"/>
                      <a:gd name="connsiteY18" fmla="*/ 285331 h 525397"/>
                      <a:gd name="connsiteX19" fmla="*/ 270878 w 1227571"/>
                      <a:gd name="connsiteY19" fmla="*/ 336712 h 525397"/>
                      <a:gd name="connsiteX20" fmla="*/ 302227 w 1227571"/>
                      <a:gd name="connsiteY20" fmla="*/ 333693 h 525397"/>
                      <a:gd name="connsiteX21" fmla="*/ 320204 w 1227571"/>
                      <a:gd name="connsiteY21" fmla="*/ 311885 h 525397"/>
                      <a:gd name="connsiteX22" fmla="*/ 562865 w 1227571"/>
                      <a:gd name="connsiteY22" fmla="*/ 319340 h 525397"/>
                      <a:gd name="connsiteX23" fmla="*/ 563330 w 1227571"/>
                      <a:gd name="connsiteY23" fmla="*/ 324169 h 525397"/>
                      <a:gd name="connsiteX24" fmla="*/ 587631 w 1227571"/>
                      <a:gd name="connsiteY24" fmla="*/ 344201 h 525397"/>
                      <a:gd name="connsiteX25" fmla="*/ 618979 w 1227571"/>
                      <a:gd name="connsiteY25" fmla="*/ 341183 h 525397"/>
                      <a:gd name="connsiteX26" fmla="*/ 634234 w 1227571"/>
                      <a:gd name="connsiteY26" fmla="*/ 322677 h 525397"/>
                      <a:gd name="connsiteX27" fmla="*/ 887417 w 1227571"/>
                      <a:gd name="connsiteY27" fmla="*/ 322677 h 525397"/>
                      <a:gd name="connsiteX28" fmla="*/ 888175 w 1227571"/>
                      <a:gd name="connsiteY28" fmla="*/ 330543 h 525397"/>
                      <a:gd name="connsiteX29" fmla="*/ 912476 w 1227571"/>
                      <a:gd name="connsiteY29" fmla="*/ 350575 h 525397"/>
                      <a:gd name="connsiteX30" fmla="*/ 943824 w 1227571"/>
                      <a:gd name="connsiteY30" fmla="*/ 347557 h 525397"/>
                      <a:gd name="connsiteX31" fmla="*/ 946404 w 1227571"/>
                      <a:gd name="connsiteY31" fmla="*/ 344427 h 525397"/>
                      <a:gd name="connsiteX32" fmla="*/ 949532 w 1227571"/>
                      <a:gd name="connsiteY32" fmla="*/ 348979 h 525397"/>
                      <a:gd name="connsiteX33" fmla="*/ 1147581 w 1227571"/>
                      <a:gd name="connsiteY33" fmla="*/ 477593 h 525397"/>
                      <a:gd name="connsiteX34" fmla="*/ 1150081 w 1227571"/>
                      <a:gd name="connsiteY34" fmla="*/ 503557 h 525397"/>
                      <a:gd name="connsiteX35" fmla="*/ 1174382 w 1227571"/>
                      <a:gd name="connsiteY35" fmla="*/ 523589 h 525397"/>
                      <a:gd name="connsiteX36" fmla="*/ 1225763 w 1227571"/>
                      <a:gd name="connsiteY36" fmla="*/ 496270 h 525397"/>
                      <a:gd name="connsiteX37" fmla="*/ 1198443 w 1227571"/>
                      <a:gd name="connsiteY37" fmla="*/ 444889 h 525397"/>
                      <a:gd name="connsiteX38" fmla="*/ 1168776 w 1227571"/>
                      <a:gd name="connsiteY38" fmla="*/ 447746 h 525397"/>
                      <a:gd name="connsiteX39" fmla="*/ 969453 w 1227571"/>
                      <a:gd name="connsiteY39" fmla="*/ 318304 h 525397"/>
                      <a:gd name="connsiteX40" fmla="*/ 963269 w 1227571"/>
                      <a:gd name="connsiteY40" fmla="*/ 317158 h 525397"/>
                      <a:gd name="connsiteX41" fmla="*/ 960838 w 1227571"/>
                      <a:gd name="connsiteY41" fmla="*/ 291907 h 525397"/>
                      <a:gd name="connsiteX42" fmla="*/ 936537 w 1227571"/>
                      <a:gd name="connsiteY42" fmla="*/ 271875 h 5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27571" h="525397">
                        <a:moveTo>
                          <a:pt x="936537" y="271875"/>
                        </a:moveTo>
                        <a:cubicBezTo>
                          <a:pt x="925671" y="268553"/>
                          <a:pt x="914487" y="269950"/>
                          <a:pt x="905188" y="274894"/>
                        </a:cubicBezTo>
                        <a:lnTo>
                          <a:pt x="895950" y="286101"/>
                        </a:lnTo>
                        <a:lnTo>
                          <a:pt x="636048" y="286101"/>
                        </a:lnTo>
                        <a:lnTo>
                          <a:pt x="635993" y="285534"/>
                        </a:lnTo>
                        <a:cubicBezTo>
                          <a:pt x="631049" y="276236"/>
                          <a:pt x="622558" y="268823"/>
                          <a:pt x="611692" y="265501"/>
                        </a:cubicBezTo>
                        <a:cubicBezTo>
                          <a:pt x="600826" y="262179"/>
                          <a:pt x="589642" y="263576"/>
                          <a:pt x="580344" y="268520"/>
                        </a:cubicBezTo>
                        <a:lnTo>
                          <a:pt x="568474" y="282919"/>
                        </a:lnTo>
                        <a:lnTo>
                          <a:pt x="315735" y="275154"/>
                        </a:lnTo>
                        <a:lnTo>
                          <a:pt x="294939" y="258011"/>
                        </a:lnTo>
                        <a:lnTo>
                          <a:pt x="274484" y="259981"/>
                        </a:lnTo>
                        <a:lnTo>
                          <a:pt x="80059" y="48520"/>
                        </a:lnTo>
                        <a:lnTo>
                          <a:pt x="77489" y="21841"/>
                        </a:lnTo>
                        <a:cubicBezTo>
                          <a:pt x="72546" y="12543"/>
                          <a:pt x="64055" y="5131"/>
                          <a:pt x="53188" y="1808"/>
                        </a:cubicBezTo>
                        <a:cubicBezTo>
                          <a:pt x="31456" y="-4836"/>
                          <a:pt x="8452" y="7396"/>
                          <a:pt x="1808" y="29128"/>
                        </a:cubicBezTo>
                        <a:cubicBezTo>
                          <a:pt x="-4836" y="50860"/>
                          <a:pt x="7395" y="73864"/>
                          <a:pt x="29127" y="80509"/>
                        </a:cubicBezTo>
                        <a:lnTo>
                          <a:pt x="57290" y="77796"/>
                        </a:lnTo>
                        <a:lnTo>
                          <a:pt x="245708" y="282725"/>
                        </a:lnTo>
                        <a:lnTo>
                          <a:pt x="243559" y="285331"/>
                        </a:lnTo>
                        <a:cubicBezTo>
                          <a:pt x="236915" y="307063"/>
                          <a:pt x="249146" y="330067"/>
                          <a:pt x="270878" y="336712"/>
                        </a:cubicBezTo>
                        <a:cubicBezTo>
                          <a:pt x="281744" y="340033"/>
                          <a:pt x="292928" y="338637"/>
                          <a:pt x="302227" y="333693"/>
                        </a:cubicBezTo>
                        <a:lnTo>
                          <a:pt x="320204" y="311885"/>
                        </a:lnTo>
                        <a:lnTo>
                          <a:pt x="562865" y="319340"/>
                        </a:lnTo>
                        <a:lnTo>
                          <a:pt x="563330" y="324169"/>
                        </a:lnTo>
                        <a:cubicBezTo>
                          <a:pt x="568274" y="333467"/>
                          <a:pt x="576765" y="340879"/>
                          <a:pt x="587631" y="344201"/>
                        </a:cubicBezTo>
                        <a:cubicBezTo>
                          <a:pt x="598497" y="347523"/>
                          <a:pt x="609681" y="346126"/>
                          <a:pt x="618979" y="341183"/>
                        </a:cubicBezTo>
                        <a:lnTo>
                          <a:pt x="634234" y="322677"/>
                        </a:lnTo>
                        <a:lnTo>
                          <a:pt x="887417" y="322677"/>
                        </a:lnTo>
                        <a:lnTo>
                          <a:pt x="888175" y="330543"/>
                        </a:lnTo>
                        <a:cubicBezTo>
                          <a:pt x="893119" y="339841"/>
                          <a:pt x="901610" y="347253"/>
                          <a:pt x="912476" y="350575"/>
                        </a:cubicBezTo>
                        <a:cubicBezTo>
                          <a:pt x="923342" y="353897"/>
                          <a:pt x="934526" y="352501"/>
                          <a:pt x="943824" y="347557"/>
                        </a:cubicBezTo>
                        <a:lnTo>
                          <a:pt x="946404" y="344427"/>
                        </a:lnTo>
                        <a:lnTo>
                          <a:pt x="949532" y="348979"/>
                        </a:lnTo>
                        <a:lnTo>
                          <a:pt x="1147581" y="477593"/>
                        </a:lnTo>
                        <a:lnTo>
                          <a:pt x="1150081" y="503557"/>
                        </a:lnTo>
                        <a:cubicBezTo>
                          <a:pt x="1155026" y="512855"/>
                          <a:pt x="1163516" y="520267"/>
                          <a:pt x="1174382" y="523589"/>
                        </a:cubicBezTo>
                        <a:cubicBezTo>
                          <a:pt x="1196114" y="530233"/>
                          <a:pt x="1219119" y="518002"/>
                          <a:pt x="1225763" y="496270"/>
                        </a:cubicBezTo>
                        <a:cubicBezTo>
                          <a:pt x="1232407" y="474538"/>
                          <a:pt x="1220175" y="451533"/>
                          <a:pt x="1198443" y="444889"/>
                        </a:cubicBezTo>
                        <a:lnTo>
                          <a:pt x="1168776" y="447746"/>
                        </a:lnTo>
                        <a:lnTo>
                          <a:pt x="969453" y="318304"/>
                        </a:lnTo>
                        <a:lnTo>
                          <a:pt x="963269" y="317158"/>
                        </a:lnTo>
                        <a:lnTo>
                          <a:pt x="960838" y="291907"/>
                        </a:lnTo>
                        <a:cubicBezTo>
                          <a:pt x="955894" y="282610"/>
                          <a:pt x="947403" y="275197"/>
                          <a:pt x="936537" y="271875"/>
                        </a:cubicBezTo>
                        <a:close/>
                      </a:path>
                    </a:pathLst>
                  </a:custGeom>
                  <a:solidFill>
                    <a:srgbClr val="C4E5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0" name="Freeform: Shape 679">
                    <a:extLst>
                      <a:ext uri="{FF2B5EF4-FFF2-40B4-BE49-F238E27FC236}">
                        <a16:creationId xmlns:a16="http://schemas.microsoft.com/office/drawing/2014/main" id="{A2C0D2DD-14A0-4298-AC52-B73441D554B4}"/>
                      </a:ext>
                    </a:extLst>
                  </p:cNvPr>
                  <p:cNvSpPr/>
                  <p:nvPr/>
                </p:nvSpPr>
                <p:spPr bwMode="auto">
                  <a:xfrm rot="900000">
                    <a:off x="7468023" y="4732319"/>
                    <a:ext cx="1265340" cy="399305"/>
                  </a:xfrm>
                  <a:custGeom>
                    <a:avLst/>
                    <a:gdLst>
                      <a:gd name="connsiteX0" fmla="*/ 30508 w 1265340"/>
                      <a:gd name="connsiteY0" fmla="*/ 318402 h 399305"/>
                      <a:gd name="connsiteX1" fmla="*/ 61732 w 1265340"/>
                      <a:gd name="connsiteY1" fmla="*/ 322513 h 399305"/>
                      <a:gd name="connsiteX2" fmla="*/ 73340 w 1265340"/>
                      <a:gd name="connsiteY2" fmla="*/ 337641 h 399305"/>
                      <a:gd name="connsiteX3" fmla="*/ 316655 w 1265340"/>
                      <a:gd name="connsiteY3" fmla="*/ 337641 h 399305"/>
                      <a:gd name="connsiteX4" fmla="*/ 316837 w 1265340"/>
                      <a:gd name="connsiteY4" fmla="*/ 336258 h 399305"/>
                      <a:gd name="connsiteX5" fmla="*/ 341822 w 1265340"/>
                      <a:gd name="connsiteY5" fmla="*/ 317086 h 399305"/>
                      <a:gd name="connsiteX6" fmla="*/ 373046 w 1265340"/>
                      <a:gd name="connsiteY6" fmla="*/ 321197 h 399305"/>
                      <a:gd name="connsiteX7" fmla="*/ 376924 w 1265340"/>
                      <a:gd name="connsiteY7" fmla="*/ 326252 h 399305"/>
                      <a:gd name="connsiteX8" fmla="*/ 382406 w 1265340"/>
                      <a:gd name="connsiteY8" fmla="*/ 318903 h 399305"/>
                      <a:gd name="connsiteX9" fmla="*/ 586656 w 1265340"/>
                      <a:gd name="connsiteY9" fmla="*/ 197230 h 399305"/>
                      <a:gd name="connsiteX10" fmla="*/ 595925 w 1265340"/>
                      <a:gd name="connsiteY10" fmla="*/ 195882 h 399305"/>
                      <a:gd name="connsiteX11" fmla="*/ 598177 w 1265340"/>
                      <a:gd name="connsiteY11" fmla="*/ 178773 h 399305"/>
                      <a:gd name="connsiteX12" fmla="*/ 623162 w 1265340"/>
                      <a:gd name="connsiteY12" fmla="*/ 159601 h 399305"/>
                      <a:gd name="connsiteX13" fmla="*/ 654386 w 1265340"/>
                      <a:gd name="connsiteY13" fmla="*/ 163711 h 399305"/>
                      <a:gd name="connsiteX14" fmla="*/ 658074 w 1265340"/>
                      <a:gd name="connsiteY14" fmla="*/ 168519 h 399305"/>
                      <a:gd name="connsiteX15" fmla="*/ 661728 w 1265340"/>
                      <a:gd name="connsiteY15" fmla="*/ 165815 h 399305"/>
                      <a:gd name="connsiteX16" fmla="*/ 891743 w 1265340"/>
                      <a:gd name="connsiteY16" fmla="*/ 108466 h 399305"/>
                      <a:gd name="connsiteX17" fmla="*/ 892883 w 1265340"/>
                      <a:gd name="connsiteY17" fmla="*/ 99806 h 399305"/>
                      <a:gd name="connsiteX18" fmla="*/ 917868 w 1265340"/>
                      <a:gd name="connsiteY18" fmla="*/ 80635 h 399305"/>
                      <a:gd name="connsiteX19" fmla="*/ 949092 w 1265340"/>
                      <a:gd name="connsiteY19" fmla="*/ 84745 h 399305"/>
                      <a:gd name="connsiteX20" fmla="*/ 955403 w 1265340"/>
                      <a:gd name="connsiteY20" fmla="*/ 92969 h 399305"/>
                      <a:gd name="connsiteX21" fmla="*/ 1187194 w 1265340"/>
                      <a:gd name="connsiteY21" fmla="*/ 30861 h 399305"/>
                      <a:gd name="connsiteX22" fmla="*/ 1188547 w 1265340"/>
                      <a:gd name="connsiteY22" fmla="*/ 20583 h 399305"/>
                      <a:gd name="connsiteX23" fmla="*/ 1213532 w 1265340"/>
                      <a:gd name="connsiteY23" fmla="*/ 1412 h 399305"/>
                      <a:gd name="connsiteX24" fmla="*/ 1263928 w 1265340"/>
                      <a:gd name="connsiteY24" fmla="*/ 30508 h 399305"/>
                      <a:gd name="connsiteX25" fmla="*/ 1234832 w 1265340"/>
                      <a:gd name="connsiteY25" fmla="*/ 80903 h 399305"/>
                      <a:gd name="connsiteX26" fmla="*/ 1203608 w 1265340"/>
                      <a:gd name="connsiteY26" fmla="*/ 76793 h 399305"/>
                      <a:gd name="connsiteX27" fmla="*/ 1195675 w 1265340"/>
                      <a:gd name="connsiteY27" fmla="*/ 66455 h 399305"/>
                      <a:gd name="connsiteX28" fmla="*/ 965854 w 1265340"/>
                      <a:gd name="connsiteY28" fmla="*/ 128035 h 399305"/>
                      <a:gd name="connsiteX29" fmla="*/ 964153 w 1265340"/>
                      <a:gd name="connsiteY29" fmla="*/ 140954 h 399305"/>
                      <a:gd name="connsiteX30" fmla="*/ 939168 w 1265340"/>
                      <a:gd name="connsiteY30" fmla="*/ 160126 h 399305"/>
                      <a:gd name="connsiteX31" fmla="*/ 907944 w 1265340"/>
                      <a:gd name="connsiteY31" fmla="*/ 156016 h 399305"/>
                      <a:gd name="connsiteX32" fmla="*/ 898996 w 1265340"/>
                      <a:gd name="connsiteY32" fmla="*/ 144354 h 399305"/>
                      <a:gd name="connsiteX33" fmla="*/ 671943 w 1265340"/>
                      <a:gd name="connsiteY33" fmla="*/ 200964 h 399305"/>
                      <a:gd name="connsiteX34" fmla="*/ 669447 w 1265340"/>
                      <a:gd name="connsiteY34" fmla="*/ 219921 h 399305"/>
                      <a:gd name="connsiteX35" fmla="*/ 644462 w 1265340"/>
                      <a:gd name="connsiteY35" fmla="*/ 239093 h 399305"/>
                      <a:gd name="connsiteX36" fmla="*/ 613238 w 1265340"/>
                      <a:gd name="connsiteY36" fmla="*/ 234982 h 399305"/>
                      <a:gd name="connsiteX37" fmla="*/ 606858 w 1265340"/>
                      <a:gd name="connsiteY37" fmla="*/ 226666 h 399305"/>
                      <a:gd name="connsiteX38" fmla="*/ 605375 w 1265340"/>
                      <a:gd name="connsiteY38" fmla="*/ 228654 h 399305"/>
                      <a:gd name="connsiteX39" fmla="*/ 401125 w 1265340"/>
                      <a:gd name="connsiteY39" fmla="*/ 350326 h 399305"/>
                      <a:gd name="connsiteX40" fmla="*/ 391487 w 1265340"/>
                      <a:gd name="connsiteY40" fmla="*/ 351729 h 399305"/>
                      <a:gd name="connsiteX41" fmla="*/ 388107 w 1265340"/>
                      <a:gd name="connsiteY41" fmla="*/ 377406 h 399305"/>
                      <a:gd name="connsiteX42" fmla="*/ 363122 w 1265340"/>
                      <a:gd name="connsiteY42" fmla="*/ 396578 h 399305"/>
                      <a:gd name="connsiteX43" fmla="*/ 331898 w 1265340"/>
                      <a:gd name="connsiteY43" fmla="*/ 392467 h 399305"/>
                      <a:gd name="connsiteX44" fmla="*/ 317894 w 1265340"/>
                      <a:gd name="connsiteY44" fmla="*/ 374217 h 399305"/>
                      <a:gd name="connsiteX45" fmla="*/ 77386 w 1265340"/>
                      <a:gd name="connsiteY45" fmla="*/ 374217 h 399305"/>
                      <a:gd name="connsiteX46" fmla="*/ 76793 w 1265340"/>
                      <a:gd name="connsiteY46" fmla="*/ 378722 h 399305"/>
                      <a:gd name="connsiteX47" fmla="*/ 51808 w 1265340"/>
                      <a:gd name="connsiteY47" fmla="*/ 397894 h 399305"/>
                      <a:gd name="connsiteX48" fmla="*/ 1412 w 1265340"/>
                      <a:gd name="connsiteY48" fmla="*/ 368798 h 399305"/>
                      <a:gd name="connsiteX49" fmla="*/ 30508 w 1265340"/>
                      <a:gd name="connsiteY49" fmla="*/ 318402 h 399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265340" h="399305">
                        <a:moveTo>
                          <a:pt x="30508" y="318402"/>
                        </a:moveTo>
                        <a:cubicBezTo>
                          <a:pt x="41483" y="315461"/>
                          <a:pt x="52612" y="317248"/>
                          <a:pt x="61732" y="322513"/>
                        </a:cubicBezTo>
                        <a:lnTo>
                          <a:pt x="73340" y="337641"/>
                        </a:lnTo>
                        <a:lnTo>
                          <a:pt x="316655" y="337641"/>
                        </a:lnTo>
                        <a:lnTo>
                          <a:pt x="316837" y="336258"/>
                        </a:lnTo>
                        <a:cubicBezTo>
                          <a:pt x="322102" y="327138"/>
                          <a:pt x="330847" y="320027"/>
                          <a:pt x="341822" y="317086"/>
                        </a:cubicBezTo>
                        <a:cubicBezTo>
                          <a:pt x="352797" y="314145"/>
                          <a:pt x="363926" y="315932"/>
                          <a:pt x="373046" y="321197"/>
                        </a:cubicBezTo>
                        <a:lnTo>
                          <a:pt x="376924" y="326252"/>
                        </a:lnTo>
                        <a:lnTo>
                          <a:pt x="382406" y="318903"/>
                        </a:lnTo>
                        <a:lnTo>
                          <a:pt x="586656" y="197230"/>
                        </a:lnTo>
                        <a:lnTo>
                          <a:pt x="595925" y="195882"/>
                        </a:lnTo>
                        <a:lnTo>
                          <a:pt x="598177" y="178773"/>
                        </a:lnTo>
                        <a:cubicBezTo>
                          <a:pt x="603443" y="169653"/>
                          <a:pt x="612187" y="162542"/>
                          <a:pt x="623162" y="159601"/>
                        </a:cubicBezTo>
                        <a:cubicBezTo>
                          <a:pt x="634138" y="156660"/>
                          <a:pt x="645266" y="158446"/>
                          <a:pt x="654386" y="163711"/>
                        </a:cubicBezTo>
                        <a:lnTo>
                          <a:pt x="658074" y="168519"/>
                        </a:lnTo>
                        <a:lnTo>
                          <a:pt x="661728" y="165815"/>
                        </a:lnTo>
                        <a:lnTo>
                          <a:pt x="891743" y="108466"/>
                        </a:lnTo>
                        <a:lnTo>
                          <a:pt x="892883" y="99806"/>
                        </a:lnTo>
                        <a:cubicBezTo>
                          <a:pt x="898148" y="90687"/>
                          <a:pt x="906893" y="83575"/>
                          <a:pt x="917868" y="80635"/>
                        </a:cubicBezTo>
                        <a:cubicBezTo>
                          <a:pt x="928843" y="77694"/>
                          <a:pt x="939972" y="79480"/>
                          <a:pt x="949092" y="84745"/>
                        </a:cubicBezTo>
                        <a:lnTo>
                          <a:pt x="955403" y="92969"/>
                        </a:lnTo>
                        <a:lnTo>
                          <a:pt x="1187194" y="30861"/>
                        </a:lnTo>
                        <a:lnTo>
                          <a:pt x="1188547" y="20583"/>
                        </a:lnTo>
                        <a:cubicBezTo>
                          <a:pt x="1193812" y="11464"/>
                          <a:pt x="1202556" y="4353"/>
                          <a:pt x="1213532" y="1412"/>
                        </a:cubicBezTo>
                        <a:cubicBezTo>
                          <a:pt x="1235483" y="-4470"/>
                          <a:pt x="1258046" y="8557"/>
                          <a:pt x="1263928" y="30508"/>
                        </a:cubicBezTo>
                        <a:cubicBezTo>
                          <a:pt x="1269810" y="52458"/>
                          <a:pt x="1256783" y="75022"/>
                          <a:pt x="1234832" y="80903"/>
                        </a:cubicBezTo>
                        <a:cubicBezTo>
                          <a:pt x="1223856" y="83844"/>
                          <a:pt x="1212728" y="82058"/>
                          <a:pt x="1203608" y="76793"/>
                        </a:cubicBezTo>
                        <a:lnTo>
                          <a:pt x="1195675" y="66455"/>
                        </a:lnTo>
                        <a:lnTo>
                          <a:pt x="965854" y="128035"/>
                        </a:lnTo>
                        <a:lnTo>
                          <a:pt x="964153" y="140954"/>
                        </a:lnTo>
                        <a:cubicBezTo>
                          <a:pt x="958887" y="150075"/>
                          <a:pt x="950143" y="157186"/>
                          <a:pt x="939168" y="160126"/>
                        </a:cubicBezTo>
                        <a:cubicBezTo>
                          <a:pt x="928193" y="163067"/>
                          <a:pt x="917064" y="161281"/>
                          <a:pt x="907944" y="156016"/>
                        </a:cubicBezTo>
                        <a:lnTo>
                          <a:pt x="898996" y="144354"/>
                        </a:lnTo>
                        <a:lnTo>
                          <a:pt x="671943" y="200964"/>
                        </a:lnTo>
                        <a:lnTo>
                          <a:pt x="669447" y="219921"/>
                        </a:lnTo>
                        <a:cubicBezTo>
                          <a:pt x="664182" y="229041"/>
                          <a:pt x="655437" y="236152"/>
                          <a:pt x="644462" y="239093"/>
                        </a:cubicBezTo>
                        <a:cubicBezTo>
                          <a:pt x="633487" y="242033"/>
                          <a:pt x="622358" y="240247"/>
                          <a:pt x="613238" y="234982"/>
                        </a:cubicBezTo>
                        <a:lnTo>
                          <a:pt x="606858" y="226666"/>
                        </a:lnTo>
                        <a:lnTo>
                          <a:pt x="605375" y="228654"/>
                        </a:lnTo>
                        <a:lnTo>
                          <a:pt x="401125" y="350326"/>
                        </a:lnTo>
                        <a:lnTo>
                          <a:pt x="391487" y="351729"/>
                        </a:lnTo>
                        <a:lnTo>
                          <a:pt x="388107" y="377406"/>
                        </a:lnTo>
                        <a:cubicBezTo>
                          <a:pt x="382841" y="386526"/>
                          <a:pt x="374097" y="393637"/>
                          <a:pt x="363122" y="396578"/>
                        </a:cubicBezTo>
                        <a:cubicBezTo>
                          <a:pt x="352146" y="399519"/>
                          <a:pt x="341018" y="397732"/>
                          <a:pt x="331898" y="392467"/>
                        </a:cubicBezTo>
                        <a:lnTo>
                          <a:pt x="317894" y="374217"/>
                        </a:lnTo>
                        <a:lnTo>
                          <a:pt x="77386" y="374217"/>
                        </a:lnTo>
                        <a:lnTo>
                          <a:pt x="76793" y="378722"/>
                        </a:lnTo>
                        <a:cubicBezTo>
                          <a:pt x="71527" y="387842"/>
                          <a:pt x="62783" y="394953"/>
                          <a:pt x="51808" y="397894"/>
                        </a:cubicBezTo>
                        <a:cubicBezTo>
                          <a:pt x="29857" y="403775"/>
                          <a:pt x="7293" y="390748"/>
                          <a:pt x="1412" y="368798"/>
                        </a:cubicBezTo>
                        <a:cubicBezTo>
                          <a:pt x="-4470" y="346847"/>
                          <a:pt x="8557" y="324284"/>
                          <a:pt x="30508" y="318402"/>
                        </a:cubicBezTo>
                        <a:close/>
                      </a:path>
                    </a:pathLst>
                  </a:custGeom>
                  <a:solidFill>
                    <a:srgbClr val="C4E5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673" name="Freeform: Shape 672">
                <a:extLst>
                  <a:ext uri="{FF2B5EF4-FFF2-40B4-BE49-F238E27FC236}">
                    <a16:creationId xmlns:a16="http://schemas.microsoft.com/office/drawing/2014/main" id="{A6A6E747-A434-4DF7-AA5A-1FCEC9697695}"/>
                  </a:ext>
                </a:extLst>
              </p:cNvPr>
              <p:cNvSpPr/>
              <p:nvPr/>
            </p:nvSpPr>
            <p:spPr bwMode="auto">
              <a:xfrm>
                <a:off x="3437254" y="1704700"/>
                <a:ext cx="5678424" cy="3657600"/>
              </a:xfrm>
              <a:custGeom>
                <a:avLst/>
                <a:gdLst>
                  <a:gd name="connsiteX0" fmla="*/ 60314 w 5678424"/>
                  <a:gd name="connsiteY0" fmla="*/ 410596 h 3657600"/>
                  <a:gd name="connsiteX1" fmla="*/ 60314 w 5678424"/>
                  <a:gd name="connsiteY1" fmla="*/ 3597286 h 3657600"/>
                  <a:gd name="connsiteX2" fmla="*/ 5618110 w 5678424"/>
                  <a:gd name="connsiteY2" fmla="*/ 3597286 h 3657600"/>
                  <a:gd name="connsiteX3" fmla="*/ 5618110 w 5678424"/>
                  <a:gd name="connsiteY3" fmla="*/ 410596 h 3657600"/>
                  <a:gd name="connsiteX4" fmla="*/ 60314 w 5678424"/>
                  <a:gd name="connsiteY4" fmla="*/ 60314 h 3657600"/>
                  <a:gd name="connsiteX5" fmla="*/ 60314 w 5678424"/>
                  <a:gd name="connsiteY5" fmla="*/ 355732 h 3657600"/>
                  <a:gd name="connsiteX6" fmla="*/ 5618110 w 5678424"/>
                  <a:gd name="connsiteY6" fmla="*/ 355732 h 3657600"/>
                  <a:gd name="connsiteX7" fmla="*/ 5618110 w 5678424"/>
                  <a:gd name="connsiteY7" fmla="*/ 60314 h 3657600"/>
                  <a:gd name="connsiteX8" fmla="*/ 0 w 5678424"/>
                  <a:gd name="connsiteY8" fmla="*/ 0 h 3657600"/>
                  <a:gd name="connsiteX9" fmla="*/ 5678424 w 5678424"/>
                  <a:gd name="connsiteY9" fmla="*/ 0 h 3657600"/>
                  <a:gd name="connsiteX10" fmla="*/ 5678424 w 5678424"/>
                  <a:gd name="connsiteY10" fmla="*/ 3657600 h 3657600"/>
                  <a:gd name="connsiteX11" fmla="*/ 0 w 5678424"/>
                  <a:gd name="connsiteY11" fmla="*/ 3657600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78424" h="3657600">
                    <a:moveTo>
                      <a:pt x="60314" y="410596"/>
                    </a:moveTo>
                    <a:lnTo>
                      <a:pt x="60314" y="3597286"/>
                    </a:lnTo>
                    <a:lnTo>
                      <a:pt x="5618110" y="3597286"/>
                    </a:lnTo>
                    <a:lnTo>
                      <a:pt x="5618110" y="410596"/>
                    </a:lnTo>
                    <a:close/>
                    <a:moveTo>
                      <a:pt x="60314" y="60314"/>
                    </a:moveTo>
                    <a:lnTo>
                      <a:pt x="60314" y="355732"/>
                    </a:lnTo>
                    <a:lnTo>
                      <a:pt x="5618110" y="355732"/>
                    </a:lnTo>
                    <a:lnTo>
                      <a:pt x="5618110" y="60314"/>
                    </a:lnTo>
                    <a:close/>
                    <a:moveTo>
                      <a:pt x="0" y="0"/>
                    </a:moveTo>
                    <a:lnTo>
                      <a:pt x="5678424" y="0"/>
                    </a:lnTo>
                    <a:lnTo>
                      <a:pt x="5678424" y="3657600"/>
                    </a:lnTo>
                    <a:lnTo>
                      <a:pt x="0" y="365760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825" name="Group 824">
            <a:extLst>
              <a:ext uri="{FF2B5EF4-FFF2-40B4-BE49-F238E27FC236}">
                <a16:creationId xmlns:a16="http://schemas.microsoft.com/office/drawing/2014/main" id="{51EC064B-D70E-46F7-BCAD-8880135BB708}"/>
              </a:ext>
            </a:extLst>
          </p:cNvPr>
          <p:cNvGrpSpPr/>
          <p:nvPr/>
        </p:nvGrpSpPr>
        <p:grpSpPr>
          <a:xfrm>
            <a:off x="7265733" y="5557093"/>
            <a:ext cx="1436559" cy="1113146"/>
            <a:chOff x="8486826" y="2592737"/>
            <a:chExt cx="1465365" cy="1135467"/>
          </a:xfrm>
        </p:grpSpPr>
        <p:sp>
          <p:nvSpPr>
            <p:cNvPr id="826" name="Rectangle 825">
              <a:extLst>
                <a:ext uri="{FF2B5EF4-FFF2-40B4-BE49-F238E27FC236}">
                  <a16:creationId xmlns:a16="http://schemas.microsoft.com/office/drawing/2014/main" id="{BFBE9633-778F-4477-8E55-F47821CC40FE}"/>
                </a:ext>
              </a:extLst>
            </p:cNvPr>
            <p:cNvSpPr/>
            <p:nvPr/>
          </p:nvSpPr>
          <p:spPr>
            <a:xfrm>
              <a:off x="8486826" y="3416872"/>
              <a:ext cx="629859" cy="311332"/>
            </a:xfrm>
            <a:prstGeom prst="rect">
              <a:avLst/>
            </a:prstGeom>
          </p:spPr>
          <p:txBody>
            <a:bodyPr wrap="none">
              <a:spAutoFit/>
            </a:bodyPr>
            <a:lstStyle/>
            <a:p>
              <a:pPr defTabSz="896094" fontAlgn="base">
                <a:lnSpc>
                  <a:spcPct val="90000"/>
                </a:lnSpc>
                <a:spcBef>
                  <a:spcPts val="576"/>
                </a:spcBef>
                <a:spcAft>
                  <a:spcPct val="0"/>
                </a:spcAft>
                <a:defRPr/>
              </a:pPr>
              <a:r>
                <a:rPr lang="en-US" sz="1537" kern="0" dirty="0">
                  <a:solidFill>
                    <a:srgbClr val="353535"/>
                  </a:solidFill>
                  <a:latin typeface="Segoe UI Semilight"/>
                  <a:ea typeface="Segoe UI" pitchFamily="34" charset="0"/>
                  <a:cs typeface="Segoe UI" pitchFamily="34" charset="0"/>
                </a:rPr>
                <a:t>Apps</a:t>
              </a:r>
            </a:p>
          </p:txBody>
        </p:sp>
        <p:grpSp>
          <p:nvGrpSpPr>
            <p:cNvPr id="827" name="Group 826">
              <a:extLst>
                <a:ext uri="{FF2B5EF4-FFF2-40B4-BE49-F238E27FC236}">
                  <a16:creationId xmlns:a16="http://schemas.microsoft.com/office/drawing/2014/main" id="{B492CDA1-B870-4CB5-8127-02F238FDB872}"/>
                </a:ext>
              </a:extLst>
            </p:cNvPr>
            <p:cNvGrpSpPr/>
            <p:nvPr/>
          </p:nvGrpSpPr>
          <p:grpSpPr>
            <a:xfrm flipH="1">
              <a:off x="8525064" y="2592737"/>
              <a:ext cx="1427127" cy="770602"/>
              <a:chOff x="3529673" y="2550102"/>
              <a:chExt cx="1727147" cy="932603"/>
            </a:xfrm>
            <a:solidFill>
              <a:srgbClr val="F2F2F2"/>
            </a:solidFill>
          </p:grpSpPr>
          <p:grpSp>
            <p:nvGrpSpPr>
              <p:cNvPr id="828" name="Group 827">
                <a:extLst>
                  <a:ext uri="{FF2B5EF4-FFF2-40B4-BE49-F238E27FC236}">
                    <a16:creationId xmlns:a16="http://schemas.microsoft.com/office/drawing/2014/main" id="{13B4F3B8-298B-4432-88AE-975EAA248164}"/>
                  </a:ext>
                </a:extLst>
              </p:cNvPr>
              <p:cNvGrpSpPr>
                <a:grpSpLocks noChangeAspect="1"/>
              </p:cNvGrpSpPr>
              <p:nvPr/>
            </p:nvGrpSpPr>
            <p:grpSpPr>
              <a:xfrm>
                <a:off x="4156130" y="2550102"/>
                <a:ext cx="1100690" cy="932603"/>
                <a:chOff x="4947743" y="5339803"/>
                <a:chExt cx="825499" cy="706436"/>
              </a:xfrm>
              <a:grpFill/>
            </p:grpSpPr>
            <p:sp>
              <p:nvSpPr>
                <p:cNvPr id="832" name="Freeform 5">
                  <a:extLst>
                    <a:ext uri="{FF2B5EF4-FFF2-40B4-BE49-F238E27FC236}">
                      <a16:creationId xmlns:a16="http://schemas.microsoft.com/office/drawing/2014/main" id="{6F7A6BCA-3A72-4A2B-B22F-E7897B66E20F}"/>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833" name="Freeform 6">
                  <a:extLst>
                    <a:ext uri="{FF2B5EF4-FFF2-40B4-BE49-F238E27FC236}">
                      <a16:creationId xmlns:a16="http://schemas.microsoft.com/office/drawing/2014/main" id="{71C57A56-F768-4C6F-A8F6-9C8CB7EAED86}"/>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834" name="Freeform 7">
                  <a:extLst>
                    <a:ext uri="{FF2B5EF4-FFF2-40B4-BE49-F238E27FC236}">
                      <a16:creationId xmlns:a16="http://schemas.microsoft.com/office/drawing/2014/main" id="{A3652140-2AA7-4447-BE89-BE7592185C91}"/>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835" name="Freeform 8">
                  <a:extLst>
                    <a:ext uri="{FF2B5EF4-FFF2-40B4-BE49-F238E27FC236}">
                      <a16:creationId xmlns:a16="http://schemas.microsoft.com/office/drawing/2014/main" id="{434FF54A-3C68-4A69-8243-DDE52A19A3B0}"/>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836" name="Line 9">
                  <a:extLst>
                    <a:ext uri="{FF2B5EF4-FFF2-40B4-BE49-F238E27FC236}">
                      <a16:creationId xmlns:a16="http://schemas.microsoft.com/office/drawing/2014/main" id="{D4303384-DCFE-40AC-AA2D-0C6A5DC1B35C}"/>
                    </a:ext>
                  </a:extLst>
                </p:cNvPr>
                <p:cNvSpPr>
                  <a:spLocks noChangeShapeType="1"/>
                </p:cNvSpPr>
                <p:nvPr/>
              </p:nvSpPr>
              <p:spPr bwMode="auto">
                <a:xfrm flipH="1" flipV="1">
                  <a:off x="5468442" y="5963690"/>
                  <a:ext cx="304800" cy="0"/>
                </a:xfrm>
                <a:prstGeom prst="line">
                  <a:avLst/>
                </a:pr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837" name="Line 10">
                  <a:extLst>
                    <a:ext uri="{FF2B5EF4-FFF2-40B4-BE49-F238E27FC236}">
                      <a16:creationId xmlns:a16="http://schemas.microsoft.com/office/drawing/2014/main" id="{134C6657-C9AD-4B34-885E-A070EB0651AA}"/>
                    </a:ext>
                  </a:extLst>
                </p:cNvPr>
                <p:cNvSpPr>
                  <a:spLocks noChangeShapeType="1"/>
                </p:cNvSpPr>
                <p:nvPr/>
              </p:nvSpPr>
              <p:spPr bwMode="auto">
                <a:xfrm>
                  <a:off x="5468442" y="5543002"/>
                  <a:ext cx="304800" cy="4763"/>
                </a:xfrm>
                <a:prstGeom prst="line">
                  <a:avLst/>
                </a:pr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grpSp>
          <p:grpSp>
            <p:nvGrpSpPr>
              <p:cNvPr id="829" name="Group 828">
                <a:extLst>
                  <a:ext uri="{FF2B5EF4-FFF2-40B4-BE49-F238E27FC236}">
                    <a16:creationId xmlns:a16="http://schemas.microsoft.com/office/drawing/2014/main" id="{60147EDF-67C8-40F0-8547-559DF826857E}"/>
                  </a:ext>
                </a:extLst>
              </p:cNvPr>
              <p:cNvGrpSpPr/>
              <p:nvPr/>
            </p:nvGrpSpPr>
            <p:grpSpPr>
              <a:xfrm>
                <a:off x="3529673" y="2926609"/>
                <a:ext cx="911334" cy="542544"/>
                <a:chOff x="3779314" y="3034045"/>
                <a:chExt cx="753632" cy="448660"/>
              </a:xfrm>
              <a:grpFill/>
            </p:grpSpPr>
            <p:sp>
              <p:nvSpPr>
                <p:cNvPr id="830" name="Freeform 328">
                  <a:extLst>
                    <a:ext uri="{FF2B5EF4-FFF2-40B4-BE49-F238E27FC236}">
                      <a16:creationId xmlns:a16="http://schemas.microsoft.com/office/drawing/2014/main" id="{2054F4FE-3FEE-493C-AD42-4A5B25DCBB39}"/>
                    </a:ext>
                  </a:extLst>
                </p:cNvPr>
                <p:cNvSpPr>
                  <a:spLocks/>
                </p:cNvSpPr>
                <p:nvPr/>
              </p:nvSpPr>
              <p:spPr bwMode="auto">
                <a:xfrm>
                  <a:off x="3779314" y="3347814"/>
                  <a:ext cx="753632" cy="134891"/>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grpFill/>
                <a:ln w="19050" cap="flat" cmpd="sng" algn="ctr">
                  <a:solidFill>
                    <a:srgbClr val="0078D7"/>
                  </a:solidFill>
                  <a:prstDash val="solid"/>
                  <a:headEnd type="none"/>
                  <a:tailEnd type="none"/>
                </a:ln>
                <a:effectLs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latin typeface="Segoe UI Semilight"/>
                  </a:endParaRPr>
                </a:p>
              </p:txBody>
            </p:sp>
            <p:sp>
              <p:nvSpPr>
                <p:cNvPr id="831" name="Rectangle 327">
                  <a:extLst>
                    <a:ext uri="{FF2B5EF4-FFF2-40B4-BE49-F238E27FC236}">
                      <a16:creationId xmlns:a16="http://schemas.microsoft.com/office/drawing/2014/main" id="{A5F0062B-692A-4D8B-BDA0-9821392C4B86}"/>
                    </a:ext>
                  </a:extLst>
                </p:cNvPr>
                <p:cNvSpPr>
                  <a:spLocks noChangeArrowheads="1"/>
                </p:cNvSpPr>
                <p:nvPr/>
              </p:nvSpPr>
              <p:spPr bwMode="auto">
                <a:xfrm>
                  <a:off x="3905408" y="3034045"/>
                  <a:ext cx="495579" cy="313769"/>
                </a:xfrm>
                <a:prstGeom prst="rect">
                  <a:avLst/>
                </a:prstGeom>
                <a:grpFill/>
                <a:ln w="19050" cap="flat" cmpd="sng" algn="ctr">
                  <a:solidFill>
                    <a:srgbClr val="0078D7"/>
                  </a:solidFill>
                  <a:prstDash val="solid"/>
                  <a:headEnd type="none"/>
                  <a:tailEnd type="none"/>
                </a:ln>
                <a:effectLs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latin typeface="Segoe UI Semilight"/>
                  </a:endParaRPr>
                </a:p>
              </p:txBody>
            </p:sp>
          </p:grpSp>
        </p:grpSp>
      </p:grpSp>
      <p:grpSp>
        <p:nvGrpSpPr>
          <p:cNvPr id="838" name="Group 837">
            <a:extLst>
              <a:ext uri="{FF2B5EF4-FFF2-40B4-BE49-F238E27FC236}">
                <a16:creationId xmlns:a16="http://schemas.microsoft.com/office/drawing/2014/main" id="{1D40C53A-E012-4B5B-819C-0787D523AC3C}"/>
              </a:ext>
            </a:extLst>
          </p:cNvPr>
          <p:cNvGrpSpPr/>
          <p:nvPr/>
        </p:nvGrpSpPr>
        <p:grpSpPr>
          <a:xfrm>
            <a:off x="7154653" y="1742236"/>
            <a:ext cx="2556763" cy="1602958"/>
            <a:chOff x="4887885" y="2663200"/>
            <a:chExt cx="2660704" cy="1668125"/>
          </a:xfrm>
        </p:grpSpPr>
        <p:grpSp>
          <p:nvGrpSpPr>
            <p:cNvPr id="839" name="Group 838">
              <a:extLst>
                <a:ext uri="{FF2B5EF4-FFF2-40B4-BE49-F238E27FC236}">
                  <a16:creationId xmlns:a16="http://schemas.microsoft.com/office/drawing/2014/main" id="{1AC7CE59-3D6A-4691-B2FE-E776BC27DD01}"/>
                </a:ext>
              </a:extLst>
            </p:cNvPr>
            <p:cNvGrpSpPr/>
            <p:nvPr/>
          </p:nvGrpSpPr>
          <p:grpSpPr>
            <a:xfrm>
              <a:off x="4887885" y="2663200"/>
              <a:ext cx="2660704" cy="1668125"/>
              <a:chOff x="4931021" y="2660526"/>
              <a:chExt cx="2660704" cy="1668125"/>
            </a:xfrm>
          </p:grpSpPr>
          <p:sp>
            <p:nvSpPr>
              <p:cNvPr id="841" name="Freeform 5">
                <a:extLst>
                  <a:ext uri="{FF2B5EF4-FFF2-40B4-BE49-F238E27FC236}">
                    <a16:creationId xmlns:a16="http://schemas.microsoft.com/office/drawing/2014/main" id="{8C02E88B-895A-4C48-B709-B790FC31885E}"/>
                  </a:ext>
                </a:extLst>
              </p:cNvPr>
              <p:cNvSpPr/>
              <p:nvPr/>
            </p:nvSpPr>
            <p:spPr>
              <a:xfrm>
                <a:off x="4983684" y="2660526"/>
                <a:ext cx="2608041" cy="1668125"/>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E6E6E6">
                  <a:lumMod val="90000"/>
                </a:srgbClr>
              </a:solidFill>
              <a:ln w="15873" cap="flat">
                <a:noFill/>
                <a:prstDash val="solid"/>
              </a:ln>
            </p:spPr>
            <p:txBody>
              <a:bodyPr vert="horz" wrap="square" lIns="87868" tIns="43933" rIns="87868" bIns="43933" anchor="t" anchorCtr="0" compatLnSpc="1">
                <a:noAutofit/>
              </a:bodyPr>
              <a:lstStyle/>
              <a:p>
                <a:pPr defTabSz="896182">
                  <a:defRPr sz="1800" b="0" i="0" u="none" strike="noStrike" kern="0" cap="none" spc="0" baseline="0">
                    <a:solidFill>
                      <a:srgbClr val="000000"/>
                    </a:solidFill>
                    <a:uFillTx/>
                  </a:defRPr>
                </a:pPr>
                <a:endParaRPr lang="en-US" sz="1730" kern="0">
                  <a:solidFill>
                    <a:srgbClr val="505050"/>
                  </a:solidFill>
                  <a:latin typeface="Segoe UI"/>
                </a:endParaRPr>
              </a:p>
            </p:txBody>
          </p:sp>
          <p:sp>
            <p:nvSpPr>
              <p:cNvPr id="842" name="Freeform 5">
                <a:extLst>
                  <a:ext uri="{FF2B5EF4-FFF2-40B4-BE49-F238E27FC236}">
                    <a16:creationId xmlns:a16="http://schemas.microsoft.com/office/drawing/2014/main" id="{B6F6FA11-1E32-434B-937B-666B80C3E7ED}"/>
                  </a:ext>
                </a:extLst>
              </p:cNvPr>
              <p:cNvSpPr/>
              <p:nvPr/>
            </p:nvSpPr>
            <p:spPr>
              <a:xfrm>
                <a:off x="4931021" y="2716939"/>
                <a:ext cx="2574432" cy="1560646"/>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FFFFFF"/>
              </a:solidFill>
              <a:ln w="15873" cap="flat">
                <a:noFill/>
                <a:prstDash val="solid"/>
              </a:ln>
            </p:spPr>
            <p:txBody>
              <a:bodyPr vert="horz" wrap="square" lIns="87868" tIns="43933" rIns="87868" bIns="43933" anchor="t" anchorCtr="0" compatLnSpc="1">
                <a:noAutofit/>
              </a:bodyPr>
              <a:lstStyle/>
              <a:p>
                <a:pPr defTabSz="896182">
                  <a:defRPr sz="1800" b="0" i="0" u="none" strike="noStrike" kern="0" cap="none" spc="0" baseline="0">
                    <a:solidFill>
                      <a:srgbClr val="000000"/>
                    </a:solidFill>
                    <a:uFillTx/>
                  </a:defRPr>
                </a:pPr>
                <a:endParaRPr lang="en-US" sz="1730" kern="0">
                  <a:solidFill>
                    <a:srgbClr val="505050"/>
                  </a:solidFill>
                  <a:latin typeface="Segoe UI"/>
                </a:endParaRPr>
              </a:p>
            </p:txBody>
          </p:sp>
        </p:grpSp>
        <p:sp>
          <p:nvSpPr>
            <p:cNvPr id="840" name="Freeform: Shape 1817">
              <a:extLst>
                <a:ext uri="{FF2B5EF4-FFF2-40B4-BE49-F238E27FC236}">
                  <a16:creationId xmlns:a16="http://schemas.microsoft.com/office/drawing/2014/main" id="{4FC59232-D946-433E-A51C-FAEDAD3F0B58}"/>
                </a:ext>
              </a:extLst>
            </p:cNvPr>
            <p:cNvSpPr/>
            <p:nvPr/>
          </p:nvSpPr>
          <p:spPr>
            <a:xfrm flipV="1">
              <a:off x="5799146" y="2773153"/>
              <a:ext cx="838183" cy="864526"/>
            </a:xfrm>
            <a:custGeom>
              <a:avLst/>
              <a:gdLst>
                <a:gd name="f0" fmla="val 10800000"/>
                <a:gd name="f1" fmla="val 5400000"/>
                <a:gd name="f2" fmla="val 180"/>
                <a:gd name="f3" fmla="val w"/>
                <a:gd name="f4" fmla="val h"/>
                <a:gd name="f5" fmla="val 0"/>
                <a:gd name="f6" fmla="val 7802051"/>
                <a:gd name="f7" fmla="val 7751588"/>
                <a:gd name="f8" fmla="val 3669750"/>
                <a:gd name="f9" fmla="val 4921020"/>
                <a:gd name="f10" fmla="val 3676808"/>
                <a:gd name="f11" fmla="val 4917189"/>
                <a:gd name="f12" fmla="val 3726054"/>
                <a:gd name="f13" fmla="val 4901903"/>
                <a:gd name="f14" fmla="val 2529358"/>
                <a:gd name="f15" fmla="val 2407723"/>
                <a:gd name="f16" fmla="val 3310455"/>
                <a:gd name="f17" fmla="val 2418532"/>
                <a:gd name="f18" fmla="val 3417678"/>
                <a:gd name="f19" fmla="val 3504005"/>
                <a:gd name="f20" fmla="val 2401037"/>
                <a:gd name="f21" fmla="val 3586244"/>
                <a:gd name="f22" fmla="val 2369399"/>
                <a:gd name="f23" fmla="val 3661045"/>
                <a:gd name="f24" fmla="val 2362622"/>
                <a:gd name="f25" fmla="val 3673532"/>
                <a:gd name="f26" fmla="val 4279965"/>
                <a:gd name="f27" fmla="val 4958071"/>
                <a:gd name="f28" fmla="val 5406368"/>
                <a:gd name="f29" fmla="val 3581135"/>
                <a:gd name="f30" fmla="val 5396221"/>
                <a:gd name="f31" fmla="val 3548447"/>
                <a:gd name="f32" fmla="val 5387893"/>
                <a:gd name="f33" fmla="val 3507746"/>
                <a:gd name="f34" fmla="val 5383519"/>
                <a:gd name="f35" fmla="val 3465605"/>
                <a:gd name="f36" fmla="val 3422441"/>
                <a:gd name="f37" fmla="val 5392133"/>
                <a:gd name="f38" fmla="val 3336986"/>
                <a:gd name="f39" fmla="val 4117986"/>
                <a:gd name="f40" fmla="val 2509174"/>
                <a:gd name="f41" fmla="val 4066733"/>
                <a:gd name="f42" fmla="val 2525083"/>
                <a:gd name="f43" fmla="val 4044164"/>
                <a:gd name="f44" fmla="val 2527359"/>
                <a:gd name="f45" fmla="val 4874334"/>
                <a:gd name="f46" fmla="val 4077374"/>
                <a:gd name="f47" fmla="val 4877682"/>
                <a:gd name="f48" fmla="val 4121512"/>
                <a:gd name="f49" fmla="val 4886714"/>
                <a:gd name="f50" fmla="val 4164089"/>
                <a:gd name="f51" fmla="val 4900035"/>
                <a:gd name="f52" fmla="val 4204647"/>
                <a:gd name="f53" fmla="val 4917190"/>
                <a:gd name="f54" fmla="val 3940727"/>
                <a:gd name="f55" fmla="val 6219967"/>
                <a:gd name="f56" fmla="val 3566261"/>
                <a:gd name="f57" fmla="val 3262698"/>
                <a:gd name="f58" fmla="val 5916403"/>
                <a:gd name="f59" fmla="val 5541937"/>
                <a:gd name="f60" fmla="val 5401512"/>
                <a:gd name="f61" fmla="val 3305387"/>
                <a:gd name="f62" fmla="val 5271058"/>
                <a:gd name="f63" fmla="val 3378494"/>
                <a:gd name="f64" fmla="val 5162844"/>
                <a:gd name="f65" fmla="val 3384198"/>
                <a:gd name="f66" fmla="val 5155931"/>
                <a:gd name="f67" fmla="val 2119419"/>
                <a:gd name="f68" fmla="val 3948859"/>
                <a:gd name="f69" fmla="val 2036672"/>
                <a:gd name="f70" fmla="val 3993772"/>
                <a:gd name="f71" fmla="val 1961870"/>
                <a:gd name="f72" fmla="val 4025410"/>
                <a:gd name="f73" fmla="val 1879630"/>
                <a:gd name="f74" fmla="val 4042906"/>
                <a:gd name="f75" fmla="val 1793305"/>
                <a:gd name="f76" fmla="val 1448001"/>
                <a:gd name="f77" fmla="val 1168077"/>
                <a:gd name="f78" fmla="val 3762982"/>
                <a:gd name="f79" fmla="val 1168076"/>
                <a:gd name="f80" fmla="val 3072374"/>
                <a:gd name="f81" fmla="val 1448000"/>
                <a:gd name="f82" fmla="val 2792450"/>
                <a:gd name="f83" fmla="val 1793304"/>
                <a:gd name="f84" fmla="val 2792451"/>
                <a:gd name="f85" fmla="val 1965957"/>
                <a:gd name="f86" fmla="val 2122264"/>
                <a:gd name="f87" fmla="val 2862431"/>
                <a:gd name="f88" fmla="val 2235408"/>
                <a:gd name="f89" fmla="val 2975575"/>
                <a:gd name="f90" fmla="val 2241113"/>
                <a:gd name="f91" fmla="val 2982489"/>
                <a:gd name="f92" fmla="val 3433657"/>
                <a:gd name="f93" fmla="val 2275919"/>
                <a:gd name="f94" fmla="val 3422279"/>
                <a:gd name="f95" fmla="val 2262129"/>
                <a:gd name="f96" fmla="val 3354864"/>
                <a:gd name="f97" fmla="val 2162342"/>
                <a:gd name="f98" fmla="val 3315500"/>
                <a:gd name="f99" fmla="val 2042047"/>
                <a:gd name="f100" fmla="val 1912558"/>
                <a:gd name="f101" fmla="val 1567254"/>
                <a:gd name="f102" fmla="val 3595424"/>
                <a:gd name="f103" fmla="val 1287330"/>
                <a:gd name="f104" fmla="val 3940728"/>
                <a:gd name="f105" fmla="val 4286032"/>
                <a:gd name="f106" fmla="val 4565956"/>
                <a:gd name="f107" fmla="val 4526592"/>
                <a:gd name="f108" fmla="val 4459177"/>
                <a:gd name="f109" fmla="val 4442548"/>
                <a:gd name="f110" fmla="val 2282283"/>
                <a:gd name="f111" fmla="val 5549310"/>
                <a:gd name="f112" fmla="val 3001346"/>
                <a:gd name="f113" fmla="val 5566644"/>
                <a:gd name="f114" fmla="val 2980338"/>
                <a:gd name="f115" fmla="val 5679788"/>
                <a:gd name="f116" fmla="val 2867194"/>
                <a:gd name="f117" fmla="val 5836095"/>
                <a:gd name="f118" fmla="val 2797213"/>
                <a:gd name="f119" fmla="val 6008747"/>
                <a:gd name="f120" fmla="val 6354050"/>
                <a:gd name="f121" fmla="val 6633975"/>
                <a:gd name="f122" fmla="val 3077137"/>
                <a:gd name="f123" fmla="val 6633974"/>
                <a:gd name="f124" fmla="val 3767745"/>
                <a:gd name="f125" fmla="val 4047669"/>
                <a:gd name="f126" fmla="val 4047670"/>
                <a:gd name="f127" fmla="val 5879257"/>
                <a:gd name="f128" fmla="val 5758963"/>
                <a:gd name="f129" fmla="val 4008305"/>
                <a:gd name="f130" fmla="val 5659175"/>
                <a:gd name="f131" fmla="val 3940890"/>
                <a:gd name="f132" fmla="val 5615689"/>
                <a:gd name="f133" fmla="val 3905011"/>
                <a:gd name="f134" fmla="val 4536367"/>
                <a:gd name="f135" fmla="val 5224392"/>
                <a:gd name="f136" fmla="val 4565475"/>
                <a:gd name="f137" fmla="val 5278017"/>
                <a:gd name="f138" fmla="val 4599785"/>
                <a:gd name="f139" fmla="val 5359135"/>
                <a:gd name="f140" fmla="val 4618758"/>
                <a:gd name="f141" fmla="val 5448320"/>
                <a:gd name="f142" fmla="val 4315194"/>
                <a:gd name="f143" fmla="val 3898615"/>
                <a:gd name="f144" fmla="val 7797230"/>
                <a:gd name="f145" fmla="val 3181174"/>
                <a:gd name="f146" fmla="val 3903436"/>
                <a:gd name="f147" fmla="val 4821"/>
                <a:gd name="f148" fmla="+- 0 0 -90"/>
                <a:gd name="f149" fmla="*/ f3 1 7802051"/>
                <a:gd name="f150" fmla="*/ f4 1 7751588"/>
                <a:gd name="f151" fmla="val f5"/>
                <a:gd name="f152" fmla="val f6"/>
                <a:gd name="f153" fmla="val f7"/>
                <a:gd name="f154" fmla="*/ f148 f0 1"/>
                <a:gd name="f155" fmla="+- f153 0 f151"/>
                <a:gd name="f156" fmla="+- f152 0 f151"/>
                <a:gd name="f157" fmla="*/ f154 1 f2"/>
                <a:gd name="f158" fmla="*/ f156 1 7802051"/>
                <a:gd name="f159" fmla="*/ f155 1 7751588"/>
                <a:gd name="f160" fmla="*/ 3669750 f156 1"/>
                <a:gd name="f161" fmla="*/ 4921020 f155 1"/>
                <a:gd name="f162" fmla="*/ 3676808 f156 1"/>
                <a:gd name="f163" fmla="*/ 4917189 f155 1"/>
                <a:gd name="f164" fmla="*/ 3726054 f156 1"/>
                <a:gd name="f165" fmla="*/ 4901903 f155 1"/>
                <a:gd name="f166" fmla="*/ 2529358 f155 1"/>
                <a:gd name="f167" fmla="*/ 2407723 f156 1"/>
                <a:gd name="f168" fmla="*/ 3310455 f155 1"/>
                <a:gd name="f169" fmla="*/ 2418532 f156 1"/>
                <a:gd name="f170" fmla="*/ 3417678 f155 1"/>
                <a:gd name="f171" fmla="*/ 2369399 f156 1"/>
                <a:gd name="f172" fmla="*/ 3661045 f155 1"/>
                <a:gd name="f173" fmla="*/ 2362622 f156 1"/>
                <a:gd name="f174" fmla="*/ 3673532 f155 1"/>
                <a:gd name="f175" fmla="*/ 4279965 f156 1"/>
                <a:gd name="f176" fmla="*/ 4958071 f155 1"/>
                <a:gd name="f177" fmla="*/ 5406368 f156 1"/>
                <a:gd name="f178" fmla="*/ 3581135 f155 1"/>
                <a:gd name="f179" fmla="*/ 5396221 f156 1"/>
                <a:gd name="f180" fmla="*/ 3548447 f155 1"/>
                <a:gd name="f181" fmla="*/ 5383519 f156 1"/>
                <a:gd name="f182" fmla="*/ 3422441 f155 1"/>
                <a:gd name="f183" fmla="*/ 5392133 f156 1"/>
                <a:gd name="f184" fmla="*/ 3336986 f155 1"/>
                <a:gd name="f185" fmla="*/ 4117986 f156 1"/>
                <a:gd name="f186" fmla="*/ 2509174 f155 1"/>
                <a:gd name="f187" fmla="*/ 4066733 f156 1"/>
                <a:gd name="f188" fmla="*/ 2525083 f155 1"/>
                <a:gd name="f189" fmla="*/ 4044164 f156 1"/>
                <a:gd name="f190" fmla="*/ 2527359 f155 1"/>
                <a:gd name="f191" fmla="*/ 4874334 f155 1"/>
                <a:gd name="f192" fmla="*/ 4077374 f156 1"/>
                <a:gd name="f193" fmla="*/ 4877682 f155 1"/>
                <a:gd name="f194" fmla="*/ 4204647 f156 1"/>
                <a:gd name="f195" fmla="*/ 4917190 f155 1"/>
                <a:gd name="f196" fmla="*/ 3940727 f156 1"/>
                <a:gd name="f197" fmla="*/ 6219967 f155 1"/>
                <a:gd name="f198" fmla="*/ 3262698 f156 1"/>
                <a:gd name="f199" fmla="*/ 5541937 f155 1"/>
                <a:gd name="f200" fmla="*/ 3378494 f156 1"/>
                <a:gd name="f201" fmla="*/ 5162844 f155 1"/>
                <a:gd name="f202" fmla="*/ 3384198 f156 1"/>
                <a:gd name="f203" fmla="*/ 5155931 f155 1"/>
                <a:gd name="f204" fmla="*/ 2119419 f156 1"/>
                <a:gd name="f205" fmla="*/ 3948859 f155 1"/>
                <a:gd name="f206" fmla="*/ 2036672 f156 1"/>
                <a:gd name="f207" fmla="*/ 3993772 f155 1"/>
                <a:gd name="f208" fmla="*/ 1793305 f156 1"/>
                <a:gd name="f209" fmla="*/ 4042906 f155 1"/>
                <a:gd name="f210" fmla="*/ 1168076 f156 1"/>
                <a:gd name="f211" fmla="*/ 1793304 f156 1"/>
                <a:gd name="f212" fmla="*/ 2792451 f155 1"/>
                <a:gd name="f213" fmla="*/ 2235408 f156 1"/>
                <a:gd name="f214" fmla="*/ 2975575 f155 1"/>
                <a:gd name="f215" fmla="*/ 2241113 f156 1"/>
                <a:gd name="f216" fmla="*/ 2982489 f155 1"/>
                <a:gd name="f217" fmla="*/ 3433657 f156 1"/>
                <a:gd name="f218" fmla="*/ 2275919 f155 1"/>
                <a:gd name="f219" fmla="*/ 3422279 f156 1"/>
                <a:gd name="f220" fmla="*/ 2262129 f155 1"/>
                <a:gd name="f221" fmla="*/ 3315500 f156 1"/>
                <a:gd name="f222" fmla="*/ 1912558 f155 1"/>
                <a:gd name="f223" fmla="*/ 3940728 f156 1"/>
                <a:gd name="f224" fmla="*/ 1287330 f155 1"/>
                <a:gd name="f225" fmla="*/ 4565956 f156 1"/>
                <a:gd name="f226" fmla="*/ 4459177 f156 1"/>
                <a:gd name="f227" fmla="*/ 4442548 f156 1"/>
                <a:gd name="f228" fmla="*/ 2282283 f155 1"/>
                <a:gd name="f229" fmla="*/ 5549310 f156 1"/>
                <a:gd name="f230" fmla="*/ 3001346 f155 1"/>
                <a:gd name="f231" fmla="*/ 5566644 f156 1"/>
                <a:gd name="f232" fmla="*/ 2980338 f155 1"/>
                <a:gd name="f233" fmla="*/ 6008747 f156 1"/>
                <a:gd name="f234" fmla="*/ 2797213 f155 1"/>
                <a:gd name="f235" fmla="*/ 6633974 f156 1"/>
                <a:gd name="f236" fmla="*/ 4047670 f155 1"/>
                <a:gd name="f237" fmla="*/ 5659175 f156 1"/>
                <a:gd name="f238" fmla="*/ 3940890 f155 1"/>
                <a:gd name="f239" fmla="*/ 5615689 f156 1"/>
                <a:gd name="f240" fmla="*/ 3905011 f155 1"/>
                <a:gd name="f241" fmla="*/ 4536367 f156 1"/>
                <a:gd name="f242" fmla="*/ 5224392 f155 1"/>
                <a:gd name="f243" fmla="*/ 4565475 f156 1"/>
                <a:gd name="f244" fmla="*/ 5278017 f155 1"/>
                <a:gd name="f245" fmla="*/ 4618758 f156 1"/>
                <a:gd name="f246" fmla="*/ 3898615 f156 1"/>
                <a:gd name="f247" fmla="*/ 7751588 f155 1"/>
                <a:gd name="f248" fmla="*/ 7797230 f156 1"/>
                <a:gd name="f249" fmla="*/ 3181174 f155 1"/>
                <a:gd name="f250" fmla="*/ 7802051 f156 1"/>
                <a:gd name="f251" fmla="*/ 3903436 f156 1"/>
                <a:gd name="f252" fmla="*/ 0 f155 1"/>
                <a:gd name="f253" fmla="*/ 4821 f156 1"/>
                <a:gd name="f254" fmla="*/ 0 f156 1"/>
                <a:gd name="f255" fmla="+- f157 0 f1"/>
                <a:gd name="f256" fmla="*/ f160 1 7802051"/>
                <a:gd name="f257" fmla="*/ f161 1 7751588"/>
                <a:gd name="f258" fmla="*/ f162 1 7802051"/>
                <a:gd name="f259" fmla="*/ f163 1 7751588"/>
                <a:gd name="f260" fmla="*/ f164 1 7802051"/>
                <a:gd name="f261" fmla="*/ f165 1 7751588"/>
                <a:gd name="f262" fmla="*/ f166 1 7751588"/>
                <a:gd name="f263" fmla="*/ f167 1 7802051"/>
                <a:gd name="f264" fmla="*/ f168 1 7751588"/>
                <a:gd name="f265" fmla="*/ f169 1 7802051"/>
                <a:gd name="f266" fmla="*/ f170 1 7751588"/>
                <a:gd name="f267" fmla="*/ f171 1 7802051"/>
                <a:gd name="f268" fmla="*/ f172 1 7751588"/>
                <a:gd name="f269" fmla="*/ f173 1 7802051"/>
                <a:gd name="f270" fmla="*/ f174 1 7751588"/>
                <a:gd name="f271" fmla="*/ f175 1 7802051"/>
                <a:gd name="f272" fmla="*/ f176 1 7751588"/>
                <a:gd name="f273" fmla="*/ f177 1 7802051"/>
                <a:gd name="f274" fmla="*/ f178 1 7751588"/>
                <a:gd name="f275" fmla="*/ f179 1 7802051"/>
                <a:gd name="f276" fmla="*/ f180 1 7751588"/>
                <a:gd name="f277" fmla="*/ f181 1 7802051"/>
                <a:gd name="f278" fmla="*/ f182 1 7751588"/>
                <a:gd name="f279" fmla="*/ f183 1 7802051"/>
                <a:gd name="f280" fmla="*/ f184 1 7751588"/>
                <a:gd name="f281" fmla="*/ f185 1 7802051"/>
                <a:gd name="f282" fmla="*/ f186 1 7751588"/>
                <a:gd name="f283" fmla="*/ f187 1 7802051"/>
                <a:gd name="f284" fmla="*/ f188 1 7751588"/>
                <a:gd name="f285" fmla="*/ f189 1 7802051"/>
                <a:gd name="f286" fmla="*/ f190 1 7751588"/>
                <a:gd name="f287" fmla="*/ f191 1 7751588"/>
                <a:gd name="f288" fmla="*/ f192 1 7802051"/>
                <a:gd name="f289" fmla="*/ f193 1 7751588"/>
                <a:gd name="f290" fmla="*/ f194 1 7802051"/>
                <a:gd name="f291" fmla="*/ f195 1 7751588"/>
                <a:gd name="f292" fmla="*/ f196 1 7802051"/>
                <a:gd name="f293" fmla="*/ f197 1 7751588"/>
                <a:gd name="f294" fmla="*/ f198 1 7802051"/>
                <a:gd name="f295" fmla="*/ f199 1 7751588"/>
                <a:gd name="f296" fmla="*/ f200 1 7802051"/>
                <a:gd name="f297" fmla="*/ f201 1 7751588"/>
                <a:gd name="f298" fmla="*/ f202 1 7802051"/>
                <a:gd name="f299" fmla="*/ f203 1 7751588"/>
                <a:gd name="f300" fmla="*/ f204 1 7802051"/>
                <a:gd name="f301" fmla="*/ f205 1 7751588"/>
                <a:gd name="f302" fmla="*/ f206 1 7802051"/>
                <a:gd name="f303" fmla="*/ f207 1 7751588"/>
                <a:gd name="f304" fmla="*/ f208 1 7802051"/>
                <a:gd name="f305" fmla="*/ f209 1 7751588"/>
                <a:gd name="f306" fmla="*/ f210 1 7802051"/>
                <a:gd name="f307" fmla="*/ f211 1 7802051"/>
                <a:gd name="f308" fmla="*/ f212 1 7751588"/>
                <a:gd name="f309" fmla="*/ f213 1 7802051"/>
                <a:gd name="f310" fmla="*/ f214 1 7751588"/>
                <a:gd name="f311" fmla="*/ f215 1 7802051"/>
                <a:gd name="f312" fmla="*/ f216 1 7751588"/>
                <a:gd name="f313" fmla="*/ f217 1 7802051"/>
                <a:gd name="f314" fmla="*/ f218 1 7751588"/>
                <a:gd name="f315" fmla="*/ f219 1 7802051"/>
                <a:gd name="f316" fmla="*/ f220 1 7751588"/>
                <a:gd name="f317" fmla="*/ f221 1 7802051"/>
                <a:gd name="f318" fmla="*/ f222 1 7751588"/>
                <a:gd name="f319" fmla="*/ f223 1 7802051"/>
                <a:gd name="f320" fmla="*/ f224 1 7751588"/>
                <a:gd name="f321" fmla="*/ f225 1 7802051"/>
                <a:gd name="f322" fmla="*/ f226 1 7802051"/>
                <a:gd name="f323" fmla="*/ f227 1 7802051"/>
                <a:gd name="f324" fmla="*/ f228 1 7751588"/>
                <a:gd name="f325" fmla="*/ f229 1 7802051"/>
                <a:gd name="f326" fmla="*/ f230 1 7751588"/>
                <a:gd name="f327" fmla="*/ f231 1 7802051"/>
                <a:gd name="f328" fmla="*/ f232 1 7751588"/>
                <a:gd name="f329" fmla="*/ f233 1 7802051"/>
                <a:gd name="f330" fmla="*/ f234 1 7751588"/>
                <a:gd name="f331" fmla="*/ f235 1 7802051"/>
                <a:gd name="f332" fmla="*/ f236 1 7751588"/>
                <a:gd name="f333" fmla="*/ f237 1 7802051"/>
                <a:gd name="f334" fmla="*/ f238 1 7751588"/>
                <a:gd name="f335" fmla="*/ f239 1 7802051"/>
                <a:gd name="f336" fmla="*/ f240 1 7751588"/>
                <a:gd name="f337" fmla="*/ f241 1 7802051"/>
                <a:gd name="f338" fmla="*/ f242 1 7751588"/>
                <a:gd name="f339" fmla="*/ f243 1 7802051"/>
                <a:gd name="f340" fmla="*/ f244 1 7751588"/>
                <a:gd name="f341" fmla="*/ f245 1 7802051"/>
                <a:gd name="f342" fmla="*/ f246 1 7802051"/>
                <a:gd name="f343" fmla="*/ f247 1 7751588"/>
                <a:gd name="f344" fmla="*/ f248 1 7802051"/>
                <a:gd name="f345" fmla="*/ f249 1 7751588"/>
                <a:gd name="f346" fmla="*/ f250 1 7802051"/>
                <a:gd name="f347" fmla="*/ f251 1 7802051"/>
                <a:gd name="f348" fmla="*/ f252 1 7751588"/>
                <a:gd name="f349" fmla="*/ f253 1 7802051"/>
                <a:gd name="f350" fmla="*/ f254 1 7802051"/>
                <a:gd name="f351" fmla="*/ f151 1 f158"/>
                <a:gd name="f352" fmla="*/ f152 1 f158"/>
                <a:gd name="f353" fmla="*/ f151 1 f159"/>
                <a:gd name="f354" fmla="*/ f153 1 f159"/>
                <a:gd name="f355" fmla="*/ f256 1 f158"/>
                <a:gd name="f356" fmla="*/ f257 1 f159"/>
                <a:gd name="f357" fmla="*/ f258 1 f158"/>
                <a:gd name="f358" fmla="*/ f259 1 f159"/>
                <a:gd name="f359" fmla="*/ f260 1 f158"/>
                <a:gd name="f360" fmla="*/ f261 1 f159"/>
                <a:gd name="f361" fmla="*/ f262 1 f159"/>
                <a:gd name="f362" fmla="*/ f263 1 f158"/>
                <a:gd name="f363" fmla="*/ f264 1 f159"/>
                <a:gd name="f364" fmla="*/ f265 1 f158"/>
                <a:gd name="f365" fmla="*/ f266 1 f159"/>
                <a:gd name="f366" fmla="*/ f267 1 f158"/>
                <a:gd name="f367" fmla="*/ f268 1 f159"/>
                <a:gd name="f368" fmla="*/ f269 1 f158"/>
                <a:gd name="f369" fmla="*/ f270 1 f159"/>
                <a:gd name="f370" fmla="*/ f271 1 f158"/>
                <a:gd name="f371" fmla="*/ f272 1 f159"/>
                <a:gd name="f372" fmla="*/ f273 1 f158"/>
                <a:gd name="f373" fmla="*/ f274 1 f159"/>
                <a:gd name="f374" fmla="*/ f275 1 f158"/>
                <a:gd name="f375" fmla="*/ f276 1 f159"/>
                <a:gd name="f376" fmla="*/ f277 1 f158"/>
                <a:gd name="f377" fmla="*/ f278 1 f159"/>
                <a:gd name="f378" fmla="*/ f279 1 f158"/>
                <a:gd name="f379" fmla="*/ f280 1 f159"/>
                <a:gd name="f380" fmla="*/ f281 1 f158"/>
                <a:gd name="f381" fmla="*/ f282 1 f159"/>
                <a:gd name="f382" fmla="*/ f283 1 f158"/>
                <a:gd name="f383" fmla="*/ f284 1 f159"/>
                <a:gd name="f384" fmla="*/ f285 1 f158"/>
                <a:gd name="f385" fmla="*/ f286 1 f159"/>
                <a:gd name="f386" fmla="*/ f287 1 f159"/>
                <a:gd name="f387" fmla="*/ f288 1 f158"/>
                <a:gd name="f388" fmla="*/ f289 1 f159"/>
                <a:gd name="f389" fmla="*/ f290 1 f158"/>
                <a:gd name="f390" fmla="*/ f291 1 f159"/>
                <a:gd name="f391" fmla="*/ f292 1 f158"/>
                <a:gd name="f392" fmla="*/ f293 1 f159"/>
                <a:gd name="f393" fmla="*/ f294 1 f158"/>
                <a:gd name="f394" fmla="*/ f295 1 f159"/>
                <a:gd name="f395" fmla="*/ f296 1 f158"/>
                <a:gd name="f396" fmla="*/ f297 1 f159"/>
                <a:gd name="f397" fmla="*/ f298 1 f158"/>
                <a:gd name="f398" fmla="*/ f299 1 f159"/>
                <a:gd name="f399" fmla="*/ f300 1 f158"/>
                <a:gd name="f400" fmla="*/ f301 1 f159"/>
                <a:gd name="f401" fmla="*/ f302 1 f158"/>
                <a:gd name="f402" fmla="*/ f303 1 f159"/>
                <a:gd name="f403" fmla="*/ f304 1 f158"/>
                <a:gd name="f404" fmla="*/ f305 1 f159"/>
                <a:gd name="f405" fmla="*/ f306 1 f158"/>
                <a:gd name="f406" fmla="*/ f307 1 f158"/>
                <a:gd name="f407" fmla="*/ f308 1 f159"/>
                <a:gd name="f408" fmla="*/ f309 1 f158"/>
                <a:gd name="f409" fmla="*/ f310 1 f159"/>
                <a:gd name="f410" fmla="*/ f311 1 f158"/>
                <a:gd name="f411" fmla="*/ f312 1 f159"/>
                <a:gd name="f412" fmla="*/ f313 1 f158"/>
                <a:gd name="f413" fmla="*/ f314 1 f159"/>
                <a:gd name="f414" fmla="*/ f315 1 f158"/>
                <a:gd name="f415" fmla="*/ f316 1 f159"/>
                <a:gd name="f416" fmla="*/ f317 1 f158"/>
                <a:gd name="f417" fmla="*/ f318 1 f159"/>
                <a:gd name="f418" fmla="*/ f319 1 f158"/>
                <a:gd name="f419" fmla="*/ f320 1 f159"/>
                <a:gd name="f420" fmla="*/ f321 1 f158"/>
                <a:gd name="f421" fmla="*/ f322 1 f158"/>
                <a:gd name="f422" fmla="*/ f323 1 f158"/>
                <a:gd name="f423" fmla="*/ f324 1 f159"/>
                <a:gd name="f424" fmla="*/ f325 1 f158"/>
                <a:gd name="f425" fmla="*/ f326 1 f159"/>
                <a:gd name="f426" fmla="*/ f327 1 f158"/>
                <a:gd name="f427" fmla="*/ f328 1 f159"/>
                <a:gd name="f428" fmla="*/ f329 1 f158"/>
                <a:gd name="f429" fmla="*/ f330 1 f159"/>
                <a:gd name="f430" fmla="*/ f331 1 f158"/>
                <a:gd name="f431" fmla="*/ f332 1 f159"/>
                <a:gd name="f432" fmla="*/ f333 1 f158"/>
                <a:gd name="f433" fmla="*/ f334 1 f159"/>
                <a:gd name="f434" fmla="*/ f335 1 f158"/>
                <a:gd name="f435" fmla="*/ f336 1 f159"/>
                <a:gd name="f436" fmla="*/ f337 1 f158"/>
                <a:gd name="f437" fmla="*/ f338 1 f159"/>
                <a:gd name="f438" fmla="*/ f339 1 f158"/>
                <a:gd name="f439" fmla="*/ f340 1 f159"/>
                <a:gd name="f440" fmla="*/ f341 1 f158"/>
                <a:gd name="f441" fmla="*/ f342 1 f158"/>
                <a:gd name="f442" fmla="*/ f343 1 f159"/>
                <a:gd name="f443" fmla="*/ f344 1 f158"/>
                <a:gd name="f444" fmla="*/ f345 1 f159"/>
                <a:gd name="f445" fmla="*/ f346 1 f158"/>
                <a:gd name="f446" fmla="*/ f347 1 f158"/>
                <a:gd name="f447" fmla="*/ f348 1 f159"/>
                <a:gd name="f448" fmla="*/ f349 1 f158"/>
                <a:gd name="f449" fmla="*/ f350 1 f158"/>
                <a:gd name="f450" fmla="*/ f351 f149 1"/>
                <a:gd name="f451" fmla="*/ f352 f149 1"/>
                <a:gd name="f452" fmla="*/ f354 f150 1"/>
                <a:gd name="f453" fmla="*/ f353 f150 1"/>
                <a:gd name="f454" fmla="*/ f355 f149 1"/>
                <a:gd name="f455" fmla="*/ f356 f150 1"/>
                <a:gd name="f456" fmla="*/ f357 f149 1"/>
                <a:gd name="f457" fmla="*/ f358 f150 1"/>
                <a:gd name="f458" fmla="*/ f359 f149 1"/>
                <a:gd name="f459" fmla="*/ f360 f150 1"/>
                <a:gd name="f460" fmla="*/ f361 f150 1"/>
                <a:gd name="f461" fmla="*/ f362 f149 1"/>
                <a:gd name="f462" fmla="*/ f363 f150 1"/>
                <a:gd name="f463" fmla="*/ f364 f149 1"/>
                <a:gd name="f464" fmla="*/ f365 f150 1"/>
                <a:gd name="f465" fmla="*/ f366 f149 1"/>
                <a:gd name="f466" fmla="*/ f367 f150 1"/>
                <a:gd name="f467" fmla="*/ f368 f149 1"/>
                <a:gd name="f468" fmla="*/ f369 f150 1"/>
                <a:gd name="f469" fmla="*/ f370 f149 1"/>
                <a:gd name="f470" fmla="*/ f371 f150 1"/>
                <a:gd name="f471" fmla="*/ f372 f149 1"/>
                <a:gd name="f472" fmla="*/ f373 f150 1"/>
                <a:gd name="f473" fmla="*/ f374 f149 1"/>
                <a:gd name="f474" fmla="*/ f375 f150 1"/>
                <a:gd name="f475" fmla="*/ f376 f149 1"/>
                <a:gd name="f476" fmla="*/ f377 f150 1"/>
                <a:gd name="f477" fmla="*/ f378 f149 1"/>
                <a:gd name="f478" fmla="*/ f379 f150 1"/>
                <a:gd name="f479" fmla="*/ f380 f149 1"/>
                <a:gd name="f480" fmla="*/ f381 f150 1"/>
                <a:gd name="f481" fmla="*/ f382 f149 1"/>
                <a:gd name="f482" fmla="*/ f383 f150 1"/>
                <a:gd name="f483" fmla="*/ f384 f149 1"/>
                <a:gd name="f484" fmla="*/ f385 f150 1"/>
                <a:gd name="f485" fmla="*/ f386 f150 1"/>
                <a:gd name="f486" fmla="*/ f387 f149 1"/>
                <a:gd name="f487" fmla="*/ f388 f150 1"/>
                <a:gd name="f488" fmla="*/ f389 f149 1"/>
                <a:gd name="f489" fmla="*/ f390 f150 1"/>
                <a:gd name="f490" fmla="*/ f391 f149 1"/>
                <a:gd name="f491" fmla="*/ f392 f150 1"/>
                <a:gd name="f492" fmla="*/ f393 f149 1"/>
                <a:gd name="f493" fmla="*/ f394 f150 1"/>
                <a:gd name="f494" fmla="*/ f395 f149 1"/>
                <a:gd name="f495" fmla="*/ f396 f150 1"/>
                <a:gd name="f496" fmla="*/ f397 f149 1"/>
                <a:gd name="f497" fmla="*/ f398 f150 1"/>
                <a:gd name="f498" fmla="*/ f399 f149 1"/>
                <a:gd name="f499" fmla="*/ f400 f150 1"/>
                <a:gd name="f500" fmla="*/ f401 f149 1"/>
                <a:gd name="f501" fmla="*/ f402 f150 1"/>
                <a:gd name="f502" fmla="*/ f403 f149 1"/>
                <a:gd name="f503" fmla="*/ f404 f150 1"/>
                <a:gd name="f504" fmla="*/ f405 f149 1"/>
                <a:gd name="f505" fmla="*/ f406 f149 1"/>
                <a:gd name="f506" fmla="*/ f407 f150 1"/>
                <a:gd name="f507" fmla="*/ f408 f149 1"/>
                <a:gd name="f508" fmla="*/ f409 f150 1"/>
                <a:gd name="f509" fmla="*/ f410 f149 1"/>
                <a:gd name="f510" fmla="*/ f411 f150 1"/>
                <a:gd name="f511" fmla="*/ f412 f149 1"/>
                <a:gd name="f512" fmla="*/ f413 f150 1"/>
                <a:gd name="f513" fmla="*/ f414 f149 1"/>
                <a:gd name="f514" fmla="*/ f415 f150 1"/>
                <a:gd name="f515" fmla="*/ f416 f149 1"/>
                <a:gd name="f516" fmla="*/ f417 f150 1"/>
                <a:gd name="f517" fmla="*/ f418 f149 1"/>
                <a:gd name="f518" fmla="*/ f419 f150 1"/>
                <a:gd name="f519" fmla="*/ f420 f149 1"/>
                <a:gd name="f520" fmla="*/ f421 f149 1"/>
                <a:gd name="f521" fmla="*/ f422 f149 1"/>
                <a:gd name="f522" fmla="*/ f423 f150 1"/>
                <a:gd name="f523" fmla="*/ f424 f149 1"/>
                <a:gd name="f524" fmla="*/ f425 f150 1"/>
                <a:gd name="f525" fmla="*/ f426 f149 1"/>
                <a:gd name="f526" fmla="*/ f427 f150 1"/>
                <a:gd name="f527" fmla="*/ f428 f149 1"/>
                <a:gd name="f528" fmla="*/ f429 f150 1"/>
                <a:gd name="f529" fmla="*/ f430 f149 1"/>
                <a:gd name="f530" fmla="*/ f431 f150 1"/>
                <a:gd name="f531" fmla="*/ f432 f149 1"/>
                <a:gd name="f532" fmla="*/ f433 f150 1"/>
                <a:gd name="f533" fmla="*/ f434 f149 1"/>
                <a:gd name="f534" fmla="*/ f435 f150 1"/>
                <a:gd name="f535" fmla="*/ f436 f149 1"/>
                <a:gd name="f536" fmla="*/ f437 f150 1"/>
                <a:gd name="f537" fmla="*/ f438 f149 1"/>
                <a:gd name="f538" fmla="*/ f439 f150 1"/>
                <a:gd name="f539" fmla="*/ f440 f149 1"/>
                <a:gd name="f540" fmla="*/ f441 f149 1"/>
                <a:gd name="f541" fmla="*/ f442 f150 1"/>
                <a:gd name="f542" fmla="*/ f443 f149 1"/>
                <a:gd name="f543" fmla="*/ f444 f150 1"/>
                <a:gd name="f544" fmla="*/ f445 f149 1"/>
                <a:gd name="f545" fmla="*/ f446 f149 1"/>
                <a:gd name="f546" fmla="*/ f447 f150 1"/>
                <a:gd name="f547" fmla="*/ f448 f149 1"/>
                <a:gd name="f548" fmla="*/ f449 f149 1"/>
              </a:gdLst>
              <a:ahLst/>
              <a:cxnLst>
                <a:cxn ang="3cd4">
                  <a:pos x="hc" y="t"/>
                </a:cxn>
                <a:cxn ang="0">
                  <a:pos x="r" y="vc"/>
                </a:cxn>
                <a:cxn ang="cd4">
                  <a:pos x="hc" y="b"/>
                </a:cxn>
                <a:cxn ang="cd2">
                  <a:pos x="l" y="vc"/>
                </a:cxn>
                <a:cxn ang="f255">
                  <a:pos x="f454" y="f455"/>
                </a:cxn>
                <a:cxn ang="f255">
                  <a:pos x="f456" y="f457"/>
                </a:cxn>
                <a:cxn ang="f255">
                  <a:pos x="f458" y="f459"/>
                </a:cxn>
                <a:cxn ang="f255">
                  <a:pos x="f458" y="f460"/>
                </a:cxn>
                <a:cxn ang="f255">
                  <a:pos x="f461" y="f462"/>
                </a:cxn>
                <a:cxn ang="f255">
                  <a:pos x="f463" y="f464"/>
                </a:cxn>
                <a:cxn ang="f255">
                  <a:pos x="f465" y="f466"/>
                </a:cxn>
                <a:cxn ang="f255">
                  <a:pos x="f467" y="f468"/>
                </a:cxn>
                <a:cxn ang="f255">
                  <a:pos x="f469" y="f470"/>
                </a:cxn>
                <a:cxn ang="f255">
                  <a:pos x="f471" y="f472"/>
                </a:cxn>
                <a:cxn ang="f255">
                  <a:pos x="f473" y="f474"/>
                </a:cxn>
                <a:cxn ang="f255">
                  <a:pos x="f475" y="f476"/>
                </a:cxn>
                <a:cxn ang="f255">
                  <a:pos x="f477" y="f478"/>
                </a:cxn>
                <a:cxn ang="f255">
                  <a:pos x="f479" y="f480"/>
                </a:cxn>
                <a:cxn ang="f255">
                  <a:pos x="f481" y="f482"/>
                </a:cxn>
                <a:cxn ang="f255">
                  <a:pos x="f483" y="f484"/>
                </a:cxn>
                <a:cxn ang="f255">
                  <a:pos x="f483" y="f485"/>
                </a:cxn>
                <a:cxn ang="f255">
                  <a:pos x="f486" y="f487"/>
                </a:cxn>
                <a:cxn ang="f255">
                  <a:pos x="f488" y="f489"/>
                </a:cxn>
                <a:cxn ang="f255">
                  <a:pos x="f490" y="f491"/>
                </a:cxn>
                <a:cxn ang="f255">
                  <a:pos x="f492" y="f493"/>
                </a:cxn>
                <a:cxn ang="f255">
                  <a:pos x="f494" y="f495"/>
                </a:cxn>
                <a:cxn ang="f255">
                  <a:pos x="f496" y="f497"/>
                </a:cxn>
                <a:cxn ang="f255">
                  <a:pos x="f498" y="f499"/>
                </a:cxn>
                <a:cxn ang="f255">
                  <a:pos x="f500" y="f501"/>
                </a:cxn>
                <a:cxn ang="f255">
                  <a:pos x="f502" y="f503"/>
                </a:cxn>
                <a:cxn ang="f255">
                  <a:pos x="f504" y="f464"/>
                </a:cxn>
                <a:cxn ang="f255">
                  <a:pos x="f505" y="f506"/>
                </a:cxn>
                <a:cxn ang="f255">
                  <a:pos x="f507" y="f508"/>
                </a:cxn>
                <a:cxn ang="f255">
                  <a:pos x="f509" y="f510"/>
                </a:cxn>
                <a:cxn ang="f255">
                  <a:pos x="f511" y="f512"/>
                </a:cxn>
                <a:cxn ang="f255">
                  <a:pos x="f513" y="f514"/>
                </a:cxn>
                <a:cxn ang="f255">
                  <a:pos x="f515" y="f516"/>
                </a:cxn>
                <a:cxn ang="f255">
                  <a:pos x="f517" y="f518"/>
                </a:cxn>
                <a:cxn ang="f255">
                  <a:pos x="f519" y="f516"/>
                </a:cxn>
                <a:cxn ang="f255">
                  <a:pos x="f520" y="f514"/>
                </a:cxn>
                <a:cxn ang="f255">
                  <a:pos x="f521" y="f522"/>
                </a:cxn>
                <a:cxn ang="f255">
                  <a:pos x="f523" y="f524"/>
                </a:cxn>
                <a:cxn ang="f255">
                  <a:pos x="f525" y="f526"/>
                </a:cxn>
                <a:cxn ang="f255">
                  <a:pos x="f527" y="f528"/>
                </a:cxn>
                <a:cxn ang="f255">
                  <a:pos x="f529" y="f476"/>
                </a:cxn>
                <a:cxn ang="f255">
                  <a:pos x="f527" y="f530"/>
                </a:cxn>
                <a:cxn ang="f255">
                  <a:pos x="f531" y="f532"/>
                </a:cxn>
                <a:cxn ang="f255">
                  <a:pos x="f533" y="f534"/>
                </a:cxn>
                <a:cxn ang="f255">
                  <a:pos x="f535" y="f536"/>
                </a:cxn>
                <a:cxn ang="f255">
                  <a:pos x="f537" y="f538"/>
                </a:cxn>
                <a:cxn ang="f255">
                  <a:pos x="f539" y="f493"/>
                </a:cxn>
                <a:cxn ang="f255">
                  <a:pos x="f490" y="f491"/>
                </a:cxn>
                <a:cxn ang="f255">
                  <a:pos x="f540" y="f541"/>
                </a:cxn>
                <a:cxn ang="f255">
                  <a:pos x="f542" y="f543"/>
                </a:cxn>
                <a:cxn ang="f255">
                  <a:pos x="f544" y="f543"/>
                </a:cxn>
                <a:cxn ang="f255">
                  <a:pos x="f545" y="f546"/>
                </a:cxn>
                <a:cxn ang="f255">
                  <a:pos x="f547" y="f543"/>
                </a:cxn>
                <a:cxn ang="f255">
                  <a:pos x="f548" y="f543"/>
                </a:cxn>
              </a:cxnLst>
              <a:rect l="f450" t="f453" r="f451" b="f452"/>
              <a:pathLst>
                <a:path w="7802051" h="7751588">
                  <a:moveTo>
                    <a:pt x="f8" y="f9"/>
                  </a:moveTo>
                  <a:lnTo>
                    <a:pt x="f10" y="f11"/>
                  </a:lnTo>
                  <a:lnTo>
                    <a:pt x="f12" y="f13"/>
                  </a:lnTo>
                  <a:lnTo>
                    <a:pt x="f12" y="f14"/>
                  </a:lnTo>
                  <a:lnTo>
                    <a:pt x="f15" y="f16"/>
                  </a:lnTo>
                  <a:lnTo>
                    <a:pt x="f17" y="f18"/>
                  </a:lnTo>
                  <a:cubicBezTo>
                    <a:pt x="f17" y="f19"/>
                    <a:pt x="f20" y="f21"/>
                    <a:pt x="f22" y="f23"/>
                  </a:cubicBezTo>
                  <a:lnTo>
                    <a:pt x="f24" y="f25"/>
                  </a:lnTo>
                  <a:close/>
                  <a:moveTo>
                    <a:pt x="f26" y="f27"/>
                  </a:moveTo>
                  <a:lnTo>
                    <a:pt x="f28" y="f29"/>
                  </a:lnTo>
                  <a:lnTo>
                    <a:pt x="f30" y="f31"/>
                  </a:lnTo>
                  <a:cubicBezTo>
                    <a:pt x="f32" y="f33"/>
                    <a:pt x="f34" y="f35"/>
                    <a:pt x="f34" y="f36"/>
                  </a:cubicBezTo>
                  <a:lnTo>
                    <a:pt x="f37" y="f38"/>
                  </a:lnTo>
                  <a:lnTo>
                    <a:pt x="f39" y="f40"/>
                  </a:lnTo>
                  <a:lnTo>
                    <a:pt x="f41" y="f42"/>
                  </a:lnTo>
                  <a:lnTo>
                    <a:pt x="f43" y="f44"/>
                  </a:lnTo>
                  <a:lnTo>
                    <a:pt x="f43" y="f45"/>
                  </a:lnTo>
                  <a:lnTo>
                    <a:pt x="f46" y="f47"/>
                  </a:lnTo>
                  <a:cubicBezTo>
                    <a:pt x="f48" y="f49"/>
                    <a:pt x="f50" y="f51"/>
                    <a:pt x="f52" y="f53"/>
                  </a:cubicBezTo>
                  <a:close/>
                  <a:moveTo>
                    <a:pt x="f54" y="f55"/>
                  </a:moveTo>
                  <a:cubicBezTo>
                    <a:pt x="f56" y="f55"/>
                    <a:pt x="f57" y="f58"/>
                    <a:pt x="f57" y="f59"/>
                  </a:cubicBezTo>
                  <a:cubicBezTo>
                    <a:pt x="f57" y="f60"/>
                    <a:pt x="f61" y="f62"/>
                    <a:pt x="f63" y="f64"/>
                  </a:cubicBezTo>
                  <a:lnTo>
                    <a:pt x="f65" y="f66"/>
                  </a:lnTo>
                  <a:lnTo>
                    <a:pt x="f67" y="f68"/>
                  </a:lnTo>
                  <a:lnTo>
                    <a:pt x="f69" y="f70"/>
                  </a:lnTo>
                  <a:cubicBezTo>
                    <a:pt x="f71" y="f72"/>
                    <a:pt x="f73" y="f74"/>
                    <a:pt x="f75" y="f74"/>
                  </a:cubicBezTo>
                  <a:cubicBezTo>
                    <a:pt x="f76" y="f74"/>
                    <a:pt x="f77" y="f78"/>
                    <a:pt x="f79" y="f18"/>
                  </a:cubicBezTo>
                  <a:cubicBezTo>
                    <a:pt x="f77" y="f80"/>
                    <a:pt x="f81" y="f82"/>
                    <a:pt x="f83" y="f84"/>
                  </a:cubicBezTo>
                  <a:cubicBezTo>
                    <a:pt x="f85" y="f82"/>
                    <a:pt x="f86" y="f87"/>
                    <a:pt x="f88" y="f89"/>
                  </a:cubicBezTo>
                  <a:lnTo>
                    <a:pt x="f90" y="f91"/>
                  </a:lnTo>
                  <a:lnTo>
                    <a:pt x="f92" y="f93"/>
                  </a:lnTo>
                  <a:lnTo>
                    <a:pt x="f94" y="f95"/>
                  </a:lnTo>
                  <a:cubicBezTo>
                    <a:pt x="f96" y="f97"/>
                    <a:pt x="f98" y="f99"/>
                    <a:pt x="f98" y="f100"/>
                  </a:cubicBezTo>
                  <a:cubicBezTo>
                    <a:pt x="f98" y="f101"/>
                    <a:pt x="f102" y="f103"/>
                    <a:pt x="f104" y="f103"/>
                  </a:cubicBezTo>
                  <a:cubicBezTo>
                    <a:pt x="f105" y="f103"/>
                    <a:pt x="f106" y="f101"/>
                    <a:pt x="f106" y="f100"/>
                  </a:cubicBezTo>
                  <a:cubicBezTo>
                    <a:pt x="f106" y="f99"/>
                    <a:pt x="f107" y="f97"/>
                    <a:pt x="f108" y="f95"/>
                  </a:cubicBezTo>
                  <a:lnTo>
                    <a:pt x="f109" y="f110"/>
                  </a:lnTo>
                  <a:lnTo>
                    <a:pt x="f111" y="f112"/>
                  </a:lnTo>
                  <a:lnTo>
                    <a:pt x="f113" y="f114"/>
                  </a:lnTo>
                  <a:cubicBezTo>
                    <a:pt x="f115" y="f116"/>
                    <a:pt x="f117" y="f118"/>
                    <a:pt x="f119" y="f118"/>
                  </a:cubicBezTo>
                  <a:cubicBezTo>
                    <a:pt x="f120" y="f118"/>
                    <a:pt x="f121" y="f122"/>
                    <a:pt x="f123" y="f36"/>
                  </a:cubicBezTo>
                  <a:cubicBezTo>
                    <a:pt x="f121" y="f124"/>
                    <a:pt x="f120" y="f125"/>
                    <a:pt x="f119" y="f126"/>
                  </a:cubicBezTo>
                  <a:cubicBezTo>
                    <a:pt x="f127" y="f125"/>
                    <a:pt x="f128" y="f129"/>
                    <a:pt x="f130" y="f131"/>
                  </a:cubicBezTo>
                  <a:lnTo>
                    <a:pt x="f132" y="f133"/>
                  </a:lnTo>
                  <a:lnTo>
                    <a:pt x="f134" y="f135"/>
                  </a:lnTo>
                  <a:lnTo>
                    <a:pt x="f136" y="f137"/>
                  </a:lnTo>
                  <a:cubicBezTo>
                    <a:pt x="f138" y="f139"/>
                    <a:pt x="f140" y="f141"/>
                    <a:pt x="f140" y="f59"/>
                  </a:cubicBezTo>
                  <a:cubicBezTo>
                    <a:pt x="f140" y="f58"/>
                    <a:pt x="f142" y="f55"/>
                    <a:pt x="f54" y="f55"/>
                  </a:cubicBezTo>
                  <a:close/>
                  <a:moveTo>
                    <a:pt x="f143" y="f7"/>
                  </a:moveTo>
                  <a:lnTo>
                    <a:pt x="f144" y="f145"/>
                  </a:lnTo>
                  <a:lnTo>
                    <a:pt x="f6" y="f145"/>
                  </a:lnTo>
                  <a:lnTo>
                    <a:pt x="f146" y="f5"/>
                  </a:lnTo>
                  <a:lnTo>
                    <a:pt x="f147" y="f145"/>
                  </a:lnTo>
                  <a:lnTo>
                    <a:pt x="f5" y="f145"/>
                  </a:lnTo>
                  <a:close/>
                </a:path>
              </a:pathLst>
            </a:custGeom>
            <a:solidFill>
              <a:srgbClr val="0078D7">
                <a:alpha val="95000"/>
              </a:srgbClr>
            </a:solidFill>
            <a:ln cap="flat">
              <a:noFill/>
              <a:prstDash val="solid"/>
            </a:ln>
          </p:spPr>
          <p:txBody>
            <a:bodyPr vert="horz" wrap="square" lIns="175735" tIns="140588" rIns="175735" bIns="140588" anchor="t" anchorCtr="1" compatLnSpc="1">
              <a:noAutofit/>
            </a:bodyPr>
            <a:lstStyle/>
            <a:p>
              <a:pPr algn="ctr" defTabSz="895919">
                <a:lnSpc>
                  <a:spcPct val="90000"/>
                </a:lnSpc>
                <a:defRPr sz="1800" b="0" i="0" u="none" strike="noStrike" kern="0" cap="none" spc="0" baseline="0">
                  <a:solidFill>
                    <a:srgbClr val="000000"/>
                  </a:solidFill>
                  <a:uFillTx/>
                </a:defRPr>
              </a:pPr>
              <a:endParaRPr lang="en-US" sz="2307" kern="0">
                <a:solidFill>
                  <a:srgbClr val="000000"/>
                </a:solidFill>
                <a:latin typeface="Segoe UI Semilight"/>
                <a:ea typeface="Segoe UI" pitchFamily="34"/>
                <a:cs typeface="Segoe UI" pitchFamily="34"/>
              </a:endParaRPr>
            </a:p>
          </p:txBody>
        </p:sp>
      </p:grpSp>
      <p:sp>
        <p:nvSpPr>
          <p:cNvPr id="843" name="Rectangle 842">
            <a:extLst>
              <a:ext uri="{FF2B5EF4-FFF2-40B4-BE49-F238E27FC236}">
                <a16:creationId xmlns:a16="http://schemas.microsoft.com/office/drawing/2014/main" id="{4BC4DEFD-6D19-4AEB-8B75-C2296C95A706}"/>
              </a:ext>
            </a:extLst>
          </p:cNvPr>
          <p:cNvSpPr/>
          <p:nvPr/>
        </p:nvSpPr>
        <p:spPr>
          <a:xfrm>
            <a:off x="7453653" y="2651566"/>
            <a:ext cx="1958761" cy="579315"/>
          </a:xfrm>
          <a:prstGeom prst="rect">
            <a:avLst/>
          </a:prstGeom>
        </p:spPr>
        <p:txBody>
          <a:bodyPr wrap="square">
            <a:spAutoFit/>
          </a:bodyPr>
          <a:lstStyle/>
          <a:p>
            <a:pPr algn="ctr" defTabSz="896182">
              <a:lnSpc>
                <a:spcPct val="90000"/>
              </a:lnSpc>
              <a:defRPr sz="1800" b="0" i="0" u="none" strike="noStrike" kern="0" cap="none" spc="0" baseline="0">
                <a:solidFill>
                  <a:srgbClr val="000000"/>
                </a:solidFill>
                <a:uFillTx/>
              </a:defRPr>
            </a:pPr>
            <a:r>
              <a:rPr lang="en-US" sz="1765" kern="0" dirty="0">
                <a:solidFill>
                  <a:srgbClr val="000000"/>
                </a:solidFill>
                <a:latin typeface="Segoe UI Semilight"/>
              </a:rPr>
              <a:t>Microsoft Azure </a:t>
            </a:r>
          </a:p>
          <a:p>
            <a:pPr algn="ctr" defTabSz="896182">
              <a:lnSpc>
                <a:spcPct val="90000"/>
              </a:lnSpc>
              <a:defRPr sz="1800" b="0" i="0" u="none" strike="noStrike" kern="0" cap="none" spc="0" baseline="0">
                <a:solidFill>
                  <a:srgbClr val="000000"/>
                </a:solidFill>
                <a:uFillTx/>
              </a:defRPr>
            </a:pPr>
            <a:r>
              <a:rPr lang="en-US" sz="1765" kern="0" dirty="0">
                <a:solidFill>
                  <a:srgbClr val="000000"/>
                </a:solidFill>
                <a:latin typeface="Segoe UI Semilight"/>
              </a:rPr>
              <a:t>Active Directory</a:t>
            </a:r>
          </a:p>
        </p:txBody>
      </p:sp>
    </p:spTree>
    <p:extLst>
      <p:ext uri="{BB962C8B-B14F-4D97-AF65-F5344CB8AC3E}">
        <p14:creationId xmlns:p14="http://schemas.microsoft.com/office/powerpoint/2010/main" val="2252659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63"/>
                                        </p:tgtEl>
                                        <p:attrNameLst>
                                          <p:attrName>style.visibility</p:attrName>
                                        </p:attrNameLst>
                                      </p:cBhvr>
                                      <p:to>
                                        <p:strVal val="visible"/>
                                      </p:to>
                                    </p:set>
                                    <p:animEffect transition="in" filter="fade">
                                      <p:cBhvr>
                                        <p:cTn id="7" dur="400"/>
                                        <p:tgtEl>
                                          <p:spTgt spid="663"/>
                                        </p:tgtEl>
                                      </p:cBhvr>
                                    </p:animEffect>
                                  </p:childTnLst>
                                </p:cTn>
                              </p:par>
                              <p:par>
                                <p:cTn id="8" presetID="42" presetClass="path" presetSubtype="0" decel="100000" fill="hold" grpId="1" nodeType="withEffect">
                                  <p:stCondLst>
                                    <p:cond delay="0"/>
                                  </p:stCondLst>
                                  <p:childTnLst>
                                    <p:animMotion origin="layout" path="M 2.08333E-6 1.85185E-6 L 2.08333E-6 0.09629 " pathEditMode="relative" rAng="0" ptsTypes="AA">
                                      <p:cBhvr>
                                        <p:cTn id="9" dur="700" spd="-100000" fill="hold"/>
                                        <p:tgtEl>
                                          <p:spTgt spid="663"/>
                                        </p:tgtEl>
                                        <p:attrNameLst>
                                          <p:attrName>ppt_x</p:attrName>
                                          <p:attrName>ppt_y</p:attrName>
                                        </p:attrNameLst>
                                      </p:cBhvr>
                                      <p:rCtr x="0" y="4815"/>
                                    </p:animMotion>
                                  </p:childTnLst>
                                </p:cTn>
                              </p:par>
                              <p:par>
                                <p:cTn id="10" presetID="10" presetClass="entr" presetSubtype="0" fill="hold" nodeType="withEffect">
                                  <p:stCondLst>
                                    <p:cond delay="0"/>
                                  </p:stCondLst>
                                  <p:childTnLst>
                                    <p:set>
                                      <p:cBhvr>
                                        <p:cTn id="11" dur="1" fill="hold">
                                          <p:stCondLst>
                                            <p:cond delay="0"/>
                                          </p:stCondLst>
                                        </p:cTn>
                                        <p:tgtEl>
                                          <p:spTgt spid="825"/>
                                        </p:tgtEl>
                                        <p:attrNameLst>
                                          <p:attrName>style.visibility</p:attrName>
                                        </p:attrNameLst>
                                      </p:cBhvr>
                                      <p:to>
                                        <p:strVal val="visible"/>
                                      </p:to>
                                    </p:set>
                                    <p:animEffect transition="in" filter="fade">
                                      <p:cBhvr>
                                        <p:cTn id="12" dur="500"/>
                                        <p:tgtEl>
                                          <p:spTgt spid="825"/>
                                        </p:tgtEl>
                                      </p:cBhvr>
                                    </p:animEffect>
                                  </p:childTnLst>
                                </p:cTn>
                              </p:par>
                              <p:par>
                                <p:cTn id="13" presetID="1" presetClass="entr" presetSubtype="0" fill="hold" nodeType="withEffect">
                                  <p:stCondLst>
                                    <p:cond delay="500"/>
                                  </p:stCondLst>
                                  <p:childTnLst>
                                    <p:set>
                                      <p:cBhvr>
                                        <p:cTn id="14" dur="1" fill="hold">
                                          <p:stCondLst>
                                            <p:cond delay="0"/>
                                          </p:stCondLst>
                                        </p:cTn>
                                        <p:tgtEl>
                                          <p:spTgt spid="838"/>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500" fill="hold"/>
                                        <p:tgtEl>
                                          <p:spTgt spid="838"/>
                                        </p:tgtEl>
                                      </p:cBhvr>
                                      <p:by x="80000" y="80000"/>
                                    </p:animScale>
                                  </p:childTnLst>
                                </p:cTn>
                              </p:par>
                              <p:par>
                                <p:cTn id="17" presetID="21" presetClass="entr" presetSubtype="1" fill="hold" nodeType="withEffect">
                                  <p:stCondLst>
                                    <p:cond delay="500"/>
                                  </p:stCondLst>
                                  <p:childTnLst>
                                    <p:set>
                                      <p:cBhvr>
                                        <p:cTn id="18" dur="1" fill="hold">
                                          <p:stCondLst>
                                            <p:cond delay="0"/>
                                          </p:stCondLst>
                                        </p:cTn>
                                        <p:tgtEl>
                                          <p:spTgt spid="838"/>
                                        </p:tgtEl>
                                        <p:attrNameLst>
                                          <p:attrName>style.visibility</p:attrName>
                                        </p:attrNameLst>
                                      </p:cBhvr>
                                      <p:to>
                                        <p:strVal val="visible"/>
                                      </p:to>
                                    </p:set>
                                    <p:animEffect transition="in" filter="wheel(1)">
                                      <p:cBhvr>
                                        <p:cTn id="19" dur="500"/>
                                        <p:tgtEl>
                                          <p:spTgt spid="838"/>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843"/>
                                        </p:tgtEl>
                                        <p:attrNameLst>
                                          <p:attrName>style.visibility</p:attrName>
                                        </p:attrNameLst>
                                      </p:cBhvr>
                                      <p:to>
                                        <p:strVal val="visible"/>
                                      </p:to>
                                    </p:set>
                                    <p:animEffect transition="in" filter="fade">
                                      <p:cBhvr>
                                        <p:cTn id="22" dur="400"/>
                                        <p:tgtEl>
                                          <p:spTgt spid="843"/>
                                        </p:tgtEl>
                                      </p:cBhvr>
                                    </p:animEffect>
                                  </p:childTnLst>
                                </p:cTn>
                              </p:par>
                              <p:par>
                                <p:cTn id="23" presetID="42" presetClass="path" presetSubtype="0" decel="100000" fill="hold" grpId="1" nodeType="withEffect">
                                  <p:stCondLst>
                                    <p:cond delay="300"/>
                                  </p:stCondLst>
                                  <p:childTnLst>
                                    <p:animMotion origin="layout" path="M 1.25E-6 1.48148E-6 L 1.25E-6 0.09629 " pathEditMode="relative" rAng="0" ptsTypes="AA">
                                      <p:cBhvr>
                                        <p:cTn id="24" dur="700" spd="-100000" fill="hold"/>
                                        <p:tgtEl>
                                          <p:spTgt spid="843"/>
                                        </p:tgtEl>
                                        <p:attrNameLst>
                                          <p:attrName>ppt_x</p:attrName>
                                          <p:attrName>ppt_y</p:attrName>
                                        </p:attrNameLst>
                                      </p:cBhvr>
                                      <p:rCtr x="0" y="4815"/>
                                    </p:animMotion>
                                  </p:childTnLst>
                                </p:cTn>
                              </p:par>
                            </p:childTnLst>
                          </p:cTn>
                        </p:par>
                        <p:par>
                          <p:cTn id="25" fill="hold">
                            <p:stCondLst>
                              <p:cond delay="1000"/>
                            </p:stCondLst>
                            <p:childTnLst>
                              <p:par>
                                <p:cTn id="26" presetID="1" presetClass="entr" presetSubtype="0" fill="hold" nodeType="afterEffect">
                                  <p:stCondLst>
                                    <p:cond delay="250"/>
                                  </p:stCondLst>
                                  <p:childTnLst>
                                    <p:set>
                                      <p:cBhvr>
                                        <p:cTn id="27" dur="1" fill="hold">
                                          <p:stCondLst>
                                            <p:cond delay="399"/>
                                          </p:stCondLst>
                                        </p:cTn>
                                        <p:tgtEl>
                                          <p:spTgt spid="665"/>
                                        </p:tgtEl>
                                        <p:attrNameLst>
                                          <p:attrName>style.visibility</p:attrName>
                                        </p:attrNameLst>
                                      </p:cBhvr>
                                      <p:to>
                                        <p:strVal val="visible"/>
                                      </p:to>
                                    </p:set>
                                  </p:childTnLst>
                                </p:cTn>
                              </p:par>
                              <p:par>
                                <p:cTn id="28" presetID="6" presetClass="emph" presetSubtype="0" accel="100000" autoRev="1" fill="hold" nodeType="withEffect">
                                  <p:stCondLst>
                                    <p:cond delay="0"/>
                                  </p:stCondLst>
                                  <p:childTnLst>
                                    <p:animScale>
                                      <p:cBhvr>
                                        <p:cTn id="29" dur="400" fill="hold"/>
                                        <p:tgtEl>
                                          <p:spTgt spid="665"/>
                                        </p:tgtEl>
                                      </p:cBhvr>
                                      <p:by x="0" y="0"/>
                                    </p:animScale>
                                  </p:childTnLst>
                                </p:cTn>
                              </p:par>
                              <p:par>
                                <p:cTn id="30" presetID="42" presetClass="path" presetSubtype="0" accel="100000" autoRev="1" fill="hold" nodeType="withEffect">
                                  <p:stCondLst>
                                    <p:cond delay="0"/>
                                  </p:stCondLst>
                                  <p:childTnLst>
                                    <p:animMotion origin="layout" path="M -2.08333E-7 2.96296E-6 L -0.10885 0.10254 " pathEditMode="relative" rAng="0" ptsTypes="AA">
                                      <p:cBhvr>
                                        <p:cTn id="31" dur="400" fill="hold"/>
                                        <p:tgtEl>
                                          <p:spTgt spid="665"/>
                                        </p:tgtEl>
                                        <p:attrNameLst>
                                          <p:attrName>ppt_x</p:attrName>
                                          <p:attrName>ppt_y</p:attrName>
                                        </p:attrNameLst>
                                      </p:cBhvr>
                                      <p:rCtr x="-5443" y="5116"/>
                                    </p:animMotion>
                                  </p:childTnLst>
                                </p:cTn>
                              </p:par>
                            </p:childTnLst>
                          </p:cTn>
                        </p:par>
                        <p:par>
                          <p:cTn id="32" fill="hold">
                            <p:stCondLst>
                              <p:cond delay="1800"/>
                            </p:stCondLst>
                            <p:childTnLst>
                              <p:par>
                                <p:cTn id="33" presetID="10" presetClass="entr" presetSubtype="0" fill="hold" grpId="0" nodeType="afterEffect">
                                  <p:stCondLst>
                                    <p:cond delay="0"/>
                                  </p:stCondLst>
                                  <p:childTnLst>
                                    <p:set>
                                      <p:cBhvr>
                                        <p:cTn id="34" dur="1" fill="hold">
                                          <p:stCondLst>
                                            <p:cond delay="0"/>
                                          </p:stCondLst>
                                        </p:cTn>
                                        <p:tgtEl>
                                          <p:spTgt spid="664"/>
                                        </p:tgtEl>
                                        <p:attrNameLst>
                                          <p:attrName>style.visibility</p:attrName>
                                        </p:attrNameLst>
                                      </p:cBhvr>
                                      <p:to>
                                        <p:strVal val="visible"/>
                                      </p:to>
                                    </p:set>
                                    <p:animEffect transition="in" filter="fade">
                                      <p:cBhvr>
                                        <p:cTn id="35" dur="500"/>
                                        <p:tgtEl>
                                          <p:spTgt spid="6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3" grpId="0"/>
      <p:bldP spid="663" grpId="1"/>
      <p:bldP spid="664" grpId="0" animBg="1"/>
      <p:bldP spid="843" grpId="0"/>
      <p:bldP spid="843"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91C62C-CAEB-4120-ACD1-629D51EA81D2}"/>
              </a:ext>
            </a:extLst>
          </p:cNvPr>
          <p:cNvSpPr>
            <a:spLocks noGrp="1"/>
          </p:cNvSpPr>
          <p:nvPr>
            <p:ph type="title"/>
          </p:nvPr>
        </p:nvSpPr>
        <p:spPr>
          <a:xfrm>
            <a:off x="269242" y="1217195"/>
            <a:ext cx="5378548" cy="1080617"/>
          </a:xfrm>
        </p:spPr>
        <p:txBody>
          <a:bodyPr/>
          <a:lstStyle/>
          <a:p>
            <a:r>
              <a:rPr lang="en-US" dirty="0"/>
              <a:t>Lab Setup</a:t>
            </a:r>
          </a:p>
        </p:txBody>
      </p:sp>
      <p:sp>
        <p:nvSpPr>
          <p:cNvPr id="8" name="Picture Placeholder 7">
            <a:extLst>
              <a:ext uri="{FF2B5EF4-FFF2-40B4-BE49-F238E27FC236}">
                <a16:creationId xmlns:a16="http://schemas.microsoft.com/office/drawing/2014/main" id="{DBF80AE0-97C3-476E-913C-6E0A3E72610E}"/>
              </a:ext>
            </a:extLst>
          </p:cNvPr>
          <p:cNvSpPr>
            <a:spLocks noGrp="1"/>
          </p:cNvSpPr>
          <p:nvPr>
            <p:ph type="pic" sz="quarter" idx="10"/>
          </p:nvPr>
        </p:nvSpPr>
        <p:spPr/>
      </p:sp>
    </p:spTree>
    <p:extLst>
      <p:ext uri="{BB962C8B-B14F-4D97-AF65-F5344CB8AC3E}">
        <p14:creationId xmlns:p14="http://schemas.microsoft.com/office/powerpoint/2010/main" val="248486122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5ECDC58-0B3D-4721-AD19-0A5AF3A73CD4}"/>
              </a:ext>
            </a:extLst>
          </p:cNvPr>
          <p:cNvGrpSpPr/>
          <p:nvPr/>
        </p:nvGrpSpPr>
        <p:grpSpPr>
          <a:xfrm>
            <a:off x="1282367" y="2751266"/>
            <a:ext cx="2366929" cy="2278797"/>
            <a:chOff x="1282367" y="2751266"/>
            <a:chExt cx="2366929" cy="2278797"/>
          </a:xfrm>
        </p:grpSpPr>
        <p:pic>
          <p:nvPicPr>
            <p:cNvPr id="5" name="Picture 4">
              <a:extLst>
                <a:ext uri="{FF2B5EF4-FFF2-40B4-BE49-F238E27FC236}">
                  <a16:creationId xmlns:a16="http://schemas.microsoft.com/office/drawing/2014/main" id="{11A8C423-552F-4F8E-823B-4F334AE9A0BE}"/>
                </a:ext>
              </a:extLst>
            </p:cNvPr>
            <p:cNvPicPr>
              <a:picLocks noChangeAspect="1"/>
            </p:cNvPicPr>
            <p:nvPr/>
          </p:nvPicPr>
          <p:blipFill>
            <a:blip r:embed="rId3"/>
            <a:stretch>
              <a:fillRect/>
            </a:stretch>
          </p:blipFill>
          <p:spPr>
            <a:xfrm>
              <a:off x="1639463" y="2751266"/>
              <a:ext cx="1652738" cy="1355467"/>
            </a:xfrm>
            <a:prstGeom prst="rect">
              <a:avLst/>
            </a:prstGeom>
          </p:spPr>
        </p:pic>
        <p:sp>
          <p:nvSpPr>
            <p:cNvPr id="8" name="TextBox 7">
              <a:extLst>
                <a:ext uri="{FF2B5EF4-FFF2-40B4-BE49-F238E27FC236}">
                  <a16:creationId xmlns:a16="http://schemas.microsoft.com/office/drawing/2014/main" id="{8ACBFF8C-1AAF-4D77-9AE5-7FFC2EAB32DF}"/>
                </a:ext>
              </a:extLst>
            </p:cNvPr>
            <p:cNvSpPr txBox="1"/>
            <p:nvPr/>
          </p:nvSpPr>
          <p:spPr>
            <a:xfrm>
              <a:off x="1282367" y="4106733"/>
              <a:ext cx="2366929" cy="923330"/>
            </a:xfrm>
            <a:prstGeom prst="rect">
              <a:avLst/>
            </a:prstGeom>
            <a:noFill/>
          </p:spPr>
          <p:txBody>
            <a:bodyPr wrap="square" rtlCol="0">
              <a:spAutoFit/>
            </a:bodyPr>
            <a:lstStyle/>
            <a:p>
              <a:pPr algn="ctr"/>
              <a:r>
                <a:rPr lang="en-US" dirty="0"/>
                <a:t>Active Directory Domain Services</a:t>
              </a:r>
            </a:p>
            <a:p>
              <a:pPr algn="ctr"/>
              <a:r>
                <a:rPr lang="en-US" dirty="0"/>
                <a:t> (AD DS)</a:t>
              </a:r>
            </a:p>
          </p:txBody>
        </p:sp>
      </p:grpSp>
      <p:grpSp>
        <p:nvGrpSpPr>
          <p:cNvPr id="14" name="Group 13">
            <a:extLst>
              <a:ext uri="{FF2B5EF4-FFF2-40B4-BE49-F238E27FC236}">
                <a16:creationId xmlns:a16="http://schemas.microsoft.com/office/drawing/2014/main" id="{81EE6EF3-2492-4A23-9E94-E750DDFB3594}"/>
              </a:ext>
            </a:extLst>
          </p:cNvPr>
          <p:cNvGrpSpPr/>
          <p:nvPr/>
        </p:nvGrpSpPr>
        <p:grpSpPr>
          <a:xfrm>
            <a:off x="9405285" y="2698556"/>
            <a:ext cx="2366929" cy="2347610"/>
            <a:chOff x="9405285" y="2698556"/>
            <a:chExt cx="2366929" cy="2347610"/>
          </a:xfrm>
        </p:grpSpPr>
        <p:pic>
          <p:nvPicPr>
            <p:cNvPr id="4" name="Picture 3">
              <a:extLst>
                <a:ext uri="{FF2B5EF4-FFF2-40B4-BE49-F238E27FC236}">
                  <a16:creationId xmlns:a16="http://schemas.microsoft.com/office/drawing/2014/main" id="{CC871DDF-D8B6-4A87-9BD5-B177898448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84662" y="2698556"/>
              <a:ext cx="1408177" cy="1408177"/>
            </a:xfrm>
            <a:prstGeom prst="rect">
              <a:avLst/>
            </a:prstGeom>
          </p:spPr>
        </p:pic>
        <p:sp>
          <p:nvSpPr>
            <p:cNvPr id="9" name="TextBox 8">
              <a:extLst>
                <a:ext uri="{FF2B5EF4-FFF2-40B4-BE49-F238E27FC236}">
                  <a16:creationId xmlns:a16="http://schemas.microsoft.com/office/drawing/2014/main" id="{84578604-C353-4250-8435-7BF07244C285}"/>
                </a:ext>
              </a:extLst>
            </p:cNvPr>
            <p:cNvSpPr txBox="1"/>
            <p:nvPr/>
          </p:nvSpPr>
          <p:spPr>
            <a:xfrm>
              <a:off x="9405285" y="4122836"/>
              <a:ext cx="2366929" cy="923330"/>
            </a:xfrm>
            <a:prstGeom prst="rect">
              <a:avLst/>
            </a:prstGeom>
            <a:noFill/>
          </p:spPr>
          <p:txBody>
            <a:bodyPr wrap="square" rtlCol="0">
              <a:spAutoFit/>
            </a:bodyPr>
            <a:lstStyle/>
            <a:p>
              <a:pPr algn="ctr"/>
              <a:r>
                <a:rPr lang="en-US" dirty="0"/>
                <a:t>Azure </a:t>
              </a:r>
            </a:p>
            <a:p>
              <a:pPr algn="ctr"/>
              <a:r>
                <a:rPr lang="en-US" dirty="0"/>
                <a:t>Active Directory </a:t>
              </a:r>
            </a:p>
            <a:p>
              <a:pPr algn="ctr"/>
              <a:r>
                <a:rPr lang="en-US" dirty="0"/>
                <a:t>(AAD)</a:t>
              </a:r>
            </a:p>
          </p:txBody>
        </p:sp>
      </p:grpSp>
      <p:grpSp>
        <p:nvGrpSpPr>
          <p:cNvPr id="15" name="Group 14">
            <a:extLst>
              <a:ext uri="{FF2B5EF4-FFF2-40B4-BE49-F238E27FC236}">
                <a16:creationId xmlns:a16="http://schemas.microsoft.com/office/drawing/2014/main" id="{DF4852CC-5272-4708-B1F7-44108ADAD844}"/>
              </a:ext>
            </a:extLst>
          </p:cNvPr>
          <p:cNvGrpSpPr/>
          <p:nvPr/>
        </p:nvGrpSpPr>
        <p:grpSpPr>
          <a:xfrm>
            <a:off x="5039025" y="2751266"/>
            <a:ext cx="2366929" cy="2041177"/>
            <a:chOff x="5039025" y="2751266"/>
            <a:chExt cx="2366929" cy="2041177"/>
          </a:xfrm>
        </p:grpSpPr>
        <p:pic>
          <p:nvPicPr>
            <p:cNvPr id="11" name="Picture 10">
              <a:extLst>
                <a:ext uri="{FF2B5EF4-FFF2-40B4-BE49-F238E27FC236}">
                  <a16:creationId xmlns:a16="http://schemas.microsoft.com/office/drawing/2014/main" id="{3954A8B0-94A4-4DC9-B6C2-E181531A7C9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59550" y="2751266"/>
              <a:ext cx="1325881" cy="1325881"/>
            </a:xfrm>
            <a:prstGeom prst="rect">
              <a:avLst/>
            </a:prstGeom>
          </p:spPr>
        </p:pic>
        <p:sp>
          <p:nvSpPr>
            <p:cNvPr id="12" name="TextBox 11">
              <a:extLst>
                <a:ext uri="{FF2B5EF4-FFF2-40B4-BE49-F238E27FC236}">
                  <a16:creationId xmlns:a16="http://schemas.microsoft.com/office/drawing/2014/main" id="{5EE94626-63FA-4A30-974E-EBA4202D16C7}"/>
                </a:ext>
              </a:extLst>
            </p:cNvPr>
            <p:cNvSpPr txBox="1"/>
            <p:nvPr/>
          </p:nvSpPr>
          <p:spPr>
            <a:xfrm>
              <a:off x="5039025" y="4146112"/>
              <a:ext cx="2366929" cy="646331"/>
            </a:xfrm>
            <a:prstGeom prst="rect">
              <a:avLst/>
            </a:prstGeom>
            <a:noFill/>
          </p:spPr>
          <p:txBody>
            <a:bodyPr wrap="square" rtlCol="0">
              <a:spAutoFit/>
            </a:bodyPr>
            <a:lstStyle/>
            <a:p>
              <a:pPr algn="ctr"/>
              <a:r>
                <a:rPr lang="en-US" dirty="0"/>
                <a:t>Azure </a:t>
              </a:r>
            </a:p>
            <a:p>
              <a:pPr algn="ctr"/>
              <a:r>
                <a:rPr lang="en-US" dirty="0"/>
                <a:t>AD Connect</a:t>
              </a:r>
            </a:p>
          </p:txBody>
        </p:sp>
      </p:grpSp>
      <p:cxnSp>
        <p:nvCxnSpPr>
          <p:cNvPr id="17" name="Straight Arrow Connector 16">
            <a:extLst>
              <a:ext uri="{FF2B5EF4-FFF2-40B4-BE49-F238E27FC236}">
                <a16:creationId xmlns:a16="http://schemas.microsoft.com/office/drawing/2014/main" id="{0FAF2450-EEB2-4BDF-BC56-4C76412AE464}"/>
              </a:ext>
            </a:extLst>
          </p:cNvPr>
          <p:cNvCxnSpPr>
            <a:stCxn id="5" idx="3"/>
            <a:endCxn id="11" idx="1"/>
          </p:cNvCxnSpPr>
          <p:nvPr/>
        </p:nvCxnSpPr>
        <p:spPr>
          <a:xfrm flipV="1">
            <a:off x="3292201" y="3414207"/>
            <a:ext cx="2267349" cy="1479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30E55EE-7C48-4C6B-BF5D-66724280E540}"/>
              </a:ext>
            </a:extLst>
          </p:cNvPr>
          <p:cNvCxnSpPr>
            <a:stCxn id="11" idx="3"/>
            <a:endCxn id="4" idx="1"/>
          </p:cNvCxnSpPr>
          <p:nvPr/>
        </p:nvCxnSpPr>
        <p:spPr>
          <a:xfrm flipV="1">
            <a:off x="6885431" y="3402645"/>
            <a:ext cx="2999231" cy="1156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itle 19">
            <a:extLst>
              <a:ext uri="{FF2B5EF4-FFF2-40B4-BE49-F238E27FC236}">
                <a16:creationId xmlns:a16="http://schemas.microsoft.com/office/drawing/2014/main" id="{4DE02BCA-B351-4853-BCC2-0B23A58778E7}"/>
              </a:ext>
            </a:extLst>
          </p:cNvPr>
          <p:cNvSpPr>
            <a:spLocks noGrp="1"/>
          </p:cNvSpPr>
          <p:nvPr>
            <p:ph type="title"/>
          </p:nvPr>
        </p:nvSpPr>
        <p:spPr/>
        <p:txBody>
          <a:bodyPr/>
          <a:lstStyle/>
          <a:p>
            <a:r>
              <a:rPr lang="en-US" dirty="0"/>
              <a:t>Lab Architecture</a:t>
            </a:r>
          </a:p>
        </p:txBody>
      </p:sp>
    </p:spTree>
    <p:extLst>
      <p:ext uri="{BB962C8B-B14F-4D97-AF65-F5344CB8AC3E}">
        <p14:creationId xmlns:p14="http://schemas.microsoft.com/office/powerpoint/2010/main" val="2358929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0" presetClass="entr" presetSubtype="0" fill="hold" nodeType="withEffect">
                                  <p:stCondLst>
                                    <p:cond delay="15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150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p:txBody>
          <a:bodyPr/>
          <a:lstStyle/>
          <a:p>
            <a:r>
              <a:rPr lang="en-US" dirty="0"/>
              <a:t>Hybrid Identity Overview</a:t>
            </a:r>
          </a:p>
        </p:txBody>
      </p:sp>
    </p:spTree>
    <p:extLst>
      <p:ext uri="{BB962C8B-B14F-4D97-AF65-F5344CB8AC3E}">
        <p14:creationId xmlns:p14="http://schemas.microsoft.com/office/powerpoint/2010/main" val="62238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lgn="ctr"/>
            <a:r>
              <a:rPr lang="en-US" dirty="0"/>
              <a:t>Identity as the Control Plane</a:t>
            </a:r>
          </a:p>
        </p:txBody>
      </p:sp>
      <p:sp>
        <p:nvSpPr>
          <p:cNvPr id="352" name="TextBox 351">
            <a:extLst>
              <a:ext uri="{FF2B5EF4-FFF2-40B4-BE49-F238E27FC236}">
                <a16:creationId xmlns:a16="http://schemas.microsoft.com/office/drawing/2014/main" id="{0D2499E1-0A61-43A6-A415-8D6FC737503A}"/>
              </a:ext>
            </a:extLst>
          </p:cNvPr>
          <p:cNvSpPr txBox="1"/>
          <p:nvPr/>
        </p:nvSpPr>
        <p:spPr>
          <a:xfrm>
            <a:off x="6782528" y="6017202"/>
            <a:ext cx="968276" cy="656659"/>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t>BYO</a:t>
            </a:r>
          </a:p>
        </p:txBody>
      </p:sp>
      <p:sp>
        <p:nvSpPr>
          <p:cNvPr id="353" name="Freeform 280">
            <a:extLst>
              <a:ext uri="{FF2B5EF4-FFF2-40B4-BE49-F238E27FC236}">
                <a16:creationId xmlns:a16="http://schemas.microsoft.com/office/drawing/2014/main" id="{79D89F4C-493D-4DD5-A4A1-D346ED1E3EDB}"/>
              </a:ext>
            </a:extLst>
          </p:cNvPr>
          <p:cNvSpPr/>
          <p:nvPr/>
        </p:nvSpPr>
        <p:spPr bwMode="auto">
          <a:xfrm>
            <a:off x="833926" y="4052302"/>
            <a:ext cx="3479818" cy="199360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cs typeface="Segoe UI" pitchFamily="34" charset="0"/>
            </a:endParaRPr>
          </a:p>
        </p:txBody>
      </p:sp>
      <p:sp>
        <p:nvSpPr>
          <p:cNvPr id="354" name="Rectangle 353">
            <a:extLst>
              <a:ext uri="{FF2B5EF4-FFF2-40B4-BE49-F238E27FC236}">
                <a16:creationId xmlns:a16="http://schemas.microsoft.com/office/drawing/2014/main" id="{78FB57B6-C3C5-44C1-909F-AD1036318BCD}"/>
              </a:ext>
            </a:extLst>
          </p:cNvPr>
          <p:cNvSpPr/>
          <p:nvPr/>
        </p:nvSpPr>
        <p:spPr>
          <a:xfrm>
            <a:off x="1901997" y="4622581"/>
            <a:ext cx="1996810" cy="9655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Windows Server</a:t>
            </a:r>
          </a:p>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Active Directory</a:t>
            </a:r>
          </a:p>
        </p:txBody>
      </p:sp>
      <p:pic>
        <p:nvPicPr>
          <p:cNvPr id="355" name="Picture 354">
            <a:extLst>
              <a:ext uri="{FF2B5EF4-FFF2-40B4-BE49-F238E27FC236}">
                <a16:creationId xmlns:a16="http://schemas.microsoft.com/office/drawing/2014/main" id="{C8D9781C-6E72-4D8B-985D-0883D13B90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96715" y="4146188"/>
            <a:ext cx="966683" cy="639917"/>
          </a:xfrm>
          <a:prstGeom prst="rect">
            <a:avLst/>
          </a:prstGeom>
        </p:spPr>
      </p:pic>
      <p:sp>
        <p:nvSpPr>
          <p:cNvPr id="356" name="Rectangle 355">
            <a:extLst>
              <a:ext uri="{FF2B5EF4-FFF2-40B4-BE49-F238E27FC236}">
                <a16:creationId xmlns:a16="http://schemas.microsoft.com/office/drawing/2014/main" id="{B70158F3-6A9E-4525-AACA-FC145546F3B5}"/>
              </a:ext>
            </a:extLst>
          </p:cNvPr>
          <p:cNvSpPr/>
          <p:nvPr/>
        </p:nvSpPr>
        <p:spPr bwMode="auto">
          <a:xfrm>
            <a:off x="2273290" y="4693762"/>
            <a:ext cx="1593415" cy="1402048"/>
          </a:xfrm>
          <a:prstGeom prst="rect">
            <a:avLst/>
          </a:prstGeom>
          <a:noFill/>
        </p:spPr>
        <p:txBody>
          <a:bodyPr wrap="none" lIns="175761" tIns="140609" rIns="175761" bIns="140609" rtlCol="0">
            <a:spAutoFit/>
          </a:bodyPr>
          <a:lstStyle/>
          <a:p>
            <a:pPr defTabSz="878727">
              <a:lnSpc>
                <a:spcPct val="90000"/>
              </a:lnSpc>
              <a:spcAft>
                <a:spcPts val="576"/>
              </a:spcAft>
              <a:defRPr/>
            </a:pPr>
            <a:b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t>On-</a:t>
            </a:r>
            <a:b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t>premises</a:t>
            </a:r>
          </a:p>
        </p:txBody>
      </p:sp>
      <p:cxnSp>
        <p:nvCxnSpPr>
          <p:cNvPr id="386" name="Straight Arrow Connector 385">
            <a:extLst>
              <a:ext uri="{FF2B5EF4-FFF2-40B4-BE49-F238E27FC236}">
                <a16:creationId xmlns:a16="http://schemas.microsoft.com/office/drawing/2014/main" id="{21C72CB4-91EC-4045-B901-409B6B5F5890}"/>
              </a:ext>
            </a:extLst>
          </p:cNvPr>
          <p:cNvCxnSpPr>
            <a:cxnSpLocks/>
          </p:cNvCxnSpPr>
          <p:nvPr/>
        </p:nvCxnSpPr>
        <p:spPr>
          <a:xfrm flipH="1" flipV="1">
            <a:off x="7847522" y="3320793"/>
            <a:ext cx="841932" cy="281667"/>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387" name="Straight Arrow Connector 386">
            <a:extLst>
              <a:ext uri="{FF2B5EF4-FFF2-40B4-BE49-F238E27FC236}">
                <a16:creationId xmlns:a16="http://schemas.microsoft.com/office/drawing/2014/main" id="{D5DC296B-17AD-43F9-B2FF-8A1C6A93652C}"/>
              </a:ext>
            </a:extLst>
          </p:cNvPr>
          <p:cNvCxnSpPr>
            <a:cxnSpLocks/>
            <a:stCxn id="410" idx="5"/>
          </p:cNvCxnSpPr>
          <p:nvPr/>
        </p:nvCxnSpPr>
        <p:spPr>
          <a:xfrm flipV="1">
            <a:off x="7938805" y="2937597"/>
            <a:ext cx="602452" cy="85135"/>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388" name="Straight Connector 387">
            <a:extLst>
              <a:ext uri="{FF2B5EF4-FFF2-40B4-BE49-F238E27FC236}">
                <a16:creationId xmlns:a16="http://schemas.microsoft.com/office/drawing/2014/main" id="{F2489C0C-F6CF-402E-A8A0-510C95C8E3FD}"/>
              </a:ext>
            </a:extLst>
          </p:cNvPr>
          <p:cNvCxnSpPr>
            <a:cxnSpLocks/>
            <a:endCxn id="353" idx="5"/>
          </p:cNvCxnSpPr>
          <p:nvPr/>
        </p:nvCxnSpPr>
        <p:spPr>
          <a:xfrm flipH="1">
            <a:off x="3443790" y="3687650"/>
            <a:ext cx="2560390" cy="1361455"/>
          </a:xfrm>
          <a:prstGeom prst="line">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389" name="Group 388">
            <a:extLst>
              <a:ext uri="{FF2B5EF4-FFF2-40B4-BE49-F238E27FC236}">
                <a16:creationId xmlns:a16="http://schemas.microsoft.com/office/drawing/2014/main" id="{33371621-DC8D-4318-AAF4-B7E8D2ADE7EA}"/>
              </a:ext>
            </a:extLst>
          </p:cNvPr>
          <p:cNvGrpSpPr/>
          <p:nvPr/>
        </p:nvGrpSpPr>
        <p:grpSpPr>
          <a:xfrm>
            <a:off x="8665402" y="1652053"/>
            <a:ext cx="2673703" cy="1520695"/>
            <a:chOff x="8839161" y="1241998"/>
            <a:chExt cx="2727316" cy="1551188"/>
          </a:xfrm>
        </p:grpSpPr>
        <p:pic>
          <p:nvPicPr>
            <p:cNvPr id="391" name="Picture 390">
              <a:extLst>
                <a:ext uri="{FF2B5EF4-FFF2-40B4-BE49-F238E27FC236}">
                  <a16:creationId xmlns:a16="http://schemas.microsoft.com/office/drawing/2014/main" id="{3ED76A16-7694-45C8-AA3E-F22254BBE3A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96025" y="1468310"/>
              <a:ext cx="715534" cy="233432"/>
            </a:xfrm>
            <a:prstGeom prst="rect">
              <a:avLst/>
            </a:prstGeom>
          </p:spPr>
        </p:pic>
        <p:grpSp>
          <p:nvGrpSpPr>
            <p:cNvPr id="392" name="Group 391">
              <a:extLst>
                <a:ext uri="{FF2B5EF4-FFF2-40B4-BE49-F238E27FC236}">
                  <a16:creationId xmlns:a16="http://schemas.microsoft.com/office/drawing/2014/main" id="{22B7833B-8464-4099-AFA6-0994E5552344}"/>
                </a:ext>
              </a:extLst>
            </p:cNvPr>
            <p:cNvGrpSpPr/>
            <p:nvPr/>
          </p:nvGrpSpPr>
          <p:grpSpPr>
            <a:xfrm>
              <a:off x="8839161" y="2515054"/>
              <a:ext cx="551963" cy="278132"/>
              <a:chOff x="10788478" y="2276711"/>
              <a:chExt cx="452150" cy="227837"/>
            </a:xfrm>
          </p:grpSpPr>
          <p:sp>
            <p:nvSpPr>
              <p:cNvPr id="400" name="Freeform 299">
                <a:extLst>
                  <a:ext uri="{FF2B5EF4-FFF2-40B4-BE49-F238E27FC236}">
                    <a16:creationId xmlns:a16="http://schemas.microsoft.com/office/drawing/2014/main" id="{D3C2AB5F-3B5A-4243-919E-8EAE4DEE3DCF}"/>
                  </a:ext>
                </a:extLst>
              </p:cNvPr>
              <p:cNvSpPr/>
              <p:nvPr/>
            </p:nvSpPr>
            <p:spPr bwMode="auto">
              <a:xfrm>
                <a:off x="10788478" y="2289155"/>
                <a:ext cx="374248" cy="197582"/>
              </a:xfrm>
              <a:custGeom>
                <a:avLst/>
                <a:gdLst>
                  <a:gd name="connsiteX0" fmla="*/ 0 w 374248"/>
                  <a:gd name="connsiteY0" fmla="*/ 0 h 197582"/>
                  <a:gd name="connsiteX1" fmla="*/ 374248 w 374248"/>
                  <a:gd name="connsiteY1" fmla="*/ 0 h 197582"/>
                  <a:gd name="connsiteX2" fmla="*/ 374248 w 374248"/>
                  <a:gd name="connsiteY2" fmla="*/ 56976 h 197582"/>
                  <a:gd name="connsiteX3" fmla="*/ 233820 w 374248"/>
                  <a:gd name="connsiteY3" fmla="*/ 197582 h 197582"/>
                  <a:gd name="connsiteX4" fmla="*/ 0 w 374248"/>
                  <a:gd name="connsiteY4" fmla="*/ 197582 h 19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48" h="197582">
                    <a:moveTo>
                      <a:pt x="0" y="0"/>
                    </a:moveTo>
                    <a:lnTo>
                      <a:pt x="374248" y="0"/>
                    </a:lnTo>
                    <a:lnTo>
                      <a:pt x="374248" y="56976"/>
                    </a:lnTo>
                    <a:lnTo>
                      <a:pt x="233820" y="197582"/>
                    </a:lnTo>
                    <a:lnTo>
                      <a:pt x="0" y="197582"/>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01" name="Picture 400">
                <a:extLst>
                  <a:ext uri="{FF2B5EF4-FFF2-40B4-BE49-F238E27FC236}">
                    <a16:creationId xmlns:a16="http://schemas.microsoft.com/office/drawing/2014/main" id="{C59F1740-3E76-41B8-B983-B3AA1712D37D}"/>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88739" y="2276711"/>
                <a:ext cx="451889" cy="227837"/>
              </a:xfrm>
              <a:prstGeom prst="rect">
                <a:avLst/>
              </a:prstGeom>
            </p:spPr>
          </p:pic>
        </p:grpSp>
        <p:pic>
          <p:nvPicPr>
            <p:cNvPr id="393" name="Picture 392">
              <a:extLst>
                <a:ext uri="{FF2B5EF4-FFF2-40B4-BE49-F238E27FC236}">
                  <a16:creationId xmlns:a16="http://schemas.microsoft.com/office/drawing/2014/main" id="{A50C61B2-62EA-4AF3-A3C1-3D3AD1492E4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73058" y="2305805"/>
              <a:ext cx="393419" cy="393419"/>
            </a:xfrm>
            <a:prstGeom prst="rect">
              <a:avLst/>
            </a:prstGeom>
          </p:spPr>
        </p:pic>
        <p:pic>
          <p:nvPicPr>
            <p:cNvPr id="394" name="Picture 393">
              <a:extLst>
                <a:ext uri="{FF2B5EF4-FFF2-40B4-BE49-F238E27FC236}">
                  <a16:creationId xmlns:a16="http://schemas.microsoft.com/office/drawing/2014/main" id="{DA7C6132-E2D0-4889-9419-CC90ABA9723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05108" y="1766797"/>
              <a:ext cx="772261" cy="206794"/>
            </a:xfrm>
            <a:prstGeom prst="rect">
              <a:avLst/>
            </a:prstGeom>
          </p:spPr>
        </p:pic>
        <p:pic>
          <p:nvPicPr>
            <p:cNvPr id="395" name="Picture 394">
              <a:extLst>
                <a:ext uri="{FF2B5EF4-FFF2-40B4-BE49-F238E27FC236}">
                  <a16:creationId xmlns:a16="http://schemas.microsoft.com/office/drawing/2014/main" id="{FE43BE73-FA34-4505-AFFA-813A2708DA9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52948" y="1241998"/>
              <a:ext cx="732270" cy="167077"/>
            </a:xfrm>
            <a:prstGeom prst="rect">
              <a:avLst/>
            </a:prstGeom>
            <a:noFill/>
          </p:spPr>
        </p:pic>
        <p:pic>
          <p:nvPicPr>
            <p:cNvPr id="396" name="Picture 395">
              <a:extLst>
                <a:ext uri="{FF2B5EF4-FFF2-40B4-BE49-F238E27FC236}">
                  <a16:creationId xmlns:a16="http://schemas.microsoft.com/office/drawing/2014/main" id="{265C3EC2-7919-45E8-B0A6-2C2CF8AAC2D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838220" y="2065380"/>
              <a:ext cx="652959" cy="220854"/>
            </a:xfrm>
            <a:prstGeom prst="rect">
              <a:avLst/>
            </a:prstGeom>
          </p:spPr>
        </p:pic>
        <p:sp>
          <p:nvSpPr>
            <p:cNvPr id="397" name="TextBox 396">
              <a:extLst>
                <a:ext uri="{FF2B5EF4-FFF2-40B4-BE49-F238E27FC236}">
                  <a16:creationId xmlns:a16="http://schemas.microsoft.com/office/drawing/2014/main" id="{A1CE5634-4C1C-402B-A3F5-1811E232AA5F}"/>
                </a:ext>
              </a:extLst>
            </p:cNvPr>
            <p:cNvSpPr txBox="1"/>
            <p:nvPr/>
          </p:nvSpPr>
          <p:spPr>
            <a:xfrm>
              <a:off x="8889803" y="2106437"/>
              <a:ext cx="641008" cy="221600"/>
            </a:xfrm>
            <a:prstGeom prst="rect">
              <a:avLst/>
            </a:prstGeom>
          </p:spPr>
          <p:txBody>
            <a:bodyPr wrap="square" lIns="0" tIns="0" rIns="0" bIns="0" rtlCol="0">
              <a:spAutoFit/>
            </a:bodyPr>
            <a:lstStyle/>
            <a:p>
              <a:pP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Azure</a:t>
              </a:r>
            </a:p>
          </p:txBody>
        </p:sp>
        <p:sp>
          <p:nvSpPr>
            <p:cNvPr id="398" name="Freeform 5">
              <a:extLst>
                <a:ext uri="{FF2B5EF4-FFF2-40B4-BE49-F238E27FC236}">
                  <a16:creationId xmlns:a16="http://schemas.microsoft.com/office/drawing/2014/main" id="{F84F272F-B5BC-4FF0-9882-39AC3547A964}"/>
                </a:ext>
              </a:extLst>
            </p:cNvPr>
            <p:cNvSpPr>
              <a:spLocks noChangeAspect="1" noEditPoints="1"/>
            </p:cNvSpPr>
            <p:nvPr/>
          </p:nvSpPr>
          <p:spPr bwMode="black">
            <a:xfrm>
              <a:off x="10269335" y="1501970"/>
              <a:ext cx="782564" cy="173038"/>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83B01"/>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sp>
          <p:nvSpPr>
            <p:cNvPr id="399" name="TextBox 398">
              <a:extLst>
                <a:ext uri="{FF2B5EF4-FFF2-40B4-BE49-F238E27FC236}">
                  <a16:creationId xmlns:a16="http://schemas.microsoft.com/office/drawing/2014/main" id="{CD102974-90AC-44E6-9D6C-7CA12C1FA021}"/>
                </a:ext>
              </a:extLst>
            </p:cNvPr>
            <p:cNvSpPr txBox="1"/>
            <p:nvPr/>
          </p:nvSpPr>
          <p:spPr>
            <a:xfrm>
              <a:off x="9007702" y="1778921"/>
              <a:ext cx="1315794" cy="221599"/>
            </a:xfrm>
            <a:prstGeom prst="rect">
              <a:avLst/>
            </a:prstGeom>
          </p:spPr>
          <p:txBody>
            <a:bodyPr wrap="square" lIns="0" tIns="0" rIns="0" bIns="0" rtlCol="0">
              <a:spAutoFit/>
            </a:bodyPr>
            <a:lstStyle/>
            <a:p>
              <a:pP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Public cloud</a:t>
              </a:r>
            </a:p>
          </p:txBody>
        </p:sp>
      </p:grpSp>
      <p:cxnSp>
        <p:nvCxnSpPr>
          <p:cNvPr id="402" name="Straight Arrow Connector 401">
            <a:extLst>
              <a:ext uri="{FF2B5EF4-FFF2-40B4-BE49-F238E27FC236}">
                <a16:creationId xmlns:a16="http://schemas.microsoft.com/office/drawing/2014/main" id="{EC15CD84-8D28-48E5-A61C-8E82B84910B0}"/>
              </a:ext>
            </a:extLst>
          </p:cNvPr>
          <p:cNvCxnSpPr>
            <a:cxnSpLocks/>
          </p:cNvCxnSpPr>
          <p:nvPr/>
        </p:nvCxnSpPr>
        <p:spPr>
          <a:xfrm flipV="1">
            <a:off x="7764374" y="2251400"/>
            <a:ext cx="948903" cy="359936"/>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3" name="Straight Connector 402">
            <a:extLst>
              <a:ext uri="{FF2B5EF4-FFF2-40B4-BE49-F238E27FC236}">
                <a16:creationId xmlns:a16="http://schemas.microsoft.com/office/drawing/2014/main" id="{1AD74E3F-AF21-453D-BC4D-8252D5A9FBEB}"/>
              </a:ext>
            </a:extLst>
          </p:cNvPr>
          <p:cNvCxnSpPr>
            <a:cxnSpLocks/>
            <a:endCxn id="412" idx="0"/>
          </p:cNvCxnSpPr>
          <p:nvPr/>
        </p:nvCxnSpPr>
        <p:spPr>
          <a:xfrm>
            <a:off x="7083706" y="3602460"/>
            <a:ext cx="182960" cy="485552"/>
          </a:xfrm>
          <a:prstGeom prst="line">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4" name="Straight Arrow Connector 403">
            <a:extLst>
              <a:ext uri="{FF2B5EF4-FFF2-40B4-BE49-F238E27FC236}">
                <a16:creationId xmlns:a16="http://schemas.microsoft.com/office/drawing/2014/main" id="{7564873B-1E7A-40C1-AA17-71D725727AA5}"/>
              </a:ext>
            </a:extLst>
          </p:cNvPr>
          <p:cNvCxnSpPr>
            <a:cxnSpLocks/>
          </p:cNvCxnSpPr>
          <p:nvPr/>
        </p:nvCxnSpPr>
        <p:spPr>
          <a:xfrm>
            <a:off x="3443789" y="3022732"/>
            <a:ext cx="1724661" cy="278653"/>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sp>
        <p:nvSpPr>
          <p:cNvPr id="405" name="Freeform 20">
            <a:extLst>
              <a:ext uri="{FF2B5EF4-FFF2-40B4-BE49-F238E27FC236}">
                <a16:creationId xmlns:a16="http://schemas.microsoft.com/office/drawing/2014/main" id="{55283967-7C53-4D4A-B694-987DAE88F1BA}"/>
              </a:ext>
            </a:extLst>
          </p:cNvPr>
          <p:cNvSpPr>
            <a:spLocks noEditPoints="1"/>
          </p:cNvSpPr>
          <p:nvPr/>
        </p:nvSpPr>
        <p:spPr bwMode="auto">
          <a:xfrm>
            <a:off x="6893406" y="6337981"/>
            <a:ext cx="401430" cy="397820"/>
          </a:xfrm>
          <a:custGeom>
            <a:avLst/>
            <a:gdLst>
              <a:gd name="T0" fmla="*/ 0 w 235"/>
              <a:gd name="T1" fmla="*/ 0 h 231"/>
              <a:gd name="T2" fmla="*/ 0 w 235"/>
              <a:gd name="T3" fmla="*/ 0 h 231"/>
              <a:gd name="T4" fmla="*/ 0 w 235"/>
              <a:gd name="T5" fmla="*/ 231 h 231"/>
              <a:gd name="T6" fmla="*/ 0 w 235"/>
              <a:gd name="T7" fmla="*/ 0 h 231"/>
              <a:gd name="T8" fmla="*/ 0 w 235"/>
              <a:gd name="T9" fmla="*/ 0 h 231"/>
              <a:gd name="T10" fmla="*/ 0 w 235"/>
              <a:gd name="T11" fmla="*/ 0 h 231"/>
              <a:gd name="T12" fmla="*/ 235 w 235"/>
              <a:gd name="T13" fmla="*/ 0 h 231"/>
              <a:gd name="T14" fmla="*/ 205 w 235"/>
              <a:gd name="T15" fmla="*/ 0 h 231"/>
              <a:gd name="T16" fmla="*/ 0 w 235"/>
              <a:gd name="T17" fmla="*/ 0 h 231"/>
              <a:gd name="T18" fmla="*/ 0 w 235"/>
              <a:gd name="T19" fmla="*/ 0 h 231"/>
              <a:gd name="T20" fmla="*/ 235 w 235"/>
              <a:gd name="T21" fmla="*/ 0 h 231"/>
              <a:gd name="T22" fmla="*/ 235 w 235"/>
              <a:gd name="T2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1">
                <a:moveTo>
                  <a:pt x="0" y="0"/>
                </a:moveTo>
                <a:cubicBezTo>
                  <a:pt x="0" y="0"/>
                  <a:pt x="0" y="0"/>
                  <a:pt x="0" y="0"/>
                </a:cubicBezTo>
                <a:cubicBezTo>
                  <a:pt x="0" y="231"/>
                  <a:pt x="0" y="231"/>
                  <a:pt x="0" y="231"/>
                </a:cubicBezTo>
                <a:cubicBezTo>
                  <a:pt x="0" y="20"/>
                  <a:pt x="0" y="1"/>
                  <a:pt x="0" y="0"/>
                </a:cubicBezTo>
                <a:cubicBezTo>
                  <a:pt x="0" y="0"/>
                  <a:pt x="0" y="0"/>
                  <a:pt x="0" y="0"/>
                </a:cubicBezTo>
                <a:cubicBezTo>
                  <a:pt x="0" y="0"/>
                  <a:pt x="0" y="0"/>
                  <a:pt x="0" y="0"/>
                </a:cubicBezTo>
                <a:moveTo>
                  <a:pt x="235" y="0"/>
                </a:moveTo>
                <a:cubicBezTo>
                  <a:pt x="205" y="0"/>
                  <a:pt x="205" y="0"/>
                  <a:pt x="205" y="0"/>
                </a:cubicBezTo>
                <a:cubicBezTo>
                  <a:pt x="0" y="0"/>
                  <a:pt x="0" y="0"/>
                  <a:pt x="0" y="0"/>
                </a:cubicBezTo>
                <a:cubicBezTo>
                  <a:pt x="0" y="0"/>
                  <a:pt x="0" y="0"/>
                  <a:pt x="0" y="0"/>
                </a:cubicBezTo>
                <a:cubicBezTo>
                  <a:pt x="102"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5337" fontAlgn="base">
              <a:spcBef>
                <a:spcPct val="0"/>
              </a:spcBef>
              <a:spcAft>
                <a:spcPct val="0"/>
              </a:spcAft>
              <a:defRPr/>
            </a:pPr>
            <a:endParaRPr lang="en-US" sz="1730" dirty="0">
              <a:solidFill>
                <a:srgbClr val="505050"/>
              </a:solidFill>
              <a:latin typeface="Segoe UI"/>
              <a:ea typeface="ＭＳ Ｐゴシック" charset="0"/>
            </a:endParaRPr>
          </a:p>
        </p:txBody>
      </p:sp>
      <p:grpSp>
        <p:nvGrpSpPr>
          <p:cNvPr id="406" name="Group 405">
            <a:extLst>
              <a:ext uri="{FF2B5EF4-FFF2-40B4-BE49-F238E27FC236}">
                <a16:creationId xmlns:a16="http://schemas.microsoft.com/office/drawing/2014/main" id="{807D0E74-0CCF-4D9D-A69D-CD8891FD6E58}"/>
              </a:ext>
            </a:extLst>
          </p:cNvPr>
          <p:cNvGrpSpPr/>
          <p:nvPr/>
        </p:nvGrpSpPr>
        <p:grpSpPr>
          <a:xfrm>
            <a:off x="6552379" y="5157956"/>
            <a:ext cx="1566379" cy="398207"/>
            <a:chOff x="9485283" y="4970832"/>
            <a:chExt cx="1597788" cy="406192"/>
          </a:xfrm>
        </p:grpSpPr>
        <p:pic>
          <p:nvPicPr>
            <p:cNvPr id="407" name="Picture 406">
              <a:extLst>
                <a:ext uri="{FF2B5EF4-FFF2-40B4-BE49-F238E27FC236}">
                  <a16:creationId xmlns:a16="http://schemas.microsoft.com/office/drawing/2014/main" id="{55016AAE-8A4D-4D15-B04E-A27D717A983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899405" y="5193358"/>
              <a:ext cx="183666" cy="183666"/>
            </a:xfrm>
            <a:prstGeom prst="rect">
              <a:avLst/>
            </a:prstGeom>
          </p:spPr>
        </p:pic>
        <p:pic>
          <p:nvPicPr>
            <p:cNvPr id="408" name="Picture 407">
              <a:extLst>
                <a:ext uri="{FF2B5EF4-FFF2-40B4-BE49-F238E27FC236}">
                  <a16:creationId xmlns:a16="http://schemas.microsoft.com/office/drawing/2014/main" id="{D4F1A912-9BE9-427B-BF24-E278D644FF0A}"/>
                </a:ext>
              </a:extLst>
            </p:cNvPr>
            <p:cNvPicPr>
              <a:picLocks noChangeAspect="1"/>
            </p:cNvPicPr>
            <p:nvPr/>
          </p:nvPicPr>
          <p:blipFill>
            <a:blip r:embed="rId11" cstate="print">
              <a:duotone>
                <a:srgbClr val="737373">
                  <a:shade val="45000"/>
                  <a:satMod val="135000"/>
                </a:srgbClr>
                <a:prstClr val="white"/>
              </a:duotone>
              <a:extLst>
                <a:ext uri="{28A0092B-C50C-407E-A947-70E740481C1C}">
                  <a14:useLocalDpi xmlns:a14="http://schemas.microsoft.com/office/drawing/2010/main" val="0"/>
                </a:ext>
              </a:extLst>
            </a:blip>
            <a:stretch>
              <a:fillRect/>
            </a:stretch>
          </p:blipFill>
          <p:spPr>
            <a:xfrm>
              <a:off x="9485283" y="5148990"/>
              <a:ext cx="185763" cy="215949"/>
            </a:xfrm>
            <a:prstGeom prst="rect">
              <a:avLst/>
            </a:prstGeom>
          </p:spPr>
        </p:pic>
        <p:sp>
          <p:nvSpPr>
            <p:cNvPr id="409" name="Freeform 505">
              <a:extLst>
                <a:ext uri="{FF2B5EF4-FFF2-40B4-BE49-F238E27FC236}">
                  <a16:creationId xmlns:a16="http://schemas.microsoft.com/office/drawing/2014/main" id="{3BB348AC-ECA6-4048-B621-6F0B4CB39ADA}"/>
                </a:ext>
              </a:extLst>
            </p:cNvPr>
            <p:cNvSpPr>
              <a:spLocks noChangeAspect="1" noEditPoints="1"/>
            </p:cNvSpPr>
            <p:nvPr/>
          </p:nvSpPr>
          <p:spPr bwMode="black">
            <a:xfrm>
              <a:off x="10216140" y="4970832"/>
              <a:ext cx="278743" cy="27761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FFFFFF"/>
                </a:solidFill>
                <a:latin typeface="Segoe UI"/>
              </a:endParaRPr>
            </a:p>
          </p:txBody>
        </p:sp>
      </p:grpSp>
      <p:sp>
        <p:nvSpPr>
          <p:cNvPr id="410" name="Freeform: Shape 409">
            <a:extLst>
              <a:ext uri="{FF2B5EF4-FFF2-40B4-BE49-F238E27FC236}">
                <a16:creationId xmlns:a16="http://schemas.microsoft.com/office/drawing/2014/main" id="{9FE01841-9E93-4AC0-9B2B-39D109C64EB2}"/>
              </a:ext>
            </a:extLst>
          </p:cNvPr>
          <p:cNvSpPr/>
          <p:nvPr/>
        </p:nvSpPr>
        <p:spPr bwMode="auto">
          <a:xfrm>
            <a:off x="5267232" y="2102546"/>
            <a:ext cx="2671573" cy="147451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745"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1" name="MS cloud text">
            <a:extLst>
              <a:ext uri="{FF2B5EF4-FFF2-40B4-BE49-F238E27FC236}">
                <a16:creationId xmlns:a16="http://schemas.microsoft.com/office/drawing/2014/main" id="{41BE1208-EA6F-4200-BECF-5F49EB321931}"/>
              </a:ext>
            </a:extLst>
          </p:cNvPr>
          <p:cNvSpPr txBox="1">
            <a:spLocks/>
          </p:cNvSpPr>
          <p:nvPr/>
        </p:nvSpPr>
        <p:spPr>
          <a:xfrm>
            <a:off x="5487329" y="2696670"/>
            <a:ext cx="2344844" cy="399809"/>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86">
              <a:defRPr/>
            </a:pPr>
            <a:r>
              <a:rPr lang="en-US" sz="1961" kern="0" spc="0">
                <a:solidFill>
                  <a:srgbClr val="002050"/>
                </a:solidFill>
                <a:latin typeface="Segoe UI Semilight"/>
                <a:cs typeface="Segoe UI Semilight" panose="020B0402040204020203" pitchFamily="34" charset="0"/>
              </a:rPr>
              <a:t>Azure </a:t>
            </a:r>
            <a:br>
              <a:rPr lang="en-US" sz="1961" kern="0" spc="0">
                <a:solidFill>
                  <a:srgbClr val="002050"/>
                </a:solidFill>
                <a:latin typeface="Segoe UI Semilight"/>
                <a:cs typeface="Segoe UI Semilight" panose="020B0402040204020203" pitchFamily="34" charset="0"/>
              </a:rPr>
            </a:br>
            <a:r>
              <a:rPr lang="en-US" sz="1961" kern="0" spc="0">
                <a:solidFill>
                  <a:srgbClr val="002050"/>
                </a:solidFill>
                <a:latin typeface="Segoe UI Semilight"/>
                <a:cs typeface="Segoe UI Semilight" panose="020B0402040204020203" pitchFamily="34" charset="0"/>
              </a:rPr>
              <a:t>Active Directory</a:t>
            </a:r>
          </a:p>
        </p:txBody>
      </p:sp>
      <p:sp>
        <p:nvSpPr>
          <p:cNvPr id="412" name="Oval 411">
            <a:extLst>
              <a:ext uri="{FF2B5EF4-FFF2-40B4-BE49-F238E27FC236}">
                <a16:creationId xmlns:a16="http://schemas.microsoft.com/office/drawing/2014/main" id="{F468D0AB-EACC-47D9-AFE4-2F6699D3EA2C}"/>
              </a:ext>
            </a:extLst>
          </p:cNvPr>
          <p:cNvSpPr/>
          <p:nvPr/>
        </p:nvSpPr>
        <p:spPr bwMode="auto">
          <a:xfrm>
            <a:off x="5787565" y="4088011"/>
            <a:ext cx="2958202" cy="2958202"/>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3" name="Oval 412">
            <a:extLst>
              <a:ext uri="{FF2B5EF4-FFF2-40B4-BE49-F238E27FC236}">
                <a16:creationId xmlns:a16="http://schemas.microsoft.com/office/drawing/2014/main" id="{A41751A2-59F2-4C52-87DD-F5BFD3E769A2}"/>
              </a:ext>
            </a:extLst>
          </p:cNvPr>
          <p:cNvSpPr/>
          <p:nvPr/>
        </p:nvSpPr>
        <p:spPr bwMode="auto">
          <a:xfrm>
            <a:off x="8534009" y="1477694"/>
            <a:ext cx="2958202" cy="2958202"/>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4" name="Freeform: Shape 413">
            <a:extLst>
              <a:ext uri="{FF2B5EF4-FFF2-40B4-BE49-F238E27FC236}">
                <a16:creationId xmlns:a16="http://schemas.microsoft.com/office/drawing/2014/main" id="{1BE568BC-D5F8-41E3-B711-68EE02725B99}"/>
              </a:ext>
            </a:extLst>
          </p:cNvPr>
          <p:cNvSpPr/>
          <p:nvPr/>
        </p:nvSpPr>
        <p:spPr bwMode="auto">
          <a:xfrm flipV="1">
            <a:off x="9310252" y="2471974"/>
            <a:ext cx="1451680" cy="80024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353535"/>
              </a:solidFill>
              <a:latin typeface="Segoe UI Semilight"/>
            </a:endParaRPr>
          </a:p>
        </p:txBody>
      </p:sp>
      <p:sp>
        <p:nvSpPr>
          <p:cNvPr id="415" name="TextBox 414">
            <a:extLst>
              <a:ext uri="{FF2B5EF4-FFF2-40B4-BE49-F238E27FC236}">
                <a16:creationId xmlns:a16="http://schemas.microsoft.com/office/drawing/2014/main" id="{8681B656-759B-48C0-A784-8518BE02BF73}"/>
              </a:ext>
            </a:extLst>
          </p:cNvPr>
          <p:cNvSpPr txBox="1"/>
          <p:nvPr/>
        </p:nvSpPr>
        <p:spPr>
          <a:xfrm>
            <a:off x="9444683" y="3406884"/>
            <a:ext cx="1182816" cy="656659"/>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t>Cloud</a:t>
            </a:r>
          </a:p>
        </p:txBody>
      </p:sp>
      <p:grpSp>
        <p:nvGrpSpPr>
          <p:cNvPr id="416" name="Group 415">
            <a:extLst>
              <a:ext uri="{FF2B5EF4-FFF2-40B4-BE49-F238E27FC236}">
                <a16:creationId xmlns:a16="http://schemas.microsoft.com/office/drawing/2014/main" id="{BC05F2AC-5311-4212-B374-4D3C281C8EBF}"/>
              </a:ext>
            </a:extLst>
          </p:cNvPr>
          <p:cNvGrpSpPr/>
          <p:nvPr/>
        </p:nvGrpSpPr>
        <p:grpSpPr>
          <a:xfrm>
            <a:off x="6396331" y="5287479"/>
            <a:ext cx="494206" cy="362490"/>
            <a:chOff x="4036202" y="3031654"/>
            <a:chExt cx="514225" cy="377173"/>
          </a:xfrm>
        </p:grpSpPr>
        <p:sp>
          <p:nvSpPr>
            <p:cNvPr id="417" name="Freeform 9">
              <a:extLst>
                <a:ext uri="{FF2B5EF4-FFF2-40B4-BE49-F238E27FC236}">
                  <a16:creationId xmlns:a16="http://schemas.microsoft.com/office/drawing/2014/main" id="{AA407DC8-9B38-4C25-9829-9D92EC8C0E28}"/>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Semilight"/>
              </a:endParaRPr>
            </a:p>
          </p:txBody>
        </p:sp>
        <p:sp>
          <p:nvSpPr>
            <p:cNvPr id="418" name="Rectangle 417">
              <a:extLst>
                <a:ext uri="{FF2B5EF4-FFF2-40B4-BE49-F238E27FC236}">
                  <a16:creationId xmlns:a16="http://schemas.microsoft.com/office/drawing/2014/main" id="{45C61BCD-A0D3-425D-953D-63F139BC50EA}"/>
                </a:ext>
              </a:extLst>
            </p:cNvPr>
            <p:cNvSpPr/>
            <p:nvPr/>
          </p:nvSpPr>
          <p:spPr bwMode="auto">
            <a:xfrm>
              <a:off x="4203700" y="3117850"/>
              <a:ext cx="95250" cy="95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19" name="Group 418">
            <a:extLst>
              <a:ext uri="{FF2B5EF4-FFF2-40B4-BE49-F238E27FC236}">
                <a16:creationId xmlns:a16="http://schemas.microsoft.com/office/drawing/2014/main" id="{FBD842CA-23A9-4A18-BB65-4AE53275C2FC}"/>
              </a:ext>
            </a:extLst>
          </p:cNvPr>
          <p:cNvGrpSpPr/>
          <p:nvPr/>
        </p:nvGrpSpPr>
        <p:grpSpPr>
          <a:xfrm>
            <a:off x="6994785" y="5102247"/>
            <a:ext cx="821434" cy="547721"/>
            <a:chOff x="4658896" y="2838920"/>
            <a:chExt cx="854707" cy="569907"/>
          </a:xfrm>
        </p:grpSpPr>
        <p:sp>
          <p:nvSpPr>
            <p:cNvPr id="420" name="Freeform 5">
              <a:extLst>
                <a:ext uri="{FF2B5EF4-FFF2-40B4-BE49-F238E27FC236}">
                  <a16:creationId xmlns:a16="http://schemas.microsoft.com/office/drawing/2014/main" id="{13BE6145-050F-4930-A0F3-41F05A110B79}"/>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Semilight"/>
              </a:endParaRPr>
            </a:p>
          </p:txBody>
        </p:sp>
        <p:sp>
          <p:nvSpPr>
            <p:cNvPr id="421" name="Isosceles Triangle 420">
              <a:extLst>
                <a:ext uri="{FF2B5EF4-FFF2-40B4-BE49-F238E27FC236}">
                  <a16:creationId xmlns:a16="http://schemas.microsoft.com/office/drawing/2014/main" id="{3E2C7045-B483-47D3-AC41-53BBD59DDEA9}"/>
                </a:ext>
              </a:extLst>
            </p:cNvPr>
            <p:cNvSpPr/>
            <p:nvPr/>
          </p:nvSpPr>
          <p:spPr bwMode="auto">
            <a:xfrm>
              <a:off x="4921250" y="2965450"/>
              <a:ext cx="169418" cy="146050"/>
            </a:xfrm>
            <a:prstGeom prst="triangl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22" name="Group 421">
            <a:extLst>
              <a:ext uri="{FF2B5EF4-FFF2-40B4-BE49-F238E27FC236}">
                <a16:creationId xmlns:a16="http://schemas.microsoft.com/office/drawing/2014/main" id="{EB13B785-C46D-46A1-AC9B-ADDE2D2CEB7E}"/>
              </a:ext>
            </a:extLst>
          </p:cNvPr>
          <p:cNvGrpSpPr/>
          <p:nvPr/>
        </p:nvGrpSpPr>
        <p:grpSpPr>
          <a:xfrm>
            <a:off x="7920464" y="5289835"/>
            <a:ext cx="216535" cy="360133"/>
            <a:chOff x="5622072" y="3034107"/>
            <a:chExt cx="225306" cy="374720"/>
          </a:xfrm>
        </p:grpSpPr>
        <p:sp>
          <p:nvSpPr>
            <p:cNvPr id="423" name="Freeform 5">
              <a:extLst>
                <a:ext uri="{FF2B5EF4-FFF2-40B4-BE49-F238E27FC236}">
                  <a16:creationId xmlns:a16="http://schemas.microsoft.com/office/drawing/2014/main" id="{52CBA591-4B18-402E-8799-4789F7F7F897}"/>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Semilight"/>
              </a:endParaRPr>
            </a:p>
          </p:txBody>
        </p:sp>
        <p:sp>
          <p:nvSpPr>
            <p:cNvPr id="424" name="Oval 423">
              <a:extLst>
                <a:ext uri="{FF2B5EF4-FFF2-40B4-BE49-F238E27FC236}">
                  <a16:creationId xmlns:a16="http://schemas.microsoft.com/office/drawing/2014/main" id="{2483519E-FF46-4C00-AF4C-ADBB92D746F7}"/>
                </a:ext>
              </a:extLst>
            </p:cNvPr>
            <p:cNvSpPr/>
            <p:nvPr/>
          </p:nvSpPr>
          <p:spPr bwMode="auto">
            <a:xfrm>
              <a:off x="5670550" y="3124200"/>
              <a:ext cx="107950" cy="107950"/>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25" name="Group 207">
            <a:extLst>
              <a:ext uri="{FF2B5EF4-FFF2-40B4-BE49-F238E27FC236}">
                <a16:creationId xmlns:a16="http://schemas.microsoft.com/office/drawing/2014/main" id="{6A61156B-D365-4532-8BA3-24CB2A9A8608}"/>
              </a:ext>
            </a:extLst>
          </p:cNvPr>
          <p:cNvGrpSpPr>
            <a:grpSpLocks noChangeAspect="1"/>
          </p:cNvGrpSpPr>
          <p:nvPr/>
        </p:nvGrpSpPr>
        <p:grpSpPr bwMode="auto">
          <a:xfrm>
            <a:off x="1700642" y="5270972"/>
            <a:ext cx="659304" cy="641539"/>
            <a:chOff x="3750" y="2040"/>
            <a:chExt cx="334" cy="325"/>
          </a:xfrm>
          <a:solidFill>
            <a:srgbClr val="0078D7"/>
          </a:solidFill>
        </p:grpSpPr>
        <p:sp>
          <p:nvSpPr>
            <p:cNvPr id="426" name="Rectangle 208">
              <a:extLst>
                <a:ext uri="{FF2B5EF4-FFF2-40B4-BE49-F238E27FC236}">
                  <a16:creationId xmlns:a16="http://schemas.microsoft.com/office/drawing/2014/main" id="{0002BC13-9A21-47B4-BE71-2410E371115A}"/>
                </a:ext>
              </a:extLst>
            </p:cNvPr>
            <p:cNvSpPr>
              <a:spLocks noChangeArrowheads="1"/>
            </p:cNvSpPr>
            <p:nvPr/>
          </p:nvSpPr>
          <p:spPr bwMode="auto">
            <a:xfrm>
              <a:off x="3860" y="2071"/>
              <a:ext cx="150" cy="294"/>
            </a:xfrm>
            <a:prstGeom prst="rect">
              <a:avLst/>
            </a:prstGeom>
            <a:solidFill>
              <a:srgbClr val="FFFFFF"/>
            </a:solidFill>
            <a:ln w="158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27" name="Freeform 209">
              <a:extLst>
                <a:ext uri="{FF2B5EF4-FFF2-40B4-BE49-F238E27FC236}">
                  <a16:creationId xmlns:a16="http://schemas.microsoft.com/office/drawing/2014/main" id="{1E880D36-E983-4AAF-BAFF-0C7AAE33B1AB}"/>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solidFill>
              <a:srgbClr val="FFFFFF"/>
            </a:solidFill>
            <a:ln w="158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28" name="Freeform 210">
              <a:extLst>
                <a:ext uri="{FF2B5EF4-FFF2-40B4-BE49-F238E27FC236}">
                  <a16:creationId xmlns:a16="http://schemas.microsoft.com/office/drawing/2014/main" id="{45403930-B47D-41AA-93E3-16B7355BCF8C}"/>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solidFill>
              <a:srgbClr val="FFFFFF"/>
            </a:solidFill>
            <a:ln w="158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29" name="Freeform 211">
              <a:extLst>
                <a:ext uri="{FF2B5EF4-FFF2-40B4-BE49-F238E27FC236}">
                  <a16:creationId xmlns:a16="http://schemas.microsoft.com/office/drawing/2014/main" id="{9EEB41CE-5AB3-44A3-A2B9-DCD1F2608DFC}"/>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solidFill>
              <a:srgbClr val="FFFFFF"/>
            </a:solidFill>
            <a:ln w="158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0" name="Rectangle 212">
              <a:extLst>
                <a:ext uri="{FF2B5EF4-FFF2-40B4-BE49-F238E27FC236}">
                  <a16:creationId xmlns:a16="http://schemas.microsoft.com/office/drawing/2014/main" id="{5EFD0194-4AF9-433D-8265-07156005EF40}"/>
                </a:ext>
              </a:extLst>
            </p:cNvPr>
            <p:cNvSpPr>
              <a:spLocks noChangeArrowheads="1"/>
            </p:cNvSpPr>
            <p:nvPr/>
          </p:nvSpPr>
          <p:spPr bwMode="auto">
            <a:xfrm>
              <a:off x="3888" y="2040"/>
              <a:ext cx="42" cy="31"/>
            </a:xfrm>
            <a:prstGeom prst="rect">
              <a:avLst/>
            </a:prstGeom>
            <a:solidFill>
              <a:srgbClr val="FFFFFF"/>
            </a:solidFill>
            <a:ln w="158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1" name="Rectangle 213">
              <a:extLst>
                <a:ext uri="{FF2B5EF4-FFF2-40B4-BE49-F238E27FC236}">
                  <a16:creationId xmlns:a16="http://schemas.microsoft.com/office/drawing/2014/main" id="{8114C13F-7D1F-4D8A-875C-EA651757F740}"/>
                </a:ext>
              </a:extLst>
            </p:cNvPr>
            <p:cNvSpPr>
              <a:spLocks noChangeArrowheads="1"/>
            </p:cNvSpPr>
            <p:nvPr/>
          </p:nvSpPr>
          <p:spPr bwMode="auto">
            <a:xfrm>
              <a:off x="3970"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2" name="Rectangle 214">
              <a:extLst>
                <a:ext uri="{FF2B5EF4-FFF2-40B4-BE49-F238E27FC236}">
                  <a16:creationId xmlns:a16="http://schemas.microsoft.com/office/drawing/2014/main" id="{D912A8D7-F08C-4A26-873C-A5EDB1ED6E8A}"/>
                </a:ext>
              </a:extLst>
            </p:cNvPr>
            <p:cNvSpPr>
              <a:spLocks noChangeArrowheads="1"/>
            </p:cNvSpPr>
            <p:nvPr/>
          </p:nvSpPr>
          <p:spPr bwMode="auto">
            <a:xfrm>
              <a:off x="3970"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3" name="Rectangle 215">
              <a:extLst>
                <a:ext uri="{FF2B5EF4-FFF2-40B4-BE49-F238E27FC236}">
                  <a16:creationId xmlns:a16="http://schemas.microsoft.com/office/drawing/2014/main" id="{D053E79F-F97D-488F-8D21-58E00190577B}"/>
                </a:ext>
              </a:extLst>
            </p:cNvPr>
            <p:cNvSpPr>
              <a:spLocks noChangeArrowheads="1"/>
            </p:cNvSpPr>
            <p:nvPr/>
          </p:nvSpPr>
          <p:spPr bwMode="auto">
            <a:xfrm>
              <a:off x="3970"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4" name="Rectangle 216">
              <a:extLst>
                <a:ext uri="{FF2B5EF4-FFF2-40B4-BE49-F238E27FC236}">
                  <a16:creationId xmlns:a16="http://schemas.microsoft.com/office/drawing/2014/main" id="{A833F0DC-2224-43E0-BDCA-C4459D8668E3}"/>
                </a:ext>
              </a:extLst>
            </p:cNvPr>
            <p:cNvSpPr>
              <a:spLocks noChangeArrowheads="1"/>
            </p:cNvSpPr>
            <p:nvPr/>
          </p:nvSpPr>
          <p:spPr bwMode="auto">
            <a:xfrm>
              <a:off x="3970"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5" name="Rectangle 217">
              <a:extLst>
                <a:ext uri="{FF2B5EF4-FFF2-40B4-BE49-F238E27FC236}">
                  <a16:creationId xmlns:a16="http://schemas.microsoft.com/office/drawing/2014/main" id="{62034DD7-B075-455D-B56F-11BD4BE77591}"/>
                </a:ext>
              </a:extLst>
            </p:cNvPr>
            <p:cNvSpPr>
              <a:spLocks noChangeArrowheads="1"/>
            </p:cNvSpPr>
            <p:nvPr/>
          </p:nvSpPr>
          <p:spPr bwMode="auto">
            <a:xfrm>
              <a:off x="3970"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6" name="Rectangle 218">
              <a:extLst>
                <a:ext uri="{FF2B5EF4-FFF2-40B4-BE49-F238E27FC236}">
                  <a16:creationId xmlns:a16="http://schemas.microsoft.com/office/drawing/2014/main" id="{9457C367-FB95-4CFC-B6C8-A94BC0254BC0}"/>
                </a:ext>
              </a:extLst>
            </p:cNvPr>
            <p:cNvSpPr>
              <a:spLocks noChangeArrowheads="1"/>
            </p:cNvSpPr>
            <p:nvPr/>
          </p:nvSpPr>
          <p:spPr bwMode="auto">
            <a:xfrm>
              <a:off x="3885"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7" name="Rectangle 219">
              <a:extLst>
                <a:ext uri="{FF2B5EF4-FFF2-40B4-BE49-F238E27FC236}">
                  <a16:creationId xmlns:a16="http://schemas.microsoft.com/office/drawing/2014/main" id="{DFA71473-1483-41D4-8431-2D49B23308CE}"/>
                </a:ext>
              </a:extLst>
            </p:cNvPr>
            <p:cNvSpPr>
              <a:spLocks noChangeArrowheads="1"/>
            </p:cNvSpPr>
            <p:nvPr/>
          </p:nvSpPr>
          <p:spPr bwMode="auto">
            <a:xfrm>
              <a:off x="3885"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8" name="Rectangle 220">
              <a:extLst>
                <a:ext uri="{FF2B5EF4-FFF2-40B4-BE49-F238E27FC236}">
                  <a16:creationId xmlns:a16="http://schemas.microsoft.com/office/drawing/2014/main" id="{4673D32F-0521-4E9C-BC44-9CAB608A9126}"/>
                </a:ext>
              </a:extLst>
            </p:cNvPr>
            <p:cNvSpPr>
              <a:spLocks noChangeArrowheads="1"/>
            </p:cNvSpPr>
            <p:nvPr/>
          </p:nvSpPr>
          <p:spPr bwMode="auto">
            <a:xfrm>
              <a:off x="3885"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9" name="Rectangle 221">
              <a:extLst>
                <a:ext uri="{FF2B5EF4-FFF2-40B4-BE49-F238E27FC236}">
                  <a16:creationId xmlns:a16="http://schemas.microsoft.com/office/drawing/2014/main" id="{814DA386-AA0E-4E83-8AAC-466A2AFF3793}"/>
                </a:ext>
              </a:extLst>
            </p:cNvPr>
            <p:cNvSpPr>
              <a:spLocks noChangeArrowheads="1"/>
            </p:cNvSpPr>
            <p:nvPr/>
          </p:nvSpPr>
          <p:spPr bwMode="auto">
            <a:xfrm>
              <a:off x="3885"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0" name="Rectangle 222">
              <a:extLst>
                <a:ext uri="{FF2B5EF4-FFF2-40B4-BE49-F238E27FC236}">
                  <a16:creationId xmlns:a16="http://schemas.microsoft.com/office/drawing/2014/main" id="{A5297BED-7DD8-4CFC-AF8D-0EF3188F2668}"/>
                </a:ext>
              </a:extLst>
            </p:cNvPr>
            <p:cNvSpPr>
              <a:spLocks noChangeArrowheads="1"/>
            </p:cNvSpPr>
            <p:nvPr/>
          </p:nvSpPr>
          <p:spPr bwMode="auto">
            <a:xfrm>
              <a:off x="3885"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1" name="Rectangle 223">
              <a:extLst>
                <a:ext uri="{FF2B5EF4-FFF2-40B4-BE49-F238E27FC236}">
                  <a16:creationId xmlns:a16="http://schemas.microsoft.com/office/drawing/2014/main" id="{3BE43449-37C9-4444-A8C9-36737CFAF25B}"/>
                </a:ext>
              </a:extLst>
            </p:cNvPr>
            <p:cNvSpPr>
              <a:spLocks noChangeArrowheads="1"/>
            </p:cNvSpPr>
            <p:nvPr/>
          </p:nvSpPr>
          <p:spPr bwMode="auto">
            <a:xfrm>
              <a:off x="3927"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2" name="Rectangle 224">
              <a:extLst>
                <a:ext uri="{FF2B5EF4-FFF2-40B4-BE49-F238E27FC236}">
                  <a16:creationId xmlns:a16="http://schemas.microsoft.com/office/drawing/2014/main" id="{2A0A9FF5-5FA4-4D99-B976-13EF4F5A412E}"/>
                </a:ext>
              </a:extLst>
            </p:cNvPr>
            <p:cNvSpPr>
              <a:spLocks noChangeArrowheads="1"/>
            </p:cNvSpPr>
            <p:nvPr/>
          </p:nvSpPr>
          <p:spPr bwMode="auto">
            <a:xfrm>
              <a:off x="3927"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3" name="Rectangle 225">
              <a:extLst>
                <a:ext uri="{FF2B5EF4-FFF2-40B4-BE49-F238E27FC236}">
                  <a16:creationId xmlns:a16="http://schemas.microsoft.com/office/drawing/2014/main" id="{9706C079-F2AD-4253-AE22-6C09ED22758F}"/>
                </a:ext>
              </a:extLst>
            </p:cNvPr>
            <p:cNvSpPr>
              <a:spLocks noChangeArrowheads="1"/>
            </p:cNvSpPr>
            <p:nvPr/>
          </p:nvSpPr>
          <p:spPr bwMode="auto">
            <a:xfrm>
              <a:off x="3927"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4" name="Rectangle 226">
              <a:extLst>
                <a:ext uri="{FF2B5EF4-FFF2-40B4-BE49-F238E27FC236}">
                  <a16:creationId xmlns:a16="http://schemas.microsoft.com/office/drawing/2014/main" id="{1C44595A-5A34-419E-AE33-932D8112F07E}"/>
                </a:ext>
              </a:extLst>
            </p:cNvPr>
            <p:cNvSpPr>
              <a:spLocks noChangeArrowheads="1"/>
            </p:cNvSpPr>
            <p:nvPr/>
          </p:nvSpPr>
          <p:spPr bwMode="auto">
            <a:xfrm>
              <a:off x="3927"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5" name="Rectangle 227">
              <a:extLst>
                <a:ext uri="{FF2B5EF4-FFF2-40B4-BE49-F238E27FC236}">
                  <a16:creationId xmlns:a16="http://schemas.microsoft.com/office/drawing/2014/main" id="{30407DE4-9E37-4102-9EB8-1FE85A73B740}"/>
                </a:ext>
              </a:extLst>
            </p:cNvPr>
            <p:cNvSpPr>
              <a:spLocks noChangeArrowheads="1"/>
            </p:cNvSpPr>
            <p:nvPr/>
          </p:nvSpPr>
          <p:spPr bwMode="auto">
            <a:xfrm>
              <a:off x="3927"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6" name="Rectangle 228">
              <a:extLst>
                <a:ext uri="{FF2B5EF4-FFF2-40B4-BE49-F238E27FC236}">
                  <a16:creationId xmlns:a16="http://schemas.microsoft.com/office/drawing/2014/main" id="{BD255705-4065-4324-BB7A-169EFFB4AD06}"/>
                </a:ext>
              </a:extLst>
            </p:cNvPr>
            <p:cNvSpPr>
              <a:spLocks noChangeArrowheads="1"/>
            </p:cNvSpPr>
            <p:nvPr/>
          </p:nvSpPr>
          <p:spPr bwMode="auto">
            <a:xfrm>
              <a:off x="3776"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7" name="Rectangle 229">
              <a:extLst>
                <a:ext uri="{FF2B5EF4-FFF2-40B4-BE49-F238E27FC236}">
                  <a16:creationId xmlns:a16="http://schemas.microsoft.com/office/drawing/2014/main" id="{175E4D49-4DD8-48FF-8119-A0B0283EE99B}"/>
                </a:ext>
              </a:extLst>
            </p:cNvPr>
            <p:cNvSpPr>
              <a:spLocks noChangeArrowheads="1"/>
            </p:cNvSpPr>
            <p:nvPr/>
          </p:nvSpPr>
          <p:spPr bwMode="auto">
            <a:xfrm>
              <a:off x="3776"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8" name="Rectangle 230">
              <a:extLst>
                <a:ext uri="{FF2B5EF4-FFF2-40B4-BE49-F238E27FC236}">
                  <a16:creationId xmlns:a16="http://schemas.microsoft.com/office/drawing/2014/main" id="{036C611B-4CC6-410E-9247-7B52D63D127E}"/>
                </a:ext>
              </a:extLst>
            </p:cNvPr>
            <p:cNvSpPr>
              <a:spLocks noChangeArrowheads="1"/>
            </p:cNvSpPr>
            <p:nvPr/>
          </p:nvSpPr>
          <p:spPr bwMode="auto">
            <a:xfrm>
              <a:off x="3776"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9" name="Rectangle 231">
              <a:extLst>
                <a:ext uri="{FF2B5EF4-FFF2-40B4-BE49-F238E27FC236}">
                  <a16:creationId xmlns:a16="http://schemas.microsoft.com/office/drawing/2014/main" id="{FAD2AB71-6245-4754-9C09-082800E79E97}"/>
                </a:ext>
              </a:extLst>
            </p:cNvPr>
            <p:cNvSpPr>
              <a:spLocks noChangeArrowheads="1"/>
            </p:cNvSpPr>
            <p:nvPr/>
          </p:nvSpPr>
          <p:spPr bwMode="auto">
            <a:xfrm>
              <a:off x="3818"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50" name="Rectangle 232">
              <a:extLst>
                <a:ext uri="{FF2B5EF4-FFF2-40B4-BE49-F238E27FC236}">
                  <a16:creationId xmlns:a16="http://schemas.microsoft.com/office/drawing/2014/main" id="{6148D412-B804-440E-A814-64002198AAB7}"/>
                </a:ext>
              </a:extLst>
            </p:cNvPr>
            <p:cNvSpPr>
              <a:spLocks noChangeArrowheads="1"/>
            </p:cNvSpPr>
            <p:nvPr/>
          </p:nvSpPr>
          <p:spPr bwMode="auto">
            <a:xfrm>
              <a:off x="3818"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51" name="Rectangle 233">
              <a:extLst>
                <a:ext uri="{FF2B5EF4-FFF2-40B4-BE49-F238E27FC236}">
                  <a16:creationId xmlns:a16="http://schemas.microsoft.com/office/drawing/2014/main" id="{2173081E-DAA0-44D2-A03B-B36FB3C745B0}"/>
                </a:ext>
              </a:extLst>
            </p:cNvPr>
            <p:cNvSpPr>
              <a:spLocks noChangeArrowheads="1"/>
            </p:cNvSpPr>
            <p:nvPr/>
          </p:nvSpPr>
          <p:spPr bwMode="auto">
            <a:xfrm>
              <a:off x="3818"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52" name="Rectangle 234">
              <a:extLst>
                <a:ext uri="{FF2B5EF4-FFF2-40B4-BE49-F238E27FC236}">
                  <a16:creationId xmlns:a16="http://schemas.microsoft.com/office/drawing/2014/main" id="{04A0062F-FF38-4267-A1E9-FE55E51CEE07}"/>
                </a:ext>
              </a:extLst>
            </p:cNvPr>
            <p:cNvSpPr>
              <a:spLocks noChangeArrowheads="1"/>
            </p:cNvSpPr>
            <p:nvPr/>
          </p:nvSpPr>
          <p:spPr bwMode="auto">
            <a:xfrm>
              <a:off x="3776"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53" name="Rectangle 235">
              <a:extLst>
                <a:ext uri="{FF2B5EF4-FFF2-40B4-BE49-F238E27FC236}">
                  <a16:creationId xmlns:a16="http://schemas.microsoft.com/office/drawing/2014/main" id="{512347BE-42E6-413B-9F1D-8E820CAA33E1}"/>
                </a:ext>
              </a:extLst>
            </p:cNvPr>
            <p:cNvSpPr>
              <a:spLocks noChangeArrowheads="1"/>
            </p:cNvSpPr>
            <p:nvPr/>
          </p:nvSpPr>
          <p:spPr bwMode="auto">
            <a:xfrm>
              <a:off x="3818"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grpSp>
      <p:cxnSp>
        <p:nvCxnSpPr>
          <p:cNvPr id="454" name="Straight Arrow Connector 453">
            <a:extLst>
              <a:ext uri="{FF2B5EF4-FFF2-40B4-BE49-F238E27FC236}">
                <a16:creationId xmlns:a16="http://schemas.microsoft.com/office/drawing/2014/main" id="{988985B6-2AB2-41F1-8AA7-C0DB56D78065}"/>
              </a:ext>
            </a:extLst>
          </p:cNvPr>
          <p:cNvCxnSpPr>
            <a:cxnSpLocks/>
          </p:cNvCxnSpPr>
          <p:nvPr/>
        </p:nvCxnSpPr>
        <p:spPr>
          <a:xfrm>
            <a:off x="5196463" y="2102545"/>
            <a:ext cx="455479" cy="521422"/>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455" name="Group 454">
            <a:extLst>
              <a:ext uri="{FF2B5EF4-FFF2-40B4-BE49-F238E27FC236}">
                <a16:creationId xmlns:a16="http://schemas.microsoft.com/office/drawing/2014/main" id="{D8CE71C0-8FBB-415A-A76B-5814A23E2339}"/>
              </a:ext>
            </a:extLst>
          </p:cNvPr>
          <p:cNvGrpSpPr/>
          <p:nvPr/>
        </p:nvGrpSpPr>
        <p:grpSpPr>
          <a:xfrm>
            <a:off x="1327369" y="1643506"/>
            <a:ext cx="2602986" cy="1804244"/>
            <a:chOff x="1353985" y="1675965"/>
            <a:chExt cx="2655181" cy="1840423"/>
          </a:xfrm>
        </p:grpSpPr>
        <p:pic>
          <p:nvPicPr>
            <p:cNvPr id="456" name="Picture 455">
              <a:extLst>
                <a:ext uri="{FF2B5EF4-FFF2-40B4-BE49-F238E27FC236}">
                  <a16:creationId xmlns:a16="http://schemas.microsoft.com/office/drawing/2014/main" id="{873B4300-31CD-47BF-897F-4C7BA200B202}"/>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40000" contrast="-40000"/>
                      </a14:imgEffect>
                    </a14:imgLayer>
                  </a14:imgProps>
                </a:ext>
              </a:extLst>
            </a:blip>
            <a:stretch>
              <a:fillRect/>
            </a:stretch>
          </p:blipFill>
          <p:spPr>
            <a:xfrm>
              <a:off x="2579669" y="1716192"/>
              <a:ext cx="539461" cy="384402"/>
            </a:xfrm>
            <a:prstGeom prst="rect">
              <a:avLst/>
            </a:prstGeom>
          </p:spPr>
        </p:pic>
        <p:pic>
          <p:nvPicPr>
            <p:cNvPr id="457" name="Picture 8" descr="http://blogs.ca.com/wp-content/uploads/2014/02/CA-fb-logo.png">
              <a:extLst>
                <a:ext uri="{FF2B5EF4-FFF2-40B4-BE49-F238E27FC236}">
                  <a16:creationId xmlns:a16="http://schemas.microsoft.com/office/drawing/2014/main" id="{04168DE6-5D3D-4C6F-BA1A-FCECC2EF010B}"/>
                </a:ext>
              </a:extLst>
            </p:cNvPr>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188" t="17188" r="17188" b="17188"/>
            <a:stretch/>
          </p:blipFill>
          <p:spPr bwMode="auto">
            <a:xfrm>
              <a:off x="2051581" y="1847510"/>
              <a:ext cx="420327" cy="374570"/>
            </a:xfrm>
            <a:prstGeom prst="rect">
              <a:avLst/>
            </a:prstGeom>
            <a:noFill/>
            <a:extLst>
              <a:ext uri="{909E8E84-426E-40DD-AFC4-6F175D3DCCD1}">
                <a14:hiddenFill xmlns:a14="http://schemas.microsoft.com/office/drawing/2010/main">
                  <a:solidFill>
                    <a:srgbClr val="FFFFFF"/>
                  </a:solidFill>
                </a14:hiddenFill>
              </a:ext>
            </a:extLst>
          </p:spPr>
        </p:pic>
        <p:grpSp>
          <p:nvGrpSpPr>
            <p:cNvPr id="458" name="Group 457">
              <a:extLst>
                <a:ext uri="{FF2B5EF4-FFF2-40B4-BE49-F238E27FC236}">
                  <a16:creationId xmlns:a16="http://schemas.microsoft.com/office/drawing/2014/main" id="{EFDBB27E-D7AB-468F-A700-A89DAA1EDCD6}"/>
                </a:ext>
              </a:extLst>
            </p:cNvPr>
            <p:cNvGrpSpPr/>
            <p:nvPr/>
          </p:nvGrpSpPr>
          <p:grpSpPr>
            <a:xfrm>
              <a:off x="2753021" y="2016447"/>
              <a:ext cx="1256145" cy="906582"/>
              <a:chOff x="1173639" y="1410730"/>
              <a:chExt cx="1256145" cy="906582"/>
            </a:xfrm>
          </p:grpSpPr>
          <p:grpSp>
            <p:nvGrpSpPr>
              <p:cNvPr id="467" name="Group 466">
                <a:extLst>
                  <a:ext uri="{FF2B5EF4-FFF2-40B4-BE49-F238E27FC236}">
                    <a16:creationId xmlns:a16="http://schemas.microsoft.com/office/drawing/2014/main" id="{4E470199-3633-473F-9AA0-7CEB6179E2C9}"/>
                  </a:ext>
                </a:extLst>
              </p:cNvPr>
              <p:cNvGrpSpPr/>
              <p:nvPr/>
            </p:nvGrpSpPr>
            <p:grpSpPr>
              <a:xfrm>
                <a:off x="1544221" y="1410730"/>
                <a:ext cx="479463" cy="395218"/>
                <a:chOff x="2309175" y="2458187"/>
                <a:chExt cx="466711" cy="403143"/>
              </a:xfrm>
            </p:grpSpPr>
            <p:sp>
              <p:nvSpPr>
                <p:cNvPr id="469" name="Isosceles Triangle 468">
                  <a:extLst>
                    <a:ext uri="{FF2B5EF4-FFF2-40B4-BE49-F238E27FC236}">
                      <a16:creationId xmlns:a16="http://schemas.microsoft.com/office/drawing/2014/main" id="{F9E5D9E3-909B-4562-946F-8C96C12D7A0A}"/>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0" name="Freeform: Shape 469">
                  <a:extLst>
                    <a:ext uri="{FF2B5EF4-FFF2-40B4-BE49-F238E27FC236}">
                      <a16:creationId xmlns:a16="http://schemas.microsoft.com/office/drawing/2014/main" id="{24194736-58C2-4DFB-9277-829C5353CA66}"/>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8" name="TextBox 467">
                <a:extLst>
                  <a:ext uri="{FF2B5EF4-FFF2-40B4-BE49-F238E27FC236}">
                    <a16:creationId xmlns:a16="http://schemas.microsoft.com/office/drawing/2014/main" id="{56D343D5-71C4-40DF-9861-7FA54B7FF53D}"/>
                  </a:ext>
                </a:extLst>
              </p:cNvPr>
              <p:cNvSpPr txBox="1"/>
              <p:nvPr/>
            </p:nvSpPr>
            <p:spPr>
              <a:xfrm>
                <a:off x="1173639" y="1874115"/>
                <a:ext cx="1256145" cy="443197"/>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mmercial</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pic>
          <p:nvPicPr>
            <p:cNvPr id="459" name="Picture 2" descr="File:Twitter 2010 logo - from Commons.svg">
              <a:extLst>
                <a:ext uri="{FF2B5EF4-FFF2-40B4-BE49-F238E27FC236}">
                  <a16:creationId xmlns:a16="http://schemas.microsoft.com/office/drawing/2014/main" id="{F70964DF-7B3D-4EC5-AC6F-640E395D40A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353985" y="2654048"/>
              <a:ext cx="933900" cy="173205"/>
            </a:xfrm>
            <a:prstGeom prst="rect">
              <a:avLst/>
            </a:prstGeom>
            <a:noFill/>
            <a:extLst>
              <a:ext uri="{909E8E84-426E-40DD-AFC4-6F175D3DCCD1}">
                <a14:hiddenFill xmlns:a14="http://schemas.microsoft.com/office/drawing/2010/main">
                  <a:solidFill>
                    <a:srgbClr val="FFFFFF"/>
                  </a:solidFill>
                </a14:hiddenFill>
              </a:ext>
            </a:extLst>
          </p:spPr>
        </p:pic>
        <p:sp>
          <p:nvSpPr>
            <p:cNvPr id="460" name="Freeform 9">
              <a:extLst>
                <a:ext uri="{FF2B5EF4-FFF2-40B4-BE49-F238E27FC236}">
                  <a16:creationId xmlns:a16="http://schemas.microsoft.com/office/drawing/2014/main" id="{A45D09E2-4A76-4EAE-A654-4A1EC2AC437F}"/>
                </a:ext>
              </a:extLst>
            </p:cNvPr>
            <p:cNvSpPr>
              <a:spLocks noChangeAspect="1" noEditPoints="1"/>
            </p:cNvSpPr>
            <p:nvPr/>
          </p:nvSpPr>
          <p:spPr bwMode="black">
            <a:xfrm>
              <a:off x="1638609" y="2277264"/>
              <a:ext cx="845019" cy="183328"/>
            </a:xfrm>
            <a:custGeom>
              <a:avLst/>
              <a:gdLst>
                <a:gd name="T0" fmla="*/ 486 w 948"/>
                <a:gd name="T1" fmla="*/ 100 h 194"/>
                <a:gd name="T2" fmla="*/ 500 w 948"/>
                <a:gd name="T3" fmla="*/ 162 h 194"/>
                <a:gd name="T4" fmla="*/ 522 w 948"/>
                <a:gd name="T5" fmla="*/ 111 h 194"/>
                <a:gd name="T6" fmla="*/ 376 w 948"/>
                <a:gd name="T7" fmla="*/ 91 h 194"/>
                <a:gd name="T8" fmla="*/ 360 w 948"/>
                <a:gd name="T9" fmla="*/ 113 h 194"/>
                <a:gd name="T10" fmla="*/ 393 w 948"/>
                <a:gd name="T11" fmla="*/ 108 h 194"/>
                <a:gd name="T12" fmla="*/ 126 w 948"/>
                <a:gd name="T13" fmla="*/ 155 h 194"/>
                <a:gd name="T14" fmla="*/ 156 w 948"/>
                <a:gd name="T15" fmla="*/ 161 h 194"/>
                <a:gd name="T16" fmla="*/ 138 w 948"/>
                <a:gd name="T17" fmla="*/ 146 h 194"/>
                <a:gd name="T18" fmla="*/ 631 w 948"/>
                <a:gd name="T19" fmla="*/ 95 h 194"/>
                <a:gd name="T20" fmla="*/ 613 w 948"/>
                <a:gd name="T21" fmla="*/ 145 h 194"/>
                <a:gd name="T22" fmla="*/ 650 w 948"/>
                <a:gd name="T23" fmla="*/ 145 h 194"/>
                <a:gd name="T24" fmla="*/ 631 w 948"/>
                <a:gd name="T25" fmla="*/ 95 h 194"/>
                <a:gd name="T26" fmla="*/ 20 w 948"/>
                <a:gd name="T27" fmla="*/ 193 h 194"/>
                <a:gd name="T28" fmla="*/ 0 w 948"/>
                <a:gd name="T29" fmla="*/ 97 h 194"/>
                <a:gd name="T30" fmla="*/ 20 w 948"/>
                <a:gd name="T31" fmla="*/ 63 h 194"/>
                <a:gd name="T32" fmla="*/ 63 w 948"/>
                <a:gd name="T33" fmla="*/ 0 h 194"/>
                <a:gd name="T34" fmla="*/ 89 w 948"/>
                <a:gd name="T35" fmla="*/ 34 h 194"/>
                <a:gd name="T36" fmla="*/ 60 w 948"/>
                <a:gd name="T37" fmla="*/ 47 h 194"/>
                <a:gd name="T38" fmla="*/ 90 w 948"/>
                <a:gd name="T39" fmla="*/ 63 h 194"/>
                <a:gd name="T40" fmla="*/ 60 w 948"/>
                <a:gd name="T41" fmla="*/ 97 h 194"/>
                <a:gd name="T42" fmla="*/ 196 w 948"/>
                <a:gd name="T43" fmla="*/ 193 h 194"/>
                <a:gd name="T44" fmla="*/ 161 w 948"/>
                <a:gd name="T45" fmla="*/ 185 h 194"/>
                <a:gd name="T46" fmla="*/ 86 w 948"/>
                <a:gd name="T47" fmla="*/ 156 h 194"/>
                <a:gd name="T48" fmla="*/ 156 w 948"/>
                <a:gd name="T49" fmla="*/ 120 h 194"/>
                <a:gd name="T50" fmla="*/ 133 w 948"/>
                <a:gd name="T51" fmla="*/ 97 h 194"/>
                <a:gd name="T52" fmla="*/ 103 w 948"/>
                <a:gd name="T53" fmla="*/ 63 h 194"/>
                <a:gd name="T54" fmla="*/ 196 w 948"/>
                <a:gd name="T55" fmla="*/ 114 h 194"/>
                <a:gd name="T56" fmla="*/ 308 w 948"/>
                <a:gd name="T57" fmla="*/ 99 h 194"/>
                <a:gd name="T58" fmla="*/ 249 w 948"/>
                <a:gd name="T59" fmla="*/ 114 h 194"/>
                <a:gd name="T60" fmla="*/ 272 w 948"/>
                <a:gd name="T61" fmla="*/ 161 h 194"/>
                <a:gd name="T62" fmla="*/ 308 w 948"/>
                <a:gd name="T63" fmla="*/ 189 h 194"/>
                <a:gd name="T64" fmla="*/ 209 w 948"/>
                <a:gd name="T65" fmla="*/ 140 h 194"/>
                <a:gd name="T66" fmla="*/ 268 w 948"/>
                <a:gd name="T67" fmla="*/ 62 h 194"/>
                <a:gd name="T68" fmla="*/ 308 w 948"/>
                <a:gd name="T69" fmla="*/ 99 h 194"/>
                <a:gd name="T70" fmla="*/ 360 w 948"/>
                <a:gd name="T71" fmla="*/ 140 h 194"/>
                <a:gd name="T72" fmla="*/ 383 w 948"/>
                <a:gd name="T73" fmla="*/ 161 h 194"/>
                <a:gd name="T74" fmla="*/ 429 w 948"/>
                <a:gd name="T75" fmla="*/ 189 h 194"/>
                <a:gd name="T76" fmla="*/ 320 w 948"/>
                <a:gd name="T77" fmla="*/ 140 h 194"/>
                <a:gd name="T78" fmla="*/ 376 w 948"/>
                <a:gd name="T79" fmla="*/ 62 h 194"/>
                <a:gd name="T80" fmla="*/ 433 w 948"/>
                <a:gd name="T81" fmla="*/ 140 h 194"/>
                <a:gd name="T82" fmla="*/ 499 w 948"/>
                <a:gd name="T83" fmla="*/ 194 h 194"/>
                <a:gd name="T84" fmla="*/ 446 w 948"/>
                <a:gd name="T85" fmla="*/ 10 h 194"/>
                <a:gd name="T86" fmla="*/ 486 w 948"/>
                <a:gd name="T87" fmla="*/ 66 h 194"/>
                <a:gd name="T88" fmla="*/ 562 w 948"/>
                <a:gd name="T89" fmla="*/ 108 h 194"/>
                <a:gd name="T90" fmla="*/ 690 w 948"/>
                <a:gd name="T91" fmla="*/ 141 h 194"/>
                <a:gd name="T92" fmla="*/ 573 w 948"/>
                <a:gd name="T93" fmla="*/ 141 h 194"/>
                <a:gd name="T94" fmla="*/ 632 w 948"/>
                <a:gd name="T95" fmla="*/ 62 h 194"/>
                <a:gd name="T96" fmla="*/ 690 w 948"/>
                <a:gd name="T97" fmla="*/ 141 h 194"/>
                <a:gd name="T98" fmla="*/ 759 w 948"/>
                <a:gd name="T99" fmla="*/ 194 h 194"/>
                <a:gd name="T100" fmla="*/ 701 w 948"/>
                <a:gd name="T101" fmla="*/ 115 h 194"/>
                <a:gd name="T102" fmla="*/ 817 w 948"/>
                <a:gd name="T103" fmla="*/ 115 h 194"/>
                <a:gd name="T104" fmla="*/ 948 w 948"/>
                <a:gd name="T105" fmla="*/ 193 h 194"/>
                <a:gd name="T106" fmla="*/ 868 w 948"/>
                <a:gd name="T107" fmla="*/ 132 h 194"/>
                <a:gd name="T108" fmla="*/ 828 w 948"/>
                <a:gd name="T109" fmla="*/ 193 h 194"/>
                <a:gd name="T110" fmla="*/ 868 w 948"/>
                <a:gd name="T111" fmla="*/ 4 h 194"/>
                <a:gd name="T112" fmla="*/ 905 w 948"/>
                <a:gd name="T113" fmla="*/ 63 h 194"/>
                <a:gd name="T114" fmla="*/ 908 w 948"/>
                <a:gd name="T115" fmla="*/ 126 h 194"/>
                <a:gd name="T116" fmla="*/ 759 w 948"/>
                <a:gd name="T117" fmla="*/ 95 h 194"/>
                <a:gd name="T118" fmla="*/ 741 w 948"/>
                <a:gd name="T119" fmla="*/ 145 h 194"/>
                <a:gd name="T120" fmla="*/ 777 w 948"/>
                <a:gd name="T121" fmla="*/ 145 h 194"/>
                <a:gd name="T122" fmla="*/ 759 w 948"/>
                <a:gd name="T123" fmla="*/ 9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8" h="194">
                  <a:moveTo>
                    <a:pt x="506" y="95"/>
                  </a:moveTo>
                  <a:cubicBezTo>
                    <a:pt x="498" y="95"/>
                    <a:pt x="492" y="97"/>
                    <a:pt x="486" y="100"/>
                  </a:cubicBezTo>
                  <a:cubicBezTo>
                    <a:pt x="486" y="161"/>
                    <a:pt x="486" y="161"/>
                    <a:pt x="486" y="161"/>
                  </a:cubicBezTo>
                  <a:cubicBezTo>
                    <a:pt x="491" y="162"/>
                    <a:pt x="495" y="162"/>
                    <a:pt x="500" y="162"/>
                  </a:cubicBezTo>
                  <a:cubicBezTo>
                    <a:pt x="520" y="162"/>
                    <a:pt x="522" y="153"/>
                    <a:pt x="522" y="141"/>
                  </a:cubicBezTo>
                  <a:cubicBezTo>
                    <a:pt x="522" y="111"/>
                    <a:pt x="522" y="111"/>
                    <a:pt x="522" y="111"/>
                  </a:cubicBezTo>
                  <a:cubicBezTo>
                    <a:pt x="522" y="102"/>
                    <a:pt x="519" y="95"/>
                    <a:pt x="506" y="95"/>
                  </a:cubicBezTo>
                  <a:moveTo>
                    <a:pt x="376" y="91"/>
                  </a:moveTo>
                  <a:cubicBezTo>
                    <a:pt x="363" y="91"/>
                    <a:pt x="360" y="99"/>
                    <a:pt x="360" y="108"/>
                  </a:cubicBezTo>
                  <a:cubicBezTo>
                    <a:pt x="360" y="113"/>
                    <a:pt x="360" y="113"/>
                    <a:pt x="360" y="113"/>
                  </a:cubicBezTo>
                  <a:cubicBezTo>
                    <a:pt x="393" y="113"/>
                    <a:pt x="393" y="113"/>
                    <a:pt x="393" y="113"/>
                  </a:cubicBezTo>
                  <a:cubicBezTo>
                    <a:pt x="393" y="108"/>
                    <a:pt x="393" y="108"/>
                    <a:pt x="393" y="108"/>
                  </a:cubicBezTo>
                  <a:cubicBezTo>
                    <a:pt x="393" y="99"/>
                    <a:pt x="390" y="91"/>
                    <a:pt x="376" y="91"/>
                  </a:cubicBezTo>
                  <a:moveTo>
                    <a:pt x="126" y="155"/>
                  </a:moveTo>
                  <a:cubicBezTo>
                    <a:pt x="126" y="162"/>
                    <a:pt x="129" y="166"/>
                    <a:pt x="137" y="166"/>
                  </a:cubicBezTo>
                  <a:cubicBezTo>
                    <a:pt x="145" y="166"/>
                    <a:pt x="150" y="164"/>
                    <a:pt x="156" y="161"/>
                  </a:cubicBezTo>
                  <a:cubicBezTo>
                    <a:pt x="156" y="146"/>
                    <a:pt x="156" y="146"/>
                    <a:pt x="156" y="146"/>
                  </a:cubicBezTo>
                  <a:cubicBezTo>
                    <a:pt x="138" y="146"/>
                    <a:pt x="138" y="146"/>
                    <a:pt x="138" y="146"/>
                  </a:cubicBezTo>
                  <a:cubicBezTo>
                    <a:pt x="130" y="146"/>
                    <a:pt x="126" y="148"/>
                    <a:pt x="126" y="155"/>
                  </a:cubicBezTo>
                  <a:moveTo>
                    <a:pt x="631" y="95"/>
                  </a:moveTo>
                  <a:cubicBezTo>
                    <a:pt x="618" y="95"/>
                    <a:pt x="613" y="102"/>
                    <a:pt x="613" y="111"/>
                  </a:cubicBezTo>
                  <a:cubicBezTo>
                    <a:pt x="613" y="145"/>
                    <a:pt x="613" y="145"/>
                    <a:pt x="613" y="145"/>
                  </a:cubicBezTo>
                  <a:cubicBezTo>
                    <a:pt x="613" y="154"/>
                    <a:pt x="618" y="161"/>
                    <a:pt x="631" y="161"/>
                  </a:cubicBezTo>
                  <a:cubicBezTo>
                    <a:pt x="645" y="161"/>
                    <a:pt x="650" y="154"/>
                    <a:pt x="650" y="145"/>
                  </a:cubicBezTo>
                  <a:cubicBezTo>
                    <a:pt x="650" y="111"/>
                    <a:pt x="650" y="111"/>
                    <a:pt x="650" y="111"/>
                  </a:cubicBezTo>
                  <a:cubicBezTo>
                    <a:pt x="650" y="102"/>
                    <a:pt x="645" y="95"/>
                    <a:pt x="631" y="95"/>
                  </a:cubicBezTo>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moveTo>
                    <a:pt x="196" y="193"/>
                  </a:moveTo>
                  <a:cubicBezTo>
                    <a:pt x="162" y="193"/>
                    <a:pt x="162" y="193"/>
                    <a:pt x="162" y="193"/>
                  </a:cubicBezTo>
                  <a:cubicBezTo>
                    <a:pt x="161" y="185"/>
                    <a:pt x="161" y="185"/>
                    <a:pt x="161" y="185"/>
                  </a:cubicBezTo>
                  <a:cubicBezTo>
                    <a:pt x="146" y="193"/>
                    <a:pt x="132" y="194"/>
                    <a:pt x="123" y="194"/>
                  </a:cubicBezTo>
                  <a:cubicBezTo>
                    <a:pt x="99" y="194"/>
                    <a:pt x="86" y="178"/>
                    <a:pt x="86" y="156"/>
                  </a:cubicBezTo>
                  <a:cubicBezTo>
                    <a:pt x="86" y="129"/>
                    <a:pt x="101" y="120"/>
                    <a:pt x="128" y="120"/>
                  </a:cubicBezTo>
                  <a:cubicBezTo>
                    <a:pt x="156" y="120"/>
                    <a:pt x="156" y="120"/>
                    <a:pt x="156" y="120"/>
                  </a:cubicBezTo>
                  <a:cubicBezTo>
                    <a:pt x="156" y="114"/>
                    <a:pt x="156" y="114"/>
                    <a:pt x="156" y="114"/>
                  </a:cubicBezTo>
                  <a:cubicBezTo>
                    <a:pt x="156" y="101"/>
                    <a:pt x="154" y="97"/>
                    <a:pt x="133" y="97"/>
                  </a:cubicBezTo>
                  <a:cubicBezTo>
                    <a:pt x="99" y="97"/>
                    <a:pt x="99" y="97"/>
                    <a:pt x="99" y="97"/>
                  </a:cubicBezTo>
                  <a:cubicBezTo>
                    <a:pt x="103" y="63"/>
                    <a:pt x="103" y="63"/>
                    <a:pt x="103" y="63"/>
                  </a:cubicBezTo>
                  <a:cubicBezTo>
                    <a:pt x="140" y="63"/>
                    <a:pt x="140" y="63"/>
                    <a:pt x="140" y="63"/>
                  </a:cubicBezTo>
                  <a:cubicBezTo>
                    <a:pt x="186" y="63"/>
                    <a:pt x="196" y="78"/>
                    <a:pt x="196" y="114"/>
                  </a:cubicBezTo>
                  <a:lnTo>
                    <a:pt x="196" y="193"/>
                  </a:lnTo>
                  <a:close/>
                  <a:moveTo>
                    <a:pt x="308" y="99"/>
                  </a:moveTo>
                  <a:cubicBezTo>
                    <a:pt x="288" y="95"/>
                    <a:pt x="282" y="95"/>
                    <a:pt x="272" y="95"/>
                  </a:cubicBezTo>
                  <a:cubicBezTo>
                    <a:pt x="254" y="95"/>
                    <a:pt x="249" y="99"/>
                    <a:pt x="249" y="114"/>
                  </a:cubicBezTo>
                  <a:cubicBezTo>
                    <a:pt x="249" y="142"/>
                    <a:pt x="249" y="142"/>
                    <a:pt x="249" y="142"/>
                  </a:cubicBezTo>
                  <a:cubicBezTo>
                    <a:pt x="249" y="157"/>
                    <a:pt x="254" y="161"/>
                    <a:pt x="272" y="161"/>
                  </a:cubicBezTo>
                  <a:cubicBezTo>
                    <a:pt x="282" y="161"/>
                    <a:pt x="288" y="161"/>
                    <a:pt x="308" y="157"/>
                  </a:cubicBezTo>
                  <a:cubicBezTo>
                    <a:pt x="308" y="189"/>
                    <a:pt x="308" y="189"/>
                    <a:pt x="308" y="189"/>
                  </a:cubicBezTo>
                  <a:cubicBezTo>
                    <a:pt x="290" y="193"/>
                    <a:pt x="278" y="194"/>
                    <a:pt x="268" y="194"/>
                  </a:cubicBezTo>
                  <a:cubicBezTo>
                    <a:pt x="226" y="194"/>
                    <a:pt x="209" y="172"/>
                    <a:pt x="209" y="140"/>
                  </a:cubicBezTo>
                  <a:cubicBezTo>
                    <a:pt x="209" y="116"/>
                    <a:pt x="209" y="116"/>
                    <a:pt x="209" y="116"/>
                  </a:cubicBezTo>
                  <a:cubicBezTo>
                    <a:pt x="209" y="84"/>
                    <a:pt x="226" y="62"/>
                    <a:pt x="268" y="62"/>
                  </a:cubicBezTo>
                  <a:cubicBezTo>
                    <a:pt x="278" y="62"/>
                    <a:pt x="290" y="63"/>
                    <a:pt x="308" y="67"/>
                  </a:cubicBezTo>
                  <a:lnTo>
                    <a:pt x="308" y="99"/>
                  </a:lnTo>
                  <a:close/>
                  <a:moveTo>
                    <a:pt x="433" y="140"/>
                  </a:moveTo>
                  <a:cubicBezTo>
                    <a:pt x="360" y="140"/>
                    <a:pt x="360" y="140"/>
                    <a:pt x="360" y="140"/>
                  </a:cubicBezTo>
                  <a:cubicBezTo>
                    <a:pt x="360" y="142"/>
                    <a:pt x="360" y="142"/>
                    <a:pt x="360" y="142"/>
                  </a:cubicBezTo>
                  <a:cubicBezTo>
                    <a:pt x="360" y="157"/>
                    <a:pt x="365" y="161"/>
                    <a:pt x="383" y="161"/>
                  </a:cubicBezTo>
                  <a:cubicBezTo>
                    <a:pt x="399" y="161"/>
                    <a:pt x="409" y="161"/>
                    <a:pt x="429" y="157"/>
                  </a:cubicBezTo>
                  <a:cubicBezTo>
                    <a:pt x="429" y="189"/>
                    <a:pt x="429" y="189"/>
                    <a:pt x="429" y="189"/>
                  </a:cubicBezTo>
                  <a:cubicBezTo>
                    <a:pt x="410" y="193"/>
                    <a:pt x="399" y="194"/>
                    <a:pt x="380" y="194"/>
                  </a:cubicBezTo>
                  <a:cubicBezTo>
                    <a:pt x="337" y="194"/>
                    <a:pt x="320" y="172"/>
                    <a:pt x="320" y="140"/>
                  </a:cubicBezTo>
                  <a:cubicBezTo>
                    <a:pt x="320" y="113"/>
                    <a:pt x="320" y="113"/>
                    <a:pt x="320" y="113"/>
                  </a:cubicBezTo>
                  <a:cubicBezTo>
                    <a:pt x="320" y="85"/>
                    <a:pt x="333" y="62"/>
                    <a:pt x="376" y="62"/>
                  </a:cubicBezTo>
                  <a:cubicBezTo>
                    <a:pt x="420" y="62"/>
                    <a:pt x="433" y="84"/>
                    <a:pt x="433" y="113"/>
                  </a:cubicBezTo>
                  <a:lnTo>
                    <a:pt x="433" y="140"/>
                  </a:lnTo>
                  <a:close/>
                  <a:moveTo>
                    <a:pt x="562" y="140"/>
                  </a:moveTo>
                  <a:cubicBezTo>
                    <a:pt x="562" y="172"/>
                    <a:pt x="553" y="194"/>
                    <a:pt x="499" y="194"/>
                  </a:cubicBezTo>
                  <a:cubicBezTo>
                    <a:pt x="479" y="194"/>
                    <a:pt x="468" y="193"/>
                    <a:pt x="446" y="189"/>
                  </a:cubicBezTo>
                  <a:cubicBezTo>
                    <a:pt x="446" y="10"/>
                    <a:pt x="446" y="10"/>
                    <a:pt x="446" y="10"/>
                  </a:cubicBezTo>
                  <a:cubicBezTo>
                    <a:pt x="486" y="4"/>
                    <a:pt x="486" y="4"/>
                    <a:pt x="486" y="4"/>
                  </a:cubicBezTo>
                  <a:cubicBezTo>
                    <a:pt x="486" y="66"/>
                    <a:pt x="486" y="66"/>
                    <a:pt x="486" y="66"/>
                  </a:cubicBezTo>
                  <a:cubicBezTo>
                    <a:pt x="494" y="63"/>
                    <a:pt x="506" y="62"/>
                    <a:pt x="516" y="62"/>
                  </a:cubicBezTo>
                  <a:cubicBezTo>
                    <a:pt x="555" y="62"/>
                    <a:pt x="562" y="79"/>
                    <a:pt x="562" y="108"/>
                  </a:cubicBezTo>
                  <a:lnTo>
                    <a:pt x="562" y="140"/>
                  </a:lnTo>
                  <a:close/>
                  <a:moveTo>
                    <a:pt x="690" y="141"/>
                  </a:moveTo>
                  <a:cubicBezTo>
                    <a:pt x="690" y="168"/>
                    <a:pt x="678" y="194"/>
                    <a:pt x="632" y="194"/>
                  </a:cubicBezTo>
                  <a:cubicBezTo>
                    <a:pt x="585" y="194"/>
                    <a:pt x="573" y="168"/>
                    <a:pt x="573" y="141"/>
                  </a:cubicBezTo>
                  <a:cubicBezTo>
                    <a:pt x="573" y="115"/>
                    <a:pt x="573" y="115"/>
                    <a:pt x="573" y="115"/>
                  </a:cubicBezTo>
                  <a:cubicBezTo>
                    <a:pt x="573" y="88"/>
                    <a:pt x="585" y="62"/>
                    <a:pt x="632" y="62"/>
                  </a:cubicBezTo>
                  <a:cubicBezTo>
                    <a:pt x="678" y="62"/>
                    <a:pt x="690" y="88"/>
                    <a:pt x="690" y="115"/>
                  </a:cubicBezTo>
                  <a:lnTo>
                    <a:pt x="690" y="141"/>
                  </a:lnTo>
                  <a:close/>
                  <a:moveTo>
                    <a:pt x="817" y="141"/>
                  </a:moveTo>
                  <a:cubicBezTo>
                    <a:pt x="817" y="168"/>
                    <a:pt x="806" y="194"/>
                    <a:pt x="759" y="194"/>
                  </a:cubicBezTo>
                  <a:cubicBezTo>
                    <a:pt x="712" y="194"/>
                    <a:pt x="701" y="168"/>
                    <a:pt x="701" y="141"/>
                  </a:cubicBezTo>
                  <a:cubicBezTo>
                    <a:pt x="701" y="115"/>
                    <a:pt x="701" y="115"/>
                    <a:pt x="701" y="115"/>
                  </a:cubicBezTo>
                  <a:cubicBezTo>
                    <a:pt x="701" y="88"/>
                    <a:pt x="712" y="62"/>
                    <a:pt x="759" y="62"/>
                  </a:cubicBezTo>
                  <a:cubicBezTo>
                    <a:pt x="806" y="62"/>
                    <a:pt x="817" y="88"/>
                    <a:pt x="817" y="115"/>
                  </a:cubicBezTo>
                  <a:lnTo>
                    <a:pt x="817" y="141"/>
                  </a:lnTo>
                  <a:close/>
                  <a:moveTo>
                    <a:pt x="948" y="193"/>
                  </a:moveTo>
                  <a:cubicBezTo>
                    <a:pt x="905" y="193"/>
                    <a:pt x="905" y="193"/>
                    <a:pt x="905" y="193"/>
                  </a:cubicBezTo>
                  <a:cubicBezTo>
                    <a:pt x="868" y="132"/>
                    <a:pt x="868" y="132"/>
                    <a:pt x="868" y="132"/>
                  </a:cubicBezTo>
                  <a:cubicBezTo>
                    <a:pt x="868" y="193"/>
                    <a:pt x="868" y="193"/>
                    <a:pt x="868" y="193"/>
                  </a:cubicBezTo>
                  <a:cubicBezTo>
                    <a:pt x="828" y="193"/>
                    <a:pt x="828" y="193"/>
                    <a:pt x="828" y="193"/>
                  </a:cubicBezTo>
                  <a:cubicBezTo>
                    <a:pt x="828" y="10"/>
                    <a:pt x="828" y="10"/>
                    <a:pt x="828" y="10"/>
                  </a:cubicBezTo>
                  <a:cubicBezTo>
                    <a:pt x="868" y="4"/>
                    <a:pt x="868" y="4"/>
                    <a:pt x="868" y="4"/>
                  </a:cubicBezTo>
                  <a:cubicBezTo>
                    <a:pt x="868" y="121"/>
                    <a:pt x="868" y="121"/>
                    <a:pt x="868" y="121"/>
                  </a:cubicBezTo>
                  <a:cubicBezTo>
                    <a:pt x="905" y="63"/>
                    <a:pt x="905" y="63"/>
                    <a:pt x="905" y="63"/>
                  </a:cubicBezTo>
                  <a:cubicBezTo>
                    <a:pt x="948" y="63"/>
                    <a:pt x="948" y="63"/>
                    <a:pt x="948" y="63"/>
                  </a:cubicBezTo>
                  <a:cubicBezTo>
                    <a:pt x="908" y="126"/>
                    <a:pt x="908" y="126"/>
                    <a:pt x="908" y="126"/>
                  </a:cubicBezTo>
                  <a:lnTo>
                    <a:pt x="948" y="193"/>
                  </a:lnTo>
                  <a:close/>
                  <a:moveTo>
                    <a:pt x="759" y="95"/>
                  </a:moveTo>
                  <a:cubicBezTo>
                    <a:pt x="745" y="95"/>
                    <a:pt x="741" y="102"/>
                    <a:pt x="741" y="111"/>
                  </a:cubicBezTo>
                  <a:cubicBezTo>
                    <a:pt x="741" y="145"/>
                    <a:pt x="741" y="145"/>
                    <a:pt x="741" y="145"/>
                  </a:cubicBezTo>
                  <a:cubicBezTo>
                    <a:pt x="741" y="154"/>
                    <a:pt x="745" y="161"/>
                    <a:pt x="759" y="161"/>
                  </a:cubicBezTo>
                  <a:cubicBezTo>
                    <a:pt x="772" y="161"/>
                    <a:pt x="777" y="154"/>
                    <a:pt x="777" y="145"/>
                  </a:cubicBezTo>
                  <a:cubicBezTo>
                    <a:pt x="777" y="111"/>
                    <a:pt x="777" y="111"/>
                    <a:pt x="777" y="111"/>
                  </a:cubicBezTo>
                  <a:cubicBezTo>
                    <a:pt x="777" y="102"/>
                    <a:pt x="772" y="95"/>
                    <a:pt x="759" y="95"/>
                  </a:cubicBezTo>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54">
                <a:defRPr/>
              </a:pPr>
              <a:endParaRPr lang="en-US" sz="1537" kern="0" dirty="0">
                <a:solidFill>
                  <a:srgbClr val="353535"/>
                </a:solidFill>
                <a:latin typeface="Segoe UI Semilight"/>
              </a:endParaRPr>
            </a:p>
          </p:txBody>
        </p:sp>
        <p:pic>
          <p:nvPicPr>
            <p:cNvPr id="461" name="Picture 460">
              <a:extLst>
                <a:ext uri="{FF2B5EF4-FFF2-40B4-BE49-F238E27FC236}">
                  <a16:creationId xmlns:a16="http://schemas.microsoft.com/office/drawing/2014/main" id="{96CEB23D-CA01-472F-AF11-24513D9F6488}"/>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40000" contrast="-40000"/>
                      </a14:imgEffect>
                    </a14:imgLayer>
                  </a14:imgProps>
                </a:ext>
              </a:extLst>
            </a:blip>
            <a:stretch>
              <a:fillRect/>
            </a:stretch>
          </p:blipFill>
          <p:spPr>
            <a:xfrm>
              <a:off x="1401748" y="1675965"/>
              <a:ext cx="473721" cy="475978"/>
            </a:xfrm>
            <a:prstGeom prst="rect">
              <a:avLst/>
            </a:prstGeom>
          </p:spPr>
        </p:pic>
        <p:grpSp>
          <p:nvGrpSpPr>
            <p:cNvPr id="462" name="Group 461">
              <a:extLst>
                <a:ext uri="{FF2B5EF4-FFF2-40B4-BE49-F238E27FC236}">
                  <a16:creationId xmlns:a16="http://schemas.microsoft.com/office/drawing/2014/main" id="{8343E544-4076-4029-AAA1-0B8D4ED84F11}"/>
                </a:ext>
              </a:extLst>
            </p:cNvPr>
            <p:cNvGrpSpPr/>
            <p:nvPr/>
          </p:nvGrpSpPr>
          <p:grpSpPr>
            <a:xfrm>
              <a:off x="2021158" y="2609804"/>
              <a:ext cx="1187862" cy="906584"/>
              <a:chOff x="1206219" y="2162540"/>
              <a:chExt cx="1187862" cy="906584"/>
            </a:xfrm>
          </p:grpSpPr>
          <p:grpSp>
            <p:nvGrpSpPr>
              <p:cNvPr id="463" name="Group 462">
                <a:extLst>
                  <a:ext uri="{FF2B5EF4-FFF2-40B4-BE49-F238E27FC236}">
                    <a16:creationId xmlns:a16="http://schemas.microsoft.com/office/drawing/2014/main" id="{E46D2A16-5128-49B8-A777-EDFC74C30C5F}"/>
                  </a:ext>
                </a:extLst>
              </p:cNvPr>
              <p:cNvGrpSpPr/>
              <p:nvPr/>
            </p:nvGrpSpPr>
            <p:grpSpPr>
              <a:xfrm>
                <a:off x="1544221" y="2162540"/>
                <a:ext cx="479462" cy="395218"/>
                <a:chOff x="2309175" y="2458187"/>
                <a:chExt cx="466711" cy="403143"/>
              </a:xfrm>
            </p:grpSpPr>
            <p:sp>
              <p:nvSpPr>
                <p:cNvPr id="465" name="Isosceles Triangle 464">
                  <a:extLst>
                    <a:ext uri="{FF2B5EF4-FFF2-40B4-BE49-F238E27FC236}">
                      <a16:creationId xmlns:a16="http://schemas.microsoft.com/office/drawing/2014/main" id="{2C43A893-20AF-45C5-8902-F6C60CEAB46C}"/>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6" name="Freeform: Shape 465">
                  <a:extLst>
                    <a:ext uri="{FF2B5EF4-FFF2-40B4-BE49-F238E27FC236}">
                      <a16:creationId xmlns:a16="http://schemas.microsoft.com/office/drawing/2014/main" id="{FE53746A-815A-4BA4-AA13-1D57EB5AA5E0}"/>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4" name="TextBox 463">
                <a:extLst>
                  <a:ext uri="{FF2B5EF4-FFF2-40B4-BE49-F238E27FC236}">
                    <a16:creationId xmlns:a16="http://schemas.microsoft.com/office/drawing/2014/main" id="{0AC2E16D-656F-4B83-B30F-5460762F73E4}"/>
                  </a:ext>
                </a:extLst>
              </p:cNvPr>
              <p:cNvSpPr txBox="1"/>
              <p:nvPr/>
            </p:nvSpPr>
            <p:spPr>
              <a:xfrm>
                <a:off x="1206219" y="2625926"/>
                <a:ext cx="1187862" cy="443198"/>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nsumer</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grpSp>
      <p:grpSp>
        <p:nvGrpSpPr>
          <p:cNvPr id="471" name="Group 470">
            <a:extLst>
              <a:ext uri="{FF2B5EF4-FFF2-40B4-BE49-F238E27FC236}">
                <a16:creationId xmlns:a16="http://schemas.microsoft.com/office/drawing/2014/main" id="{2B529CE0-F933-4B48-90FD-98197EE25B2A}"/>
              </a:ext>
            </a:extLst>
          </p:cNvPr>
          <p:cNvGrpSpPr/>
          <p:nvPr/>
        </p:nvGrpSpPr>
        <p:grpSpPr>
          <a:xfrm>
            <a:off x="3936886" y="1244520"/>
            <a:ext cx="1945351" cy="984507"/>
            <a:chOff x="4015828" y="1178972"/>
            <a:chExt cx="1984359" cy="1004248"/>
          </a:xfrm>
        </p:grpSpPr>
        <p:sp>
          <p:nvSpPr>
            <p:cNvPr id="472" name="TextBox 471">
              <a:extLst>
                <a:ext uri="{FF2B5EF4-FFF2-40B4-BE49-F238E27FC236}">
                  <a16:creationId xmlns:a16="http://schemas.microsoft.com/office/drawing/2014/main" id="{26270939-1D7D-4E54-90B2-367D169E1980}"/>
                </a:ext>
              </a:extLst>
            </p:cNvPr>
            <p:cNvSpPr txBox="1"/>
            <p:nvPr/>
          </p:nvSpPr>
          <p:spPr>
            <a:xfrm>
              <a:off x="5017881" y="1650609"/>
              <a:ext cx="982306"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Partners</a:t>
              </a:r>
            </a:p>
          </p:txBody>
        </p:sp>
        <p:grpSp>
          <p:nvGrpSpPr>
            <p:cNvPr id="473" name="Group 472">
              <a:extLst>
                <a:ext uri="{FF2B5EF4-FFF2-40B4-BE49-F238E27FC236}">
                  <a16:creationId xmlns:a16="http://schemas.microsoft.com/office/drawing/2014/main" id="{3FA84423-B7BB-40D5-A8DD-A7536BD55439}"/>
                </a:ext>
              </a:extLst>
            </p:cNvPr>
            <p:cNvGrpSpPr/>
            <p:nvPr/>
          </p:nvGrpSpPr>
          <p:grpSpPr>
            <a:xfrm>
              <a:off x="4015828" y="1178972"/>
              <a:ext cx="1904818" cy="1004248"/>
              <a:chOff x="4015828" y="1178972"/>
              <a:chExt cx="1904818" cy="1004248"/>
            </a:xfrm>
          </p:grpSpPr>
          <p:sp>
            <p:nvSpPr>
              <p:cNvPr id="474" name="TextBox 473">
                <a:extLst>
                  <a:ext uri="{FF2B5EF4-FFF2-40B4-BE49-F238E27FC236}">
                    <a16:creationId xmlns:a16="http://schemas.microsoft.com/office/drawing/2014/main" id="{F127DAAA-9ED7-403F-9099-E92A6CA76F99}"/>
                  </a:ext>
                </a:extLst>
              </p:cNvPr>
              <p:cNvSpPr txBox="1"/>
              <p:nvPr/>
            </p:nvSpPr>
            <p:spPr>
              <a:xfrm>
                <a:off x="4015828" y="1869471"/>
                <a:ext cx="1377219"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Customers</a:t>
                </a:r>
              </a:p>
            </p:txBody>
          </p:sp>
          <p:sp>
            <p:nvSpPr>
              <p:cNvPr id="475" name="Freeform: Shape 474">
                <a:extLst>
                  <a:ext uri="{FF2B5EF4-FFF2-40B4-BE49-F238E27FC236}">
                    <a16:creationId xmlns:a16="http://schemas.microsoft.com/office/drawing/2014/main" id="{75323B82-876B-4D1D-9C20-1F88E6F4BC43}"/>
                  </a:ext>
                </a:extLst>
              </p:cNvPr>
              <p:cNvSpPr/>
              <p:nvPr/>
            </p:nvSpPr>
            <p:spPr bwMode="auto">
              <a:xfrm flipH="1">
                <a:off x="4143598" y="1398286"/>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6" name="Freeform: Shape 475">
                <a:extLst>
                  <a:ext uri="{FF2B5EF4-FFF2-40B4-BE49-F238E27FC236}">
                    <a16:creationId xmlns:a16="http://schemas.microsoft.com/office/drawing/2014/main" id="{9911EF6E-F3F6-4198-A8F0-757B75164165}"/>
                  </a:ext>
                </a:extLst>
              </p:cNvPr>
              <p:cNvSpPr/>
              <p:nvPr/>
            </p:nvSpPr>
            <p:spPr bwMode="auto">
              <a:xfrm flipH="1">
                <a:off x="5058108" y="1178972"/>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477" name="Rectangle 476">
            <a:extLst>
              <a:ext uri="{FF2B5EF4-FFF2-40B4-BE49-F238E27FC236}">
                <a16:creationId xmlns:a16="http://schemas.microsoft.com/office/drawing/2014/main" id="{B7B4BFB2-321B-4063-929C-C6D3B87B55CD}"/>
              </a:ext>
            </a:extLst>
          </p:cNvPr>
          <p:cNvSpPr/>
          <p:nvPr/>
        </p:nvSpPr>
        <p:spPr>
          <a:xfrm>
            <a:off x="4197066" y="4707019"/>
            <a:ext cx="911025" cy="512935"/>
          </a:xfrm>
          <a:prstGeom prst="rect">
            <a:avLst/>
          </a:prstGeom>
        </p:spPr>
        <p:txBody>
          <a:bodyPr wrap="none">
            <a:spAutoFit/>
          </a:bodyPr>
          <a:lstStyle/>
          <a:p>
            <a:pPr defTabSz="896386">
              <a:defRPr/>
            </a:pPr>
            <a:r>
              <a:rPr lang="en-US" sz="1372" kern="0" dirty="0">
                <a:solidFill>
                  <a:srgbClr val="353535"/>
                </a:solidFill>
                <a:latin typeface="Segoe UI" panose="020B0502040204020203" pitchFamily="34" charset="0"/>
                <a:cs typeface="Segoe UI" panose="020B0502040204020203" pitchFamily="34" charset="0"/>
              </a:rPr>
              <a:t>Azure AD</a:t>
            </a:r>
            <a:br>
              <a:rPr lang="en-US" sz="1372" kern="0" dirty="0">
                <a:solidFill>
                  <a:srgbClr val="353535"/>
                </a:solidFill>
                <a:latin typeface="Segoe UI" panose="020B0502040204020203" pitchFamily="34" charset="0"/>
                <a:cs typeface="Segoe UI" panose="020B0502040204020203" pitchFamily="34" charset="0"/>
              </a:rPr>
            </a:br>
            <a:r>
              <a:rPr lang="en-US" sz="1372" kern="0" dirty="0">
                <a:solidFill>
                  <a:srgbClr val="353535"/>
                </a:solidFill>
                <a:latin typeface="Segoe UI" panose="020B0502040204020203" pitchFamily="34" charset="0"/>
                <a:cs typeface="Segoe UI" panose="020B0502040204020203" pitchFamily="34" charset="0"/>
              </a:rPr>
              <a:t>Connect</a:t>
            </a:r>
            <a:endParaRPr lang="en-US" sz="1372" kern="0" dirty="0">
              <a:solidFill>
                <a:srgbClr val="353535"/>
              </a:solidFill>
              <a:latin typeface="Segoe UI Semilight"/>
            </a:endParaRPr>
          </a:p>
        </p:txBody>
      </p:sp>
      <p:grpSp>
        <p:nvGrpSpPr>
          <p:cNvPr id="478" name="Group 477">
            <a:extLst>
              <a:ext uri="{FF2B5EF4-FFF2-40B4-BE49-F238E27FC236}">
                <a16:creationId xmlns:a16="http://schemas.microsoft.com/office/drawing/2014/main" id="{4AEF2356-493A-45FE-80A6-1DA2C6912D60}"/>
              </a:ext>
            </a:extLst>
          </p:cNvPr>
          <p:cNvGrpSpPr/>
          <p:nvPr/>
        </p:nvGrpSpPr>
        <p:grpSpPr>
          <a:xfrm>
            <a:off x="4260668" y="4314852"/>
            <a:ext cx="367409" cy="378910"/>
            <a:chOff x="7596294" y="4477333"/>
            <a:chExt cx="374776" cy="386508"/>
          </a:xfrm>
        </p:grpSpPr>
        <p:sp useBgFill="1">
          <p:nvSpPr>
            <p:cNvPr id="479" name="Oval 478">
              <a:extLst>
                <a:ext uri="{FF2B5EF4-FFF2-40B4-BE49-F238E27FC236}">
                  <a16:creationId xmlns:a16="http://schemas.microsoft.com/office/drawing/2014/main" id="{24A4051D-FB43-4EB8-936D-9AF53FDF3DAA}"/>
                </a:ext>
              </a:extLst>
            </p:cNvPr>
            <p:cNvSpPr/>
            <p:nvPr/>
          </p:nvSpPr>
          <p:spPr bwMode="auto">
            <a:xfrm>
              <a:off x="7596294" y="4484497"/>
              <a:ext cx="374776" cy="374776"/>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0" name="Freeform 149">
              <a:extLst>
                <a:ext uri="{FF2B5EF4-FFF2-40B4-BE49-F238E27FC236}">
                  <a16:creationId xmlns:a16="http://schemas.microsoft.com/office/drawing/2014/main" id="{590A1A83-336D-4CB7-8627-F2B5C3EF9468}"/>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grpSp>
    </p:spTree>
    <p:extLst>
      <p:ext uri="{BB962C8B-B14F-4D97-AF65-F5344CB8AC3E}">
        <p14:creationId xmlns:p14="http://schemas.microsoft.com/office/powerpoint/2010/main" val="265326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410"/>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410"/>
                                        </p:tgtEl>
                                      </p:cBhvr>
                                      <p:by x="80000" y="80000"/>
                                    </p:animScale>
                                  </p:childTnLst>
                                </p:cTn>
                              </p:par>
                              <p:par>
                                <p:cTn id="9" presetID="21" presetClass="entr" presetSubtype="1" fill="hold" grpId="0" nodeType="withEffect">
                                  <p:stCondLst>
                                    <p:cond delay="500"/>
                                  </p:stCondLst>
                                  <p:childTnLst>
                                    <p:set>
                                      <p:cBhvr>
                                        <p:cTn id="10" dur="1" fill="hold">
                                          <p:stCondLst>
                                            <p:cond delay="0"/>
                                          </p:stCondLst>
                                        </p:cTn>
                                        <p:tgtEl>
                                          <p:spTgt spid="410"/>
                                        </p:tgtEl>
                                        <p:attrNameLst>
                                          <p:attrName>style.visibility</p:attrName>
                                        </p:attrNameLst>
                                      </p:cBhvr>
                                      <p:to>
                                        <p:strVal val="visible"/>
                                      </p:to>
                                    </p:set>
                                    <p:animEffect transition="in" filter="wheel(1)">
                                      <p:cBhvr>
                                        <p:cTn id="11" dur="500"/>
                                        <p:tgtEl>
                                          <p:spTgt spid="410"/>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411"/>
                                        </p:tgtEl>
                                        <p:attrNameLst>
                                          <p:attrName>style.visibility</p:attrName>
                                        </p:attrNameLst>
                                      </p:cBhvr>
                                      <p:to>
                                        <p:strVal val="visible"/>
                                      </p:to>
                                    </p:set>
                                    <p:animEffect transition="in" filter="fade">
                                      <p:cBhvr>
                                        <p:cTn id="14" dur="400"/>
                                        <p:tgtEl>
                                          <p:spTgt spid="411"/>
                                        </p:tgtEl>
                                      </p:cBhvr>
                                    </p:animEffect>
                                  </p:childTnLst>
                                </p:cTn>
                              </p:par>
                              <p:par>
                                <p:cTn id="15" presetID="42" presetClass="path" presetSubtype="0" decel="100000" fill="hold" grpId="1" nodeType="withEffect">
                                  <p:stCondLst>
                                    <p:cond delay="300"/>
                                  </p:stCondLst>
                                  <p:childTnLst>
                                    <p:animMotion origin="layout" path="M -1.45833E-6 -3.7037E-6 L -1.45833E-6 0.0963 " pathEditMode="relative" rAng="0" ptsTypes="AA">
                                      <p:cBhvr>
                                        <p:cTn id="16" dur="700" spd="-100000" fill="hold"/>
                                        <p:tgtEl>
                                          <p:spTgt spid="411"/>
                                        </p:tgtEl>
                                        <p:attrNameLst>
                                          <p:attrName>ppt_x</p:attrName>
                                          <p:attrName>ppt_y</p:attrName>
                                        </p:attrNameLst>
                                      </p:cBhvr>
                                      <p:rCtr x="0" y="4815"/>
                                    </p:animMotion>
                                  </p:childTnLst>
                                </p:cTn>
                              </p:par>
                            </p:childTnLst>
                          </p:cTn>
                        </p:par>
                        <p:par>
                          <p:cTn id="17" fill="hold">
                            <p:stCondLst>
                              <p:cond delay="1000"/>
                            </p:stCondLst>
                            <p:childTnLst>
                              <p:par>
                                <p:cTn id="18" presetID="1" presetClass="entr" presetSubtype="0" fill="hold" grpId="1" nodeType="afterEffect">
                                  <p:stCondLst>
                                    <p:cond delay="0"/>
                                  </p:stCondLst>
                                  <p:childTnLst>
                                    <p:set>
                                      <p:cBhvr>
                                        <p:cTn id="19" dur="1" fill="hold">
                                          <p:stCondLst>
                                            <p:cond delay="499"/>
                                          </p:stCondLst>
                                        </p:cTn>
                                        <p:tgtEl>
                                          <p:spTgt spid="412"/>
                                        </p:tgtEl>
                                        <p:attrNameLst>
                                          <p:attrName>style.visibility</p:attrName>
                                        </p:attrNameLst>
                                      </p:cBhvr>
                                      <p:to>
                                        <p:strVal val="visible"/>
                                      </p:to>
                                    </p:set>
                                  </p:childTnLst>
                                </p:cTn>
                              </p:par>
                              <p:par>
                                <p:cTn id="20" presetID="6" presetClass="emph" presetSubtype="0" accel="100000" autoRev="1" fill="hold" grpId="0" nodeType="withEffect">
                                  <p:stCondLst>
                                    <p:cond delay="0"/>
                                  </p:stCondLst>
                                  <p:childTnLst>
                                    <p:animScale>
                                      <p:cBhvr>
                                        <p:cTn id="21" dur="500" fill="hold"/>
                                        <p:tgtEl>
                                          <p:spTgt spid="412"/>
                                        </p:tgtEl>
                                      </p:cBhvr>
                                      <p:by x="0" y="0"/>
                                    </p:animScale>
                                  </p:childTnLst>
                                </p:cTn>
                              </p:par>
                              <p:par>
                                <p:cTn id="22" presetID="1" presetClass="entr" presetSubtype="0" fill="hold" grpId="0" nodeType="withEffect">
                                  <p:stCondLst>
                                    <p:cond delay="100"/>
                                  </p:stCondLst>
                                  <p:childTnLst>
                                    <p:set>
                                      <p:cBhvr>
                                        <p:cTn id="23" dur="1" fill="hold">
                                          <p:stCondLst>
                                            <p:cond delay="499"/>
                                          </p:stCondLst>
                                        </p:cTn>
                                        <p:tgtEl>
                                          <p:spTgt spid="413"/>
                                        </p:tgtEl>
                                        <p:attrNameLst>
                                          <p:attrName>style.visibility</p:attrName>
                                        </p:attrNameLst>
                                      </p:cBhvr>
                                      <p:to>
                                        <p:strVal val="visible"/>
                                      </p:to>
                                    </p:set>
                                  </p:childTnLst>
                                </p:cTn>
                              </p:par>
                              <p:par>
                                <p:cTn id="24" presetID="6" presetClass="emph" presetSubtype="0" accel="100000" autoRev="1" fill="hold" grpId="1" nodeType="withEffect">
                                  <p:stCondLst>
                                    <p:cond delay="100"/>
                                  </p:stCondLst>
                                  <p:childTnLst>
                                    <p:animScale>
                                      <p:cBhvr>
                                        <p:cTn id="25" dur="500" fill="hold"/>
                                        <p:tgtEl>
                                          <p:spTgt spid="413"/>
                                        </p:tgtEl>
                                      </p:cBhvr>
                                      <p:by x="0" y="0"/>
                                    </p:animScale>
                                  </p:childTnLst>
                                </p:cTn>
                              </p:par>
                              <p:par>
                                <p:cTn id="26" presetID="10" presetClass="entr" presetSubtype="0" fill="hold" grpId="0" nodeType="withEffect">
                                  <p:stCondLst>
                                    <p:cond delay="700"/>
                                  </p:stCondLst>
                                  <p:childTnLst>
                                    <p:set>
                                      <p:cBhvr>
                                        <p:cTn id="27" dur="1" fill="hold">
                                          <p:stCondLst>
                                            <p:cond delay="0"/>
                                          </p:stCondLst>
                                        </p:cTn>
                                        <p:tgtEl>
                                          <p:spTgt spid="352"/>
                                        </p:tgtEl>
                                        <p:attrNameLst>
                                          <p:attrName>style.visibility</p:attrName>
                                        </p:attrNameLst>
                                      </p:cBhvr>
                                      <p:to>
                                        <p:strVal val="visible"/>
                                      </p:to>
                                    </p:set>
                                    <p:animEffect transition="in" filter="fade">
                                      <p:cBhvr>
                                        <p:cTn id="28" dur="500"/>
                                        <p:tgtEl>
                                          <p:spTgt spid="352"/>
                                        </p:tgtEl>
                                      </p:cBhvr>
                                    </p:animEffect>
                                  </p:childTnLst>
                                </p:cTn>
                              </p:par>
                              <p:par>
                                <p:cTn id="29" presetID="42" presetClass="path" presetSubtype="0" decel="100000" fill="hold" grpId="1" nodeType="withEffect">
                                  <p:stCondLst>
                                    <p:cond delay="700"/>
                                  </p:stCondLst>
                                  <p:childTnLst>
                                    <p:animMotion origin="layout" path="M -4.16667E-7 3.33333E-6 L -4.16667E-7 0.02569 " pathEditMode="relative" rAng="0" ptsTypes="AA">
                                      <p:cBhvr>
                                        <p:cTn id="30" dur="500" spd="-100000" fill="hold"/>
                                        <p:tgtEl>
                                          <p:spTgt spid="352"/>
                                        </p:tgtEl>
                                        <p:attrNameLst>
                                          <p:attrName>ppt_x</p:attrName>
                                          <p:attrName>ppt_y</p:attrName>
                                        </p:attrNameLst>
                                      </p:cBhvr>
                                      <p:rCtr x="0" y="1273"/>
                                    </p:animMotion>
                                  </p:childTnLst>
                                </p:cTn>
                              </p:par>
                              <p:par>
                                <p:cTn id="31" presetID="10" presetClass="entr" presetSubtype="0" fill="hold" grpId="0" nodeType="withEffect">
                                  <p:stCondLst>
                                    <p:cond delay="800"/>
                                  </p:stCondLst>
                                  <p:childTnLst>
                                    <p:set>
                                      <p:cBhvr>
                                        <p:cTn id="32" dur="1" fill="hold">
                                          <p:stCondLst>
                                            <p:cond delay="0"/>
                                          </p:stCondLst>
                                        </p:cTn>
                                        <p:tgtEl>
                                          <p:spTgt spid="414"/>
                                        </p:tgtEl>
                                        <p:attrNameLst>
                                          <p:attrName>style.visibility</p:attrName>
                                        </p:attrNameLst>
                                      </p:cBhvr>
                                      <p:to>
                                        <p:strVal val="visible"/>
                                      </p:to>
                                    </p:set>
                                    <p:animEffect transition="in" filter="fade">
                                      <p:cBhvr>
                                        <p:cTn id="33" dur="500"/>
                                        <p:tgtEl>
                                          <p:spTgt spid="414"/>
                                        </p:tgtEl>
                                      </p:cBhvr>
                                    </p:animEffect>
                                  </p:childTnLst>
                                </p:cTn>
                              </p:par>
                              <p:par>
                                <p:cTn id="34" presetID="64" presetClass="path" presetSubtype="0" decel="100000" fill="hold" grpId="1" nodeType="withEffect">
                                  <p:stCondLst>
                                    <p:cond delay="800"/>
                                  </p:stCondLst>
                                  <p:childTnLst>
                                    <p:animMotion origin="layout" path="M -3.33333E-6 5.55112E-17 L -3.33333E-6 -0.02824 " pathEditMode="relative" rAng="0" ptsTypes="AA">
                                      <p:cBhvr>
                                        <p:cTn id="35" dur="500" spd="-100000" fill="hold"/>
                                        <p:tgtEl>
                                          <p:spTgt spid="414"/>
                                        </p:tgtEl>
                                        <p:attrNameLst>
                                          <p:attrName>ppt_x</p:attrName>
                                          <p:attrName>ppt_y</p:attrName>
                                        </p:attrNameLst>
                                      </p:cBhvr>
                                      <p:rCtr x="0" y="-1412"/>
                                    </p:animMotion>
                                  </p:childTnLst>
                                </p:cTn>
                              </p:par>
                              <p:par>
                                <p:cTn id="36" presetID="10" presetClass="entr" presetSubtype="0" fill="hold" grpId="0" nodeType="withEffect">
                                  <p:stCondLst>
                                    <p:cond delay="800"/>
                                  </p:stCondLst>
                                  <p:childTnLst>
                                    <p:set>
                                      <p:cBhvr>
                                        <p:cTn id="37" dur="1" fill="hold">
                                          <p:stCondLst>
                                            <p:cond delay="0"/>
                                          </p:stCondLst>
                                        </p:cTn>
                                        <p:tgtEl>
                                          <p:spTgt spid="415"/>
                                        </p:tgtEl>
                                        <p:attrNameLst>
                                          <p:attrName>style.visibility</p:attrName>
                                        </p:attrNameLst>
                                      </p:cBhvr>
                                      <p:to>
                                        <p:strVal val="visible"/>
                                      </p:to>
                                    </p:set>
                                    <p:animEffect transition="in" filter="fade">
                                      <p:cBhvr>
                                        <p:cTn id="38" dur="500"/>
                                        <p:tgtEl>
                                          <p:spTgt spid="415"/>
                                        </p:tgtEl>
                                      </p:cBhvr>
                                    </p:animEffect>
                                  </p:childTnLst>
                                </p:cTn>
                              </p:par>
                              <p:par>
                                <p:cTn id="39" presetID="42" presetClass="path" presetSubtype="0" decel="100000" fill="hold" grpId="1" nodeType="withEffect">
                                  <p:stCondLst>
                                    <p:cond delay="800"/>
                                  </p:stCondLst>
                                  <p:childTnLst>
                                    <p:animMotion origin="layout" path="M -3.54167E-6 -2.22222E-6 L -3.54167E-6 0.0257 " pathEditMode="relative" rAng="0" ptsTypes="AA">
                                      <p:cBhvr>
                                        <p:cTn id="40" dur="500" spd="-100000" fill="hold"/>
                                        <p:tgtEl>
                                          <p:spTgt spid="415"/>
                                        </p:tgtEl>
                                        <p:attrNameLst>
                                          <p:attrName>ppt_x</p:attrName>
                                          <p:attrName>ppt_y</p:attrName>
                                        </p:attrNameLst>
                                      </p:cBhvr>
                                      <p:rCtr x="0" y="1273"/>
                                    </p:animMotion>
                                  </p:childTnLst>
                                </p:cTn>
                              </p:par>
                              <p:par>
                                <p:cTn id="41" presetID="10" presetClass="entr" presetSubtype="0" fill="hold" nodeType="withEffect">
                                  <p:stCondLst>
                                    <p:cond delay="700"/>
                                  </p:stCondLst>
                                  <p:childTnLst>
                                    <p:set>
                                      <p:cBhvr>
                                        <p:cTn id="42" dur="1" fill="hold">
                                          <p:stCondLst>
                                            <p:cond delay="0"/>
                                          </p:stCondLst>
                                        </p:cTn>
                                        <p:tgtEl>
                                          <p:spTgt spid="416"/>
                                        </p:tgtEl>
                                        <p:attrNameLst>
                                          <p:attrName>style.visibility</p:attrName>
                                        </p:attrNameLst>
                                      </p:cBhvr>
                                      <p:to>
                                        <p:strVal val="visible"/>
                                      </p:to>
                                    </p:set>
                                    <p:animEffect transition="in" filter="fade">
                                      <p:cBhvr>
                                        <p:cTn id="43" dur="500"/>
                                        <p:tgtEl>
                                          <p:spTgt spid="416"/>
                                        </p:tgtEl>
                                      </p:cBhvr>
                                    </p:animEffect>
                                  </p:childTnLst>
                                </p:cTn>
                              </p:par>
                              <p:par>
                                <p:cTn id="44" presetID="64" presetClass="path" presetSubtype="0" decel="100000" fill="hold" nodeType="withEffect">
                                  <p:stCondLst>
                                    <p:cond delay="700"/>
                                  </p:stCondLst>
                                  <p:childTnLst>
                                    <p:animMotion origin="layout" path="M 6.25E-7 -4.44444E-6 L 6.25E-7 -0.02824 " pathEditMode="relative" rAng="0" ptsTypes="AA">
                                      <p:cBhvr>
                                        <p:cTn id="45" dur="500" spd="-100000" fill="hold"/>
                                        <p:tgtEl>
                                          <p:spTgt spid="416"/>
                                        </p:tgtEl>
                                        <p:attrNameLst>
                                          <p:attrName>ppt_x</p:attrName>
                                          <p:attrName>ppt_y</p:attrName>
                                        </p:attrNameLst>
                                      </p:cBhvr>
                                      <p:rCtr x="0" y="-1412"/>
                                    </p:animMotion>
                                  </p:childTnLst>
                                </p:cTn>
                              </p:par>
                              <p:par>
                                <p:cTn id="46" presetID="10" presetClass="entr" presetSubtype="0" fill="hold" nodeType="withEffect">
                                  <p:stCondLst>
                                    <p:cond delay="700"/>
                                  </p:stCondLst>
                                  <p:childTnLst>
                                    <p:set>
                                      <p:cBhvr>
                                        <p:cTn id="47" dur="1" fill="hold">
                                          <p:stCondLst>
                                            <p:cond delay="0"/>
                                          </p:stCondLst>
                                        </p:cTn>
                                        <p:tgtEl>
                                          <p:spTgt spid="419"/>
                                        </p:tgtEl>
                                        <p:attrNameLst>
                                          <p:attrName>style.visibility</p:attrName>
                                        </p:attrNameLst>
                                      </p:cBhvr>
                                      <p:to>
                                        <p:strVal val="visible"/>
                                      </p:to>
                                    </p:set>
                                    <p:animEffect transition="in" filter="fade">
                                      <p:cBhvr>
                                        <p:cTn id="48" dur="500"/>
                                        <p:tgtEl>
                                          <p:spTgt spid="419"/>
                                        </p:tgtEl>
                                      </p:cBhvr>
                                    </p:animEffect>
                                  </p:childTnLst>
                                </p:cTn>
                              </p:par>
                              <p:par>
                                <p:cTn id="49" presetID="64" presetClass="path" presetSubtype="0" decel="100000" fill="hold" nodeType="withEffect">
                                  <p:stCondLst>
                                    <p:cond delay="700"/>
                                  </p:stCondLst>
                                  <p:childTnLst>
                                    <p:animMotion origin="layout" path="M -1.25E-6 2.96296E-6 L -1.25E-6 -0.02824 " pathEditMode="relative" rAng="0" ptsTypes="AA">
                                      <p:cBhvr>
                                        <p:cTn id="50" dur="500" spd="-100000" fill="hold"/>
                                        <p:tgtEl>
                                          <p:spTgt spid="419"/>
                                        </p:tgtEl>
                                        <p:attrNameLst>
                                          <p:attrName>ppt_x</p:attrName>
                                          <p:attrName>ppt_y</p:attrName>
                                        </p:attrNameLst>
                                      </p:cBhvr>
                                      <p:rCtr x="0" y="-1412"/>
                                    </p:animMotion>
                                  </p:childTnLst>
                                </p:cTn>
                              </p:par>
                              <p:par>
                                <p:cTn id="51" presetID="10" presetClass="entr" presetSubtype="0" fill="hold" nodeType="withEffect">
                                  <p:stCondLst>
                                    <p:cond delay="700"/>
                                  </p:stCondLst>
                                  <p:childTnLst>
                                    <p:set>
                                      <p:cBhvr>
                                        <p:cTn id="52" dur="1" fill="hold">
                                          <p:stCondLst>
                                            <p:cond delay="0"/>
                                          </p:stCondLst>
                                        </p:cTn>
                                        <p:tgtEl>
                                          <p:spTgt spid="422"/>
                                        </p:tgtEl>
                                        <p:attrNameLst>
                                          <p:attrName>style.visibility</p:attrName>
                                        </p:attrNameLst>
                                      </p:cBhvr>
                                      <p:to>
                                        <p:strVal val="visible"/>
                                      </p:to>
                                    </p:set>
                                    <p:animEffect transition="in" filter="fade">
                                      <p:cBhvr>
                                        <p:cTn id="53" dur="500"/>
                                        <p:tgtEl>
                                          <p:spTgt spid="422"/>
                                        </p:tgtEl>
                                      </p:cBhvr>
                                    </p:animEffect>
                                  </p:childTnLst>
                                </p:cTn>
                              </p:par>
                              <p:par>
                                <p:cTn id="54" presetID="64" presetClass="path" presetSubtype="0" decel="100000" fill="hold" nodeType="withEffect">
                                  <p:stCondLst>
                                    <p:cond delay="700"/>
                                  </p:stCondLst>
                                  <p:childTnLst>
                                    <p:animMotion origin="layout" path="M -4.58333E-6 4.07407E-6 L -4.58333E-6 -0.02824 " pathEditMode="relative" rAng="0" ptsTypes="AA">
                                      <p:cBhvr>
                                        <p:cTn id="55" dur="500" spd="-100000" fill="hold"/>
                                        <p:tgtEl>
                                          <p:spTgt spid="422"/>
                                        </p:tgtEl>
                                        <p:attrNameLst>
                                          <p:attrName>ppt_x</p:attrName>
                                          <p:attrName>ppt_y</p:attrName>
                                        </p:attrNameLst>
                                      </p:cBhvr>
                                      <p:rCtr x="0" y="-1412"/>
                                    </p:animMotion>
                                  </p:childTnLst>
                                </p:cTn>
                              </p:par>
                            </p:childTnLst>
                          </p:cTn>
                        </p:par>
                        <p:par>
                          <p:cTn id="56" fill="hold">
                            <p:stCondLst>
                              <p:cond delay="2300"/>
                            </p:stCondLst>
                            <p:childTnLst>
                              <p:par>
                                <p:cTn id="57" presetID="10" presetClass="entr" presetSubtype="0" fill="hold" nodeType="afterEffect">
                                  <p:stCondLst>
                                    <p:cond delay="0"/>
                                  </p:stCondLst>
                                  <p:childTnLst>
                                    <p:set>
                                      <p:cBhvr>
                                        <p:cTn id="58" dur="1" fill="hold">
                                          <p:stCondLst>
                                            <p:cond delay="0"/>
                                          </p:stCondLst>
                                        </p:cTn>
                                        <p:tgtEl>
                                          <p:spTgt spid="389"/>
                                        </p:tgtEl>
                                        <p:attrNameLst>
                                          <p:attrName>style.visibility</p:attrName>
                                        </p:attrNameLst>
                                      </p:cBhvr>
                                      <p:to>
                                        <p:strVal val="visible"/>
                                      </p:to>
                                    </p:set>
                                    <p:animEffect transition="in" filter="fade">
                                      <p:cBhvr>
                                        <p:cTn id="59" dur="500"/>
                                        <p:tgtEl>
                                          <p:spTgt spid="389"/>
                                        </p:tgtEl>
                                      </p:cBhvr>
                                    </p:animEffect>
                                  </p:childTnLst>
                                </p:cTn>
                              </p:par>
                              <p:par>
                                <p:cTn id="60" presetID="10" presetClass="entr" presetSubtype="0" fill="hold" nodeType="withEffect">
                                  <p:stCondLst>
                                    <p:cond delay="0"/>
                                  </p:stCondLst>
                                  <p:childTnLst>
                                    <p:set>
                                      <p:cBhvr>
                                        <p:cTn id="61" dur="1" fill="hold">
                                          <p:stCondLst>
                                            <p:cond delay="0"/>
                                          </p:stCondLst>
                                        </p:cTn>
                                        <p:tgtEl>
                                          <p:spTgt spid="406"/>
                                        </p:tgtEl>
                                        <p:attrNameLst>
                                          <p:attrName>style.visibility</p:attrName>
                                        </p:attrNameLst>
                                      </p:cBhvr>
                                      <p:to>
                                        <p:strVal val="visible"/>
                                      </p:to>
                                    </p:set>
                                    <p:animEffect transition="in" filter="fade">
                                      <p:cBhvr>
                                        <p:cTn id="62" dur="500"/>
                                        <p:tgtEl>
                                          <p:spTgt spid="406"/>
                                        </p:tgtEl>
                                      </p:cBhvr>
                                    </p:animEffect>
                                  </p:childTnLst>
                                </p:cTn>
                              </p:par>
                              <p:par>
                                <p:cTn id="63" presetID="22" presetClass="entr" presetSubtype="2" fill="hold" nodeType="withEffect">
                                  <p:stCondLst>
                                    <p:cond delay="0"/>
                                  </p:stCondLst>
                                  <p:childTnLst>
                                    <p:set>
                                      <p:cBhvr>
                                        <p:cTn id="64" dur="1" fill="hold">
                                          <p:stCondLst>
                                            <p:cond delay="0"/>
                                          </p:stCondLst>
                                        </p:cTn>
                                        <p:tgtEl>
                                          <p:spTgt spid="404"/>
                                        </p:tgtEl>
                                        <p:attrNameLst>
                                          <p:attrName>style.visibility</p:attrName>
                                        </p:attrNameLst>
                                      </p:cBhvr>
                                      <p:to>
                                        <p:strVal val="visible"/>
                                      </p:to>
                                    </p:set>
                                    <p:animEffect transition="in" filter="wipe(right)">
                                      <p:cBhvr>
                                        <p:cTn id="65" dur="500"/>
                                        <p:tgtEl>
                                          <p:spTgt spid="404"/>
                                        </p:tgtEl>
                                      </p:cBhvr>
                                    </p:animEffect>
                                  </p:childTnLst>
                                </p:cTn>
                              </p:par>
                              <p:par>
                                <p:cTn id="66" presetID="22" presetClass="entr" presetSubtype="2" fill="hold" nodeType="withEffect">
                                  <p:stCondLst>
                                    <p:cond delay="0"/>
                                  </p:stCondLst>
                                  <p:childTnLst>
                                    <p:set>
                                      <p:cBhvr>
                                        <p:cTn id="67" dur="1" fill="hold">
                                          <p:stCondLst>
                                            <p:cond delay="0"/>
                                          </p:stCondLst>
                                        </p:cTn>
                                        <p:tgtEl>
                                          <p:spTgt spid="388"/>
                                        </p:tgtEl>
                                        <p:attrNameLst>
                                          <p:attrName>style.visibility</p:attrName>
                                        </p:attrNameLst>
                                      </p:cBhvr>
                                      <p:to>
                                        <p:strVal val="visible"/>
                                      </p:to>
                                    </p:set>
                                    <p:animEffect transition="in" filter="wipe(right)">
                                      <p:cBhvr>
                                        <p:cTn id="68" dur="500"/>
                                        <p:tgtEl>
                                          <p:spTgt spid="388"/>
                                        </p:tgtEl>
                                      </p:cBhvr>
                                    </p:animEffect>
                                  </p:childTnLst>
                                </p:cTn>
                              </p:par>
                              <p:par>
                                <p:cTn id="69" presetID="22" presetClass="entr" presetSubtype="8" fill="hold" nodeType="withEffect">
                                  <p:stCondLst>
                                    <p:cond delay="0"/>
                                  </p:stCondLst>
                                  <p:childTnLst>
                                    <p:set>
                                      <p:cBhvr>
                                        <p:cTn id="70" dur="1" fill="hold">
                                          <p:stCondLst>
                                            <p:cond delay="0"/>
                                          </p:stCondLst>
                                        </p:cTn>
                                        <p:tgtEl>
                                          <p:spTgt spid="402"/>
                                        </p:tgtEl>
                                        <p:attrNameLst>
                                          <p:attrName>style.visibility</p:attrName>
                                        </p:attrNameLst>
                                      </p:cBhvr>
                                      <p:to>
                                        <p:strVal val="visible"/>
                                      </p:to>
                                    </p:set>
                                    <p:animEffect transition="in" filter="wipe(left)">
                                      <p:cBhvr>
                                        <p:cTn id="71" dur="500"/>
                                        <p:tgtEl>
                                          <p:spTgt spid="402"/>
                                        </p:tgtEl>
                                      </p:cBhvr>
                                    </p:animEffect>
                                  </p:childTnLst>
                                </p:cTn>
                              </p:par>
                              <p:par>
                                <p:cTn id="72" presetID="22" presetClass="entr" presetSubtype="8" fill="hold" nodeType="withEffect">
                                  <p:stCondLst>
                                    <p:cond delay="0"/>
                                  </p:stCondLst>
                                  <p:childTnLst>
                                    <p:set>
                                      <p:cBhvr>
                                        <p:cTn id="73" dur="1" fill="hold">
                                          <p:stCondLst>
                                            <p:cond delay="0"/>
                                          </p:stCondLst>
                                        </p:cTn>
                                        <p:tgtEl>
                                          <p:spTgt spid="387"/>
                                        </p:tgtEl>
                                        <p:attrNameLst>
                                          <p:attrName>style.visibility</p:attrName>
                                        </p:attrNameLst>
                                      </p:cBhvr>
                                      <p:to>
                                        <p:strVal val="visible"/>
                                      </p:to>
                                    </p:set>
                                    <p:animEffect transition="in" filter="wipe(left)">
                                      <p:cBhvr>
                                        <p:cTn id="74" dur="500"/>
                                        <p:tgtEl>
                                          <p:spTgt spid="387"/>
                                        </p:tgtEl>
                                      </p:cBhvr>
                                    </p:animEffect>
                                  </p:childTnLst>
                                </p:cTn>
                              </p:par>
                              <p:par>
                                <p:cTn id="75" presetID="22" presetClass="entr" presetSubtype="8" fill="hold" nodeType="withEffect">
                                  <p:stCondLst>
                                    <p:cond delay="0"/>
                                  </p:stCondLst>
                                  <p:childTnLst>
                                    <p:set>
                                      <p:cBhvr>
                                        <p:cTn id="76" dur="1" fill="hold">
                                          <p:stCondLst>
                                            <p:cond delay="0"/>
                                          </p:stCondLst>
                                        </p:cTn>
                                        <p:tgtEl>
                                          <p:spTgt spid="386"/>
                                        </p:tgtEl>
                                        <p:attrNameLst>
                                          <p:attrName>style.visibility</p:attrName>
                                        </p:attrNameLst>
                                      </p:cBhvr>
                                      <p:to>
                                        <p:strVal val="visible"/>
                                      </p:to>
                                    </p:set>
                                    <p:animEffect transition="in" filter="wipe(left)">
                                      <p:cBhvr>
                                        <p:cTn id="77" dur="500"/>
                                        <p:tgtEl>
                                          <p:spTgt spid="386"/>
                                        </p:tgtEl>
                                      </p:cBhvr>
                                    </p:animEffect>
                                  </p:childTnLst>
                                </p:cTn>
                              </p:par>
                              <p:par>
                                <p:cTn id="78" presetID="22" presetClass="entr" presetSubtype="8" fill="hold" nodeType="withEffect">
                                  <p:stCondLst>
                                    <p:cond delay="0"/>
                                  </p:stCondLst>
                                  <p:childTnLst>
                                    <p:set>
                                      <p:cBhvr>
                                        <p:cTn id="79" dur="1" fill="hold">
                                          <p:stCondLst>
                                            <p:cond delay="0"/>
                                          </p:stCondLst>
                                        </p:cTn>
                                        <p:tgtEl>
                                          <p:spTgt spid="403"/>
                                        </p:tgtEl>
                                        <p:attrNameLst>
                                          <p:attrName>style.visibility</p:attrName>
                                        </p:attrNameLst>
                                      </p:cBhvr>
                                      <p:to>
                                        <p:strVal val="visible"/>
                                      </p:to>
                                    </p:set>
                                    <p:animEffect transition="in" filter="wipe(left)">
                                      <p:cBhvr>
                                        <p:cTn id="80" dur="500"/>
                                        <p:tgtEl>
                                          <p:spTgt spid="403"/>
                                        </p:tgtEl>
                                      </p:cBhvr>
                                    </p:animEffect>
                                  </p:childTnLst>
                                </p:cTn>
                              </p:par>
                              <p:par>
                                <p:cTn id="81" presetID="22" presetClass="entr" presetSubtype="2" fill="hold" nodeType="withEffect">
                                  <p:stCondLst>
                                    <p:cond delay="0"/>
                                  </p:stCondLst>
                                  <p:childTnLst>
                                    <p:set>
                                      <p:cBhvr>
                                        <p:cTn id="82" dur="1" fill="hold">
                                          <p:stCondLst>
                                            <p:cond delay="0"/>
                                          </p:stCondLst>
                                        </p:cTn>
                                        <p:tgtEl>
                                          <p:spTgt spid="454"/>
                                        </p:tgtEl>
                                        <p:attrNameLst>
                                          <p:attrName>style.visibility</p:attrName>
                                        </p:attrNameLst>
                                      </p:cBhvr>
                                      <p:to>
                                        <p:strVal val="visible"/>
                                      </p:to>
                                    </p:set>
                                    <p:animEffect transition="in" filter="wipe(right)">
                                      <p:cBhvr>
                                        <p:cTn id="83" dur="500"/>
                                        <p:tgtEl>
                                          <p:spTgt spid="454"/>
                                        </p:tgtEl>
                                      </p:cBhvr>
                                    </p:animEffect>
                                  </p:childTnLst>
                                </p:cTn>
                              </p:par>
                              <p:par>
                                <p:cTn id="84" presetID="10" presetClass="entr" presetSubtype="0" fill="hold" nodeType="withEffect">
                                  <p:stCondLst>
                                    <p:cond delay="0"/>
                                  </p:stCondLst>
                                  <p:childTnLst>
                                    <p:set>
                                      <p:cBhvr>
                                        <p:cTn id="85" dur="1" fill="hold">
                                          <p:stCondLst>
                                            <p:cond delay="0"/>
                                          </p:stCondLst>
                                        </p:cTn>
                                        <p:tgtEl>
                                          <p:spTgt spid="455"/>
                                        </p:tgtEl>
                                        <p:attrNameLst>
                                          <p:attrName>style.visibility</p:attrName>
                                        </p:attrNameLst>
                                      </p:cBhvr>
                                      <p:to>
                                        <p:strVal val="visible"/>
                                      </p:to>
                                    </p:set>
                                    <p:animEffect transition="in" filter="fade">
                                      <p:cBhvr>
                                        <p:cTn id="86" dur="500"/>
                                        <p:tgtEl>
                                          <p:spTgt spid="455"/>
                                        </p:tgtEl>
                                      </p:cBhvr>
                                    </p:animEffect>
                                  </p:childTnLst>
                                </p:cTn>
                              </p:par>
                              <p:par>
                                <p:cTn id="87" presetID="10" presetClass="entr" presetSubtype="0" fill="hold" nodeType="withEffect">
                                  <p:stCondLst>
                                    <p:cond delay="0"/>
                                  </p:stCondLst>
                                  <p:childTnLst>
                                    <p:set>
                                      <p:cBhvr>
                                        <p:cTn id="88" dur="1" fill="hold">
                                          <p:stCondLst>
                                            <p:cond delay="0"/>
                                          </p:stCondLst>
                                        </p:cTn>
                                        <p:tgtEl>
                                          <p:spTgt spid="471"/>
                                        </p:tgtEl>
                                        <p:attrNameLst>
                                          <p:attrName>style.visibility</p:attrName>
                                        </p:attrNameLst>
                                      </p:cBhvr>
                                      <p:to>
                                        <p:strVal val="visible"/>
                                      </p:to>
                                    </p:set>
                                    <p:animEffect transition="in" filter="fade">
                                      <p:cBhvr>
                                        <p:cTn id="89" dur="500"/>
                                        <p:tgtEl>
                                          <p:spTgt spid="471"/>
                                        </p:tgtEl>
                                      </p:cBhvr>
                                    </p:animEffect>
                                  </p:childTnLst>
                                </p:cTn>
                              </p:par>
                              <p:par>
                                <p:cTn id="90" presetID="10" presetClass="entr" presetSubtype="0" fill="hold" nodeType="withEffect">
                                  <p:stCondLst>
                                    <p:cond delay="0"/>
                                  </p:stCondLst>
                                  <p:childTnLst>
                                    <p:set>
                                      <p:cBhvr>
                                        <p:cTn id="91" dur="1" fill="hold">
                                          <p:stCondLst>
                                            <p:cond delay="0"/>
                                          </p:stCondLst>
                                        </p:cTn>
                                        <p:tgtEl>
                                          <p:spTgt spid="478"/>
                                        </p:tgtEl>
                                        <p:attrNameLst>
                                          <p:attrName>style.visibility</p:attrName>
                                        </p:attrNameLst>
                                      </p:cBhvr>
                                      <p:to>
                                        <p:strVal val="visible"/>
                                      </p:to>
                                    </p:set>
                                    <p:animEffect transition="in" filter="fade">
                                      <p:cBhvr>
                                        <p:cTn id="92" dur="750"/>
                                        <p:tgtEl>
                                          <p:spTgt spid="478"/>
                                        </p:tgtEl>
                                      </p:cBhvr>
                                    </p:animEffect>
                                  </p:childTnLst>
                                </p:cTn>
                              </p:par>
                              <p:par>
                                <p:cTn id="93" presetID="8" presetClass="emph" presetSubtype="0" fill="hold" nodeType="withEffect">
                                  <p:stCondLst>
                                    <p:cond delay="0"/>
                                  </p:stCondLst>
                                  <p:childTnLst>
                                    <p:animRot by="21600000">
                                      <p:cBhvr>
                                        <p:cTn id="94" dur="1500" fill="hold"/>
                                        <p:tgtEl>
                                          <p:spTgt spid="478"/>
                                        </p:tgtEl>
                                        <p:attrNameLst>
                                          <p:attrName>r</p:attrName>
                                        </p:attrNameLst>
                                      </p:cBhvr>
                                    </p:animRot>
                                  </p:childTnLst>
                                </p:cTn>
                              </p:par>
                              <p:par>
                                <p:cTn id="95" presetID="10" presetClass="entr" presetSubtype="0" fill="hold" grpId="0" nodeType="withEffect">
                                  <p:stCondLst>
                                    <p:cond delay="1000"/>
                                  </p:stCondLst>
                                  <p:childTnLst>
                                    <p:set>
                                      <p:cBhvr>
                                        <p:cTn id="96" dur="1" fill="hold">
                                          <p:stCondLst>
                                            <p:cond delay="0"/>
                                          </p:stCondLst>
                                        </p:cTn>
                                        <p:tgtEl>
                                          <p:spTgt spid="477"/>
                                        </p:tgtEl>
                                        <p:attrNameLst>
                                          <p:attrName>style.visibility</p:attrName>
                                        </p:attrNameLst>
                                      </p:cBhvr>
                                      <p:to>
                                        <p:strVal val="visible"/>
                                      </p:to>
                                    </p:set>
                                    <p:animEffect transition="in" filter="fade">
                                      <p:cBhvr>
                                        <p:cTn id="97" dur="500"/>
                                        <p:tgtEl>
                                          <p:spTgt spid="4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2" grpId="0"/>
      <p:bldP spid="352" grpId="1"/>
      <p:bldP spid="410" grpId="0" animBg="1"/>
      <p:bldP spid="410" grpId="1" animBg="1"/>
      <p:bldP spid="410" grpId="2" animBg="1"/>
      <p:bldP spid="411" grpId="0"/>
      <p:bldP spid="411" grpId="1"/>
      <p:bldP spid="412" grpId="0" animBg="1"/>
      <p:bldP spid="412" grpId="1" animBg="1"/>
      <p:bldP spid="413" grpId="0" animBg="1"/>
      <p:bldP spid="413" grpId="1" animBg="1"/>
      <p:bldP spid="414" grpId="0" animBg="1"/>
      <p:bldP spid="414" grpId="1" animBg="1"/>
      <p:bldP spid="415" grpId="0"/>
      <p:bldP spid="415" grpId="1"/>
      <p:bldP spid="47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a:xfrm>
            <a:off x="304800" y="1295400"/>
            <a:ext cx="5199270" cy="1686801"/>
          </a:xfrm>
        </p:spPr>
        <p:txBody>
          <a:bodyPr/>
          <a:lstStyle/>
          <a:p>
            <a:r>
              <a:rPr lang="en-US" dirty="0"/>
              <a:t>Active Directory  Domain Services </a:t>
            </a:r>
            <a:br>
              <a:rPr lang="en-US" dirty="0"/>
            </a:br>
            <a:r>
              <a:rPr lang="en-US" dirty="0"/>
              <a:t>(AD-DS)</a:t>
            </a:r>
          </a:p>
        </p:txBody>
      </p:sp>
    </p:spTree>
    <p:extLst>
      <p:ext uri="{BB962C8B-B14F-4D97-AF65-F5344CB8AC3E}">
        <p14:creationId xmlns:p14="http://schemas.microsoft.com/office/powerpoint/2010/main" val="397427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BE4415-FAC7-4478-A755-D031E2DE80C5}"/>
              </a:ext>
            </a:extLst>
          </p:cNvPr>
          <p:cNvSpPr>
            <a:spLocks noGrp="1"/>
          </p:cNvSpPr>
          <p:nvPr>
            <p:ph type="body" sz="quarter" idx="10"/>
          </p:nvPr>
        </p:nvSpPr>
        <p:spPr/>
        <p:txBody>
          <a:bodyPr/>
          <a:lstStyle/>
          <a:p>
            <a:r>
              <a:rPr lang="en-US" dirty="0"/>
              <a:t>Classic on-</a:t>
            </a:r>
            <a:r>
              <a:rPr lang="en-US" dirty="0" err="1"/>
              <a:t>prem</a:t>
            </a:r>
            <a:r>
              <a:rPr lang="en-US" dirty="0"/>
              <a:t> </a:t>
            </a:r>
            <a:r>
              <a:rPr lang="en-US" dirty="0" err="1"/>
              <a:t>AuthN</a:t>
            </a:r>
            <a:r>
              <a:rPr lang="en-US" dirty="0"/>
              <a:t>/</a:t>
            </a:r>
            <a:r>
              <a:rPr lang="en-US" dirty="0" err="1"/>
              <a:t>AuthZ</a:t>
            </a:r>
            <a:r>
              <a:rPr lang="en-US" dirty="0"/>
              <a:t> service available since Server 2000</a:t>
            </a:r>
          </a:p>
          <a:p>
            <a:r>
              <a:rPr lang="en-US" dirty="0"/>
              <a:t>90%+ market penetration</a:t>
            </a:r>
          </a:p>
          <a:p>
            <a:r>
              <a:rPr lang="en-US" dirty="0"/>
              <a:t>Provides forests, domains, Organization Units for logical collection and management of objects (computers, users, groups, etc.)</a:t>
            </a:r>
          </a:p>
          <a:p>
            <a:r>
              <a:rPr lang="en-US" dirty="0"/>
              <a:t>Requires a domain controller (physical, VM, IaaS VM)</a:t>
            </a:r>
          </a:p>
          <a:p>
            <a:r>
              <a:rPr lang="en-US" dirty="0"/>
              <a:t>Primary value-add is group policy and local </a:t>
            </a:r>
            <a:r>
              <a:rPr lang="en-US" dirty="0" err="1"/>
              <a:t>AuthN</a:t>
            </a:r>
            <a:r>
              <a:rPr lang="en-US" dirty="0"/>
              <a:t>/</a:t>
            </a:r>
            <a:r>
              <a:rPr lang="en-US" dirty="0" err="1"/>
              <a:t>AuthZ</a:t>
            </a:r>
            <a:endParaRPr lang="en-US" dirty="0"/>
          </a:p>
          <a:p>
            <a:pPr lvl="1"/>
            <a:r>
              <a:rPr lang="en-US" dirty="0"/>
              <a:t>Granular management of computer and user settings (aka lock down the desktop)</a:t>
            </a:r>
          </a:p>
        </p:txBody>
      </p:sp>
      <p:sp>
        <p:nvSpPr>
          <p:cNvPr id="2" name="Title 1">
            <a:extLst>
              <a:ext uri="{FF2B5EF4-FFF2-40B4-BE49-F238E27FC236}">
                <a16:creationId xmlns:a16="http://schemas.microsoft.com/office/drawing/2014/main" id="{CE87F582-6E49-44BA-A969-692E04076F64}"/>
              </a:ext>
            </a:extLst>
          </p:cNvPr>
          <p:cNvSpPr>
            <a:spLocks noGrp="1"/>
          </p:cNvSpPr>
          <p:nvPr>
            <p:ph type="title"/>
          </p:nvPr>
        </p:nvSpPr>
        <p:spPr/>
        <p:txBody>
          <a:bodyPr/>
          <a:lstStyle/>
          <a:p>
            <a:r>
              <a:rPr lang="en-US" b="1" dirty="0"/>
              <a:t>Active Directory Domain Services (AD DS)</a:t>
            </a:r>
            <a:br>
              <a:rPr lang="en-US" b="1" dirty="0"/>
            </a:br>
            <a:endParaRPr lang="en-US" b="1" dirty="0"/>
          </a:p>
        </p:txBody>
      </p:sp>
    </p:spTree>
    <p:extLst>
      <p:ext uri="{BB962C8B-B14F-4D97-AF65-F5344CB8AC3E}">
        <p14:creationId xmlns:p14="http://schemas.microsoft.com/office/powerpoint/2010/main" val="19581446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D37682-68FD-4690-AC83-F4F37257ADE3}"/>
              </a:ext>
            </a:extLst>
          </p:cNvPr>
          <p:cNvSpPr>
            <a:spLocks noGrp="1"/>
          </p:cNvSpPr>
          <p:nvPr>
            <p:ph type="body" sz="quarter" idx="10"/>
          </p:nvPr>
        </p:nvSpPr>
        <p:spPr/>
        <p:txBody>
          <a:bodyPr/>
          <a:lstStyle/>
          <a:p>
            <a:r>
              <a:rPr lang="en-US" dirty="0"/>
              <a:t>Can I virtualize a domain controller in an IaaS VM?</a:t>
            </a:r>
          </a:p>
          <a:p>
            <a:r>
              <a:rPr lang="en-US" dirty="0"/>
              <a:t>Do I need to get rid of my domain controls on-</a:t>
            </a:r>
            <a:r>
              <a:rPr lang="en-US" dirty="0" err="1"/>
              <a:t>prem</a:t>
            </a:r>
            <a:r>
              <a:rPr lang="en-US" dirty="0"/>
              <a:t>?</a:t>
            </a:r>
          </a:p>
          <a:p>
            <a:r>
              <a:rPr lang="en-US" dirty="0"/>
              <a:t>Are domain controllers going away?</a:t>
            </a:r>
          </a:p>
          <a:p>
            <a:r>
              <a:rPr lang="en-US" dirty="0"/>
              <a:t>Is Microsoft investing in AD DS?</a:t>
            </a:r>
          </a:p>
        </p:txBody>
      </p:sp>
      <p:sp>
        <p:nvSpPr>
          <p:cNvPr id="2" name="Title 1">
            <a:extLst>
              <a:ext uri="{FF2B5EF4-FFF2-40B4-BE49-F238E27FC236}">
                <a16:creationId xmlns:a16="http://schemas.microsoft.com/office/drawing/2014/main" id="{DF3C36A2-4BF9-4330-A45B-839F604A742B}"/>
              </a:ext>
            </a:extLst>
          </p:cNvPr>
          <p:cNvSpPr>
            <a:spLocks noGrp="1"/>
          </p:cNvSpPr>
          <p:nvPr>
            <p:ph type="title"/>
          </p:nvPr>
        </p:nvSpPr>
        <p:spPr/>
        <p:txBody>
          <a:bodyPr/>
          <a:lstStyle/>
          <a:p>
            <a:r>
              <a:rPr lang="en-US" b="1" dirty="0"/>
              <a:t>Common Questions</a:t>
            </a:r>
          </a:p>
        </p:txBody>
      </p:sp>
    </p:spTree>
    <p:extLst>
      <p:ext uri="{BB962C8B-B14F-4D97-AF65-F5344CB8AC3E}">
        <p14:creationId xmlns:p14="http://schemas.microsoft.com/office/powerpoint/2010/main" val="364432652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p:txBody>
          <a:bodyPr/>
          <a:lstStyle/>
          <a:p>
            <a:r>
              <a:rPr lang="en-US" dirty="0"/>
              <a:t>Azure Active Directory (AAD)</a:t>
            </a:r>
          </a:p>
        </p:txBody>
      </p:sp>
    </p:spTree>
    <p:extLst>
      <p:ext uri="{BB962C8B-B14F-4D97-AF65-F5344CB8AC3E}">
        <p14:creationId xmlns:p14="http://schemas.microsoft.com/office/powerpoint/2010/main" val="1267335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7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3.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003) [Read-Only]" id="{0F97273C-858F-421E-AE81-CB1C46513DA6}" vid="{80D3B3E4-4D1C-4919-91E4-F23A84E2E12E}"/>
    </a:ext>
  </a:extLst>
</a:theme>
</file>

<file path=ppt/theme/theme4.xml><?xml version="1.0" encoding="utf-8"?>
<a:theme xmlns:a="http://schemas.openxmlformats.org/drawingml/2006/main" name="1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MS Standard Template" id="{E76AE27B-4C87-4D39-9CB2-6DBAC2891E0E}" vid="{EF238807-D315-46CB-B38E-EC592D5A993A}"/>
    </a:ext>
  </a:extLst>
</a:theme>
</file>

<file path=ppt/theme/theme5.xml><?xml version="1.0" encoding="utf-8"?>
<a:theme xmlns:a="http://schemas.openxmlformats.org/drawingml/2006/main" name="1_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1EE7FF6B-7C85-492F-933D-8CFD82A3F953}"/>
    </a:ext>
  </a:extLst>
</a:theme>
</file>

<file path=ppt/theme/theme6.xml><?xml version="1.0" encoding="utf-8"?>
<a:theme xmlns:a="http://schemas.openxmlformats.org/drawingml/2006/main" name="8_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Internal Template Audienz Modified.potx" id="{F39CE77D-2FBD-4EF7-AB21-A164DCB87B2B}" vid="{15A266E2-B9DA-42BB-BD31-AC0EDCAEC907}"/>
    </a:ext>
  </a:extLst>
</a:theme>
</file>

<file path=ppt/theme/theme7.xml><?xml version="1.0" encoding="utf-8"?>
<a:theme xmlns:a="http://schemas.openxmlformats.org/drawingml/2006/main" name="1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8.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7B6B2E9CC90FD43AFDF71AAC07E5223" ma:contentTypeVersion="2" ma:contentTypeDescription="Create a new document." ma:contentTypeScope="" ma:versionID="fcfa1efd7f51f5b0bb91096e0a7c6c83">
  <xsd:schema xmlns:xsd="http://www.w3.org/2001/XMLSchema" xmlns:xs="http://www.w3.org/2001/XMLSchema" xmlns:p="http://schemas.microsoft.com/office/2006/metadata/properties" xmlns:ns2="4d431518-3490-47ae-ad22-2a9630ba0f7c" targetNamespace="http://schemas.microsoft.com/office/2006/metadata/properties" ma:root="true" ma:fieldsID="437eb5dbbe195800cfebb001710b297a" ns2:_="">
    <xsd:import namespace="4d431518-3490-47ae-ad22-2a9630ba0f7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431518-3490-47ae-ad22-2a9630ba0f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134F6C1-50F6-4F1E-AA9B-970E34550F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431518-3490-47ae-ad22-2a9630ba0f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3013F3D-F478-4B0C-8785-8D44BCA82B46}">
  <ds:schemaRefs>
    <ds:schemaRef ds:uri="http://schemas.microsoft.com/sharepoint/v3/contenttype/forms"/>
  </ds:schemaRefs>
</ds:datastoreItem>
</file>

<file path=customXml/itemProps3.xml><?xml version="1.0" encoding="utf-8"?>
<ds:datastoreItem xmlns:ds="http://schemas.openxmlformats.org/officeDocument/2006/customXml" ds:itemID="{09F99F0B-0BB3-446A-8094-CFF815C493FB}">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d431518-3490-47ae-ad22-2a9630ba0f7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8885</TotalTime>
  <Words>1802</Words>
  <Application>Microsoft Office PowerPoint</Application>
  <PresentationFormat>Widescreen</PresentationFormat>
  <Paragraphs>399</Paragraphs>
  <Slides>33</Slides>
  <Notes>33</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33</vt:i4>
      </vt:variant>
    </vt:vector>
  </HeadingPairs>
  <TitlesOfParts>
    <vt:vector size="55" baseType="lpstr">
      <vt:lpstr>ＭＳ Ｐゴシック</vt:lpstr>
      <vt:lpstr>Arial</vt:lpstr>
      <vt:lpstr>Calibri</vt:lpstr>
      <vt:lpstr>Consolas</vt:lpstr>
      <vt:lpstr>Georgia</vt:lpstr>
      <vt:lpstr>Segoe Pro Light</vt:lpstr>
      <vt:lpstr>Segoe UI</vt:lpstr>
      <vt:lpstr>Segoe UI Light</vt:lpstr>
      <vt:lpstr>Segoe UI Semibold</vt:lpstr>
      <vt:lpstr>Segoe UI Semilight</vt:lpstr>
      <vt:lpstr>segoe-ui_bold</vt:lpstr>
      <vt:lpstr>segoe-ui_semibold</vt:lpstr>
      <vt:lpstr>Wingdings</vt:lpstr>
      <vt:lpstr>4_7-30269_Server &amp; Tools Business_16x9</vt:lpstr>
      <vt:lpstr>7_7-30269_Server &amp; Tools Business_16x9</vt:lpstr>
      <vt:lpstr>2_5-50002_Ignite_Breakout_Template</vt:lpstr>
      <vt:lpstr>1_7-30269_Server &amp; Tools Business_16x9</vt:lpstr>
      <vt:lpstr>1_DARK GRAY TEMPLATE</vt:lpstr>
      <vt:lpstr>8_STB Product Families 2013</vt:lpstr>
      <vt:lpstr>1_COLOR TEMPLATE</vt:lpstr>
      <vt:lpstr>1_5-50109_Microsoft_Light_Template</vt:lpstr>
      <vt:lpstr>think-cell Slide</vt:lpstr>
      <vt:lpstr>Hybrid Identity</vt:lpstr>
      <vt:lpstr>Agenda </vt:lpstr>
      <vt:lpstr>Lab Setup</vt:lpstr>
      <vt:lpstr>Hybrid Identity Overview</vt:lpstr>
      <vt:lpstr>Identity as the Control Plane</vt:lpstr>
      <vt:lpstr>Active Directory  Domain Services  (AD-DS)</vt:lpstr>
      <vt:lpstr>Active Directory Domain Services (AD DS) </vt:lpstr>
      <vt:lpstr>Common Questions</vt:lpstr>
      <vt:lpstr>Azure Active Directory (AAD)</vt:lpstr>
      <vt:lpstr>Azure Active Directory in the Marketplace  </vt:lpstr>
      <vt:lpstr>Azure Active Directory</vt:lpstr>
      <vt:lpstr>Azure Active Directory</vt:lpstr>
      <vt:lpstr>Azure Active Directory (AAD)</vt:lpstr>
      <vt:lpstr>Azure Active Directory (AAD)</vt:lpstr>
      <vt:lpstr>Azure Active Directory (AAD)</vt:lpstr>
      <vt:lpstr>Azure Active Directory – Domain Services  (AAD-DS)</vt:lpstr>
      <vt:lpstr>Azure AD Domain Services</vt:lpstr>
      <vt:lpstr>Azure Active Directory Domain Services</vt:lpstr>
      <vt:lpstr>Azure AD Domain Services</vt:lpstr>
      <vt:lpstr>AD Connect</vt:lpstr>
      <vt:lpstr>Azure AD Connect</vt:lpstr>
      <vt:lpstr>Azure AD Connect</vt:lpstr>
      <vt:lpstr>Making a hybrid identity simple</vt:lpstr>
      <vt:lpstr>Hybrid made easy</vt:lpstr>
      <vt:lpstr>Azure AD Connect authentication options  Pass-through authentication</vt:lpstr>
      <vt:lpstr>Azure AD Connect authentication options  Password Hash synchronization</vt:lpstr>
      <vt:lpstr>Azure AD Connect authentication options  Federation via ADFS</vt:lpstr>
      <vt:lpstr>Azure AD B2B Azure AD B2C</vt:lpstr>
      <vt:lpstr>Azure Active Directory B2B collaboration</vt:lpstr>
      <vt:lpstr>Azure AD B2B collaboration</vt:lpstr>
      <vt:lpstr>Azure Active Directory B2C</vt:lpstr>
      <vt:lpstr>Lab Setup</vt:lpstr>
      <vt:lpstr>Lab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ctive Directory - Identity and Access Management all up deck FY17</dc:title>
  <dc:creator>Nasos Kladakis</dc:creator>
  <cp:keywords/>
  <cp:lastModifiedBy>Tom Vanek</cp:lastModifiedBy>
  <cp:revision>1071</cp:revision>
  <cp:lastPrinted>2015-09-21T17:49:55Z</cp:lastPrinted>
  <dcterms:created xsi:type="dcterms:W3CDTF">2014-10-30T19:11:11Z</dcterms:created>
  <dcterms:modified xsi:type="dcterms:W3CDTF">2018-10-08T14:3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B6B2E9CC90FD43AFDF71AAC07E5223</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5;#Microsoft confidential|461efa83-0283-486a-a8d5-943328f3693f</vt:lpwstr>
  </property>
  <property fmtid="{D5CDD505-2E9C-101B-9397-08002B2CF9AE}" pid="7" name="Topics">
    <vt:lpwstr>29;#features|94b87768-f145-4764-adbd-fec700e47348;#347;#solutions|8edef101-9936-4179-aaeb-f4349f975729;#1911;#Fiscal Year 2017|0333f36a-de9c-455f-9424-98bd460c0b2e;#2152;#Fiscal Year 2018|eaece650-4f74-4ab8-b8d8-86a31d038c4e</vt:lpwstr>
  </property>
  <property fmtid="{D5CDD505-2E9C-101B-9397-08002B2CF9AE}" pid="8" name="Groups">
    <vt:lpwstr>42;#Cloud and Enterprise Marketing Group|4f75e184-e5aa-4234-a07f-b032d60df254;#34;#Worldwide Readiness|c6595b84-b463-470a-bb46-2a47364645be</vt:lpwstr>
  </property>
  <property fmtid="{D5CDD505-2E9C-101B-9397-08002B2CF9AE}" pid="9" name="Industries">
    <vt:lpwstr/>
  </property>
  <property fmtid="{D5CDD505-2E9C-101B-9397-08002B2CF9AE}" pid="10" name="Roles">
    <vt:lpwstr/>
  </property>
  <property fmtid="{D5CDD505-2E9C-101B-9397-08002B2CF9AE}" pid="11" name="Competitors">
    <vt:lpwstr/>
  </property>
  <property fmtid="{D5CDD505-2E9C-101B-9397-08002B2CF9AE}" pid="12" name="SMSGDomain">
    <vt:lpwstr>21;#Cloud and Enterprise|adc2fe87-c79a-4ded-a449-3f86b954069d;#20;#Microsoft Azure Domain|d600a391-d529-4311-892b-2c05c1ab2538;#352;#Enterprise Mobility + Security Domain|e426ff81-f26e-43b6-9e25-3364a3c27ca4</vt:lpwstr>
  </property>
  <property fmtid="{D5CDD505-2E9C-101B-9397-08002B2CF9AE}" pid="13" name="BusinessArchitecture">
    <vt:lpwstr>515;#Hybrid Identity|064380fe-64a8-4964-9f01-ffe63c8c1954</vt:lpwstr>
  </property>
  <property fmtid="{D5CDD505-2E9C-101B-9397-08002B2CF9AE}" pid="14" name="Products">
    <vt:lpwstr>418;#Microsoft Azure Active Directory|fb8fdb9a-c49d-44cf-9863-7f7e5356dff8;#315;#Enterprise Mobility + Security|6c8571aa-4aec-45ea-b08c-efee21dcaa6e</vt:lpwstr>
  </property>
  <property fmtid="{D5CDD505-2E9C-101B-9397-08002B2CF9AE}" pid="15" name="ActivitiesAndPrograms">
    <vt:lpwstr>1904;#Enterprise Mobility + Security - FY17|71974d04-ab2d-4e84-803e-ab4ff34e1576;#1947;#Priority Solution Areas|c23d8183-ce20-44cd-b13b-640d45c2d6c2</vt:lpwstr>
  </property>
  <property fmtid="{D5CDD505-2E9C-101B-9397-08002B2CF9AE}" pid="16" name="Segments">
    <vt:lpwstr/>
  </property>
  <property fmtid="{D5CDD505-2E9C-101B-9397-08002B2CF9AE}" pid="17" name="Partners">
    <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6d4fb5bc-2e30-44c7-8050-85f66ef66008</vt:lpwstr>
  </property>
  <property fmtid="{D5CDD505-2E9C-101B-9397-08002B2CF9AE}" pid="21" name="of67e5d4b76f4a9db8769983fda9cec0">
    <vt:lpwstr/>
  </property>
  <property fmtid="{D5CDD505-2E9C-101B-9397-08002B2CF9AE}" pid="22" name="NewsType">
    <vt:lpwstr/>
  </property>
  <property fmtid="{D5CDD505-2E9C-101B-9397-08002B2CF9AE}" pid="23" name="ItemType">
    <vt:lpwstr>16;#customer presentations|18e9ae94-e321-4eea-82d2-ad5b2f470f3c;#351;#feedback requests|00ce1828-98a3-430e-af54-eda270e1be04</vt:lpwstr>
  </property>
  <property fmtid="{D5CDD505-2E9C-101B-9397-08002B2CF9AE}" pid="24" name="ga0c0bf70a6644469c61b3efa7025301">
    <vt:lpwstr/>
  </property>
  <property fmtid="{D5CDD505-2E9C-101B-9397-08002B2CF9AE}" pid="25" name="MSProducts">
    <vt:lpwstr/>
  </property>
  <property fmtid="{D5CDD505-2E9C-101B-9397-08002B2CF9AE}" pid="26" name="ExperienceContentType">
    <vt:lpwstr/>
  </property>
  <property fmtid="{D5CDD505-2E9C-101B-9397-08002B2CF9AE}" pid="27" name="NewsSource">
    <vt:lpwstr/>
  </property>
  <property fmtid="{D5CDD505-2E9C-101B-9397-08002B2CF9AE}" pid="28" name="SMSGTags">
    <vt:lpwstr/>
  </property>
  <property fmtid="{D5CDD505-2E9C-101B-9397-08002B2CF9AE}" pid="29" name="MSPhysicalGeography">
    <vt:lpwstr/>
  </property>
  <property fmtid="{D5CDD505-2E9C-101B-9397-08002B2CF9AE}" pid="30" name="EnterpriseDomainTags">
    <vt:lpwstr/>
  </property>
  <property fmtid="{D5CDD505-2E9C-101B-9397-08002B2CF9AE}" pid="31" name="j3562c58ee414e028925bc902cfc01a1">
    <vt:lpwstr/>
  </property>
  <property fmtid="{D5CDD505-2E9C-101B-9397-08002B2CF9AE}" pid="32" name="l6f004f21209409da86a713c0f24627d">
    <vt:lpwstr/>
  </property>
  <property fmtid="{D5CDD505-2E9C-101B-9397-08002B2CF9AE}" pid="33" name="la4444b61d19467597d63190b69ac227">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ldac8aee9d1f469e8cd8c3f8d6a615f2">
    <vt:lpwstr/>
  </property>
  <property fmtid="{D5CDD505-2E9C-101B-9397-08002B2CF9AE}" pid="39" name="EmployeeRole">
    <vt:lpwstr/>
  </property>
  <property fmtid="{D5CDD505-2E9C-101B-9397-08002B2CF9AE}" pid="40" name="NewsTopic">
    <vt:lpwstr/>
  </property>
  <property fmtid="{D5CDD505-2E9C-101B-9397-08002B2CF9AE}" pid="41" name="_docset_NoMedatataSyncRequired">
    <vt:lpwstr>False</vt:lpwstr>
  </property>
  <property fmtid="{D5CDD505-2E9C-101B-9397-08002B2CF9AE}" pid="42" name="SharedWithUsers">
    <vt:lpwstr>62428;#Izak Laubscher;#93383;#Deepak Rout;#13210;#Thomas Lykke Mølmer;#29272;#Tarah Johnston-Holz</vt:lpwstr>
  </property>
  <property fmtid="{D5CDD505-2E9C-101B-9397-08002B2CF9AE}" pid="43" name="FolderExtensions">
    <vt:lpwstr/>
  </property>
  <property fmtid="{D5CDD505-2E9C-101B-9397-08002B2CF9AE}" pid="44" name="ParentID1">
    <vt:lpwstr>G01KC-1-20055</vt:lpwstr>
  </property>
  <property fmtid="{D5CDD505-2E9C-101B-9397-08002B2CF9AE}" pid="45" name="MSIP_Label_074e257c-5848-4582-9a6f-34a182080e71_Enabled">
    <vt:lpwstr>True</vt:lpwstr>
  </property>
  <property fmtid="{D5CDD505-2E9C-101B-9397-08002B2CF9AE}" pid="46" name="MSIP_Label_074e257c-5848-4582-9a6f-34a182080e71_SiteId">
    <vt:lpwstr>72f988bf-86f1-41af-91ab-2d7cd011db47</vt:lpwstr>
  </property>
  <property fmtid="{D5CDD505-2E9C-101B-9397-08002B2CF9AE}" pid="47" name="MSIP_Label_074e257c-5848-4582-9a6f-34a182080e71_Owner">
    <vt:lpwstr>jemitche@microsoft.com</vt:lpwstr>
  </property>
  <property fmtid="{D5CDD505-2E9C-101B-9397-08002B2CF9AE}" pid="48" name="MSIP_Label_074e257c-5848-4582-9a6f-34a182080e71_SetDate">
    <vt:lpwstr>2018-03-13T06:16:56.7610275Z</vt:lpwstr>
  </property>
  <property fmtid="{D5CDD505-2E9C-101B-9397-08002B2CF9AE}" pid="49" name="MSIP_Label_074e257c-5848-4582-9a6f-34a182080e71_Name">
    <vt:lpwstr>Confidential</vt:lpwstr>
  </property>
  <property fmtid="{D5CDD505-2E9C-101B-9397-08002B2CF9AE}" pid="50" name="MSIP_Label_074e257c-5848-4582-9a6f-34a182080e71_Application">
    <vt:lpwstr>Microsoft Azure Information Protection</vt:lpwstr>
  </property>
  <property fmtid="{D5CDD505-2E9C-101B-9397-08002B2CF9AE}" pid="51" name="MSIP_Label_074e257c-5848-4582-9a6f-34a182080e71_Extended_MSFT_Method">
    <vt:lpwstr>Manual</vt:lpwstr>
  </property>
  <property fmtid="{D5CDD505-2E9C-101B-9397-08002B2CF9AE}" pid="52" name="MSIP_Label_1a19d03a-48bc-4359-8038-5b5f6d5847c3_Enabled">
    <vt:lpwstr>True</vt:lpwstr>
  </property>
  <property fmtid="{D5CDD505-2E9C-101B-9397-08002B2CF9AE}" pid="53" name="MSIP_Label_1a19d03a-48bc-4359-8038-5b5f6d5847c3_SiteId">
    <vt:lpwstr>72f988bf-86f1-41af-91ab-2d7cd011db47</vt:lpwstr>
  </property>
  <property fmtid="{D5CDD505-2E9C-101B-9397-08002B2CF9AE}" pid="54" name="MSIP_Label_1a19d03a-48bc-4359-8038-5b5f6d5847c3_Owner">
    <vt:lpwstr>jemitche@microsoft.com</vt:lpwstr>
  </property>
  <property fmtid="{D5CDD505-2E9C-101B-9397-08002B2CF9AE}" pid="55" name="MSIP_Label_1a19d03a-48bc-4359-8038-5b5f6d5847c3_SetDate">
    <vt:lpwstr>2018-03-13T06:16:56.7610275Z</vt:lpwstr>
  </property>
  <property fmtid="{D5CDD505-2E9C-101B-9397-08002B2CF9AE}" pid="56" name="MSIP_Label_1a19d03a-48bc-4359-8038-5b5f6d5847c3_Name">
    <vt:lpwstr>Any User (No Protection)</vt:lpwstr>
  </property>
  <property fmtid="{D5CDD505-2E9C-101B-9397-08002B2CF9AE}" pid="57" name="MSIP_Label_1a19d03a-48bc-4359-8038-5b5f6d5847c3_Application">
    <vt:lpwstr>Microsoft Azure Information Protection</vt:lpwstr>
  </property>
  <property fmtid="{D5CDD505-2E9C-101B-9397-08002B2CF9AE}" pid="58" name="MSIP_Label_1a19d03a-48bc-4359-8038-5b5f6d5847c3_Parent">
    <vt:lpwstr>074e257c-5848-4582-9a6f-34a182080e71</vt:lpwstr>
  </property>
  <property fmtid="{D5CDD505-2E9C-101B-9397-08002B2CF9AE}" pid="59" name="MSIP_Label_1a19d03a-48bc-4359-8038-5b5f6d5847c3_Extended_MSFT_Method">
    <vt:lpwstr>Manual</vt:lpwstr>
  </property>
  <property fmtid="{D5CDD505-2E9C-101B-9397-08002B2CF9AE}" pid="60" name="Sensitivity">
    <vt:lpwstr>Confidential Any User (No Protection)</vt:lpwstr>
  </property>
</Properties>
</file>